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theme/theme5.xml" ContentType="application/vnd.openxmlformats-officedocument.theme+xml"/>
  <Override PartName="/ppt/slideLayouts/slideLayout10.xml" ContentType="application/vnd.openxmlformats-officedocument.presentationml.slideLayout+xml"/>
  <Override PartName="/ppt/theme/theme6.xml" ContentType="application/vnd.openxmlformats-officedocument.theme+xml"/>
  <Override PartName="/ppt/slideLayouts/slideLayout11.xml" ContentType="application/vnd.openxmlformats-officedocument.presentationml.slideLayout+xml"/>
  <Override PartName="/ppt/theme/theme7.xml" ContentType="application/vnd.openxmlformats-officedocument.theme+xml"/>
  <Override PartName="/ppt/slideLayouts/slideLayout12.xml" ContentType="application/vnd.openxmlformats-officedocument.presentationml.slideLayout+xml"/>
  <Override PartName="/ppt/theme/theme8.xml" ContentType="application/vnd.openxmlformats-officedocument.theme+xml"/>
  <Override PartName="/ppt/slideLayouts/slideLayout13.xml" ContentType="application/vnd.openxmlformats-officedocument.presentationml.slideLayout+xml"/>
  <Override PartName="/ppt/theme/theme9.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 id="2147483715" r:id="rId6"/>
    <p:sldMasterId id="2147483740" r:id="rId7"/>
    <p:sldMasterId id="2147483762" r:id="rId8"/>
    <p:sldMasterId id="2147483766" r:id="rId9"/>
    <p:sldMasterId id="2147483804" r:id="rId10"/>
    <p:sldMasterId id="2147483827" r:id="rId11"/>
    <p:sldMasterId id="2147483862" r:id="rId12"/>
    <p:sldMasterId id="2147483878" r:id="rId13"/>
  </p:sldMasterIdLst>
  <p:notesMasterIdLst>
    <p:notesMasterId r:id="rId45"/>
  </p:notesMasterIdLst>
  <p:sldIdLst>
    <p:sldId id="4553" r:id="rId14"/>
    <p:sldId id="4568" r:id="rId15"/>
    <p:sldId id="4548" r:id="rId16"/>
    <p:sldId id="4560" r:id="rId17"/>
    <p:sldId id="4583" r:id="rId18"/>
    <p:sldId id="4584" r:id="rId19"/>
    <p:sldId id="4585" r:id="rId20"/>
    <p:sldId id="4543" r:id="rId21"/>
    <p:sldId id="4540" r:id="rId22"/>
    <p:sldId id="4576" r:id="rId23"/>
    <p:sldId id="4577" r:id="rId24"/>
    <p:sldId id="4578" r:id="rId25"/>
    <p:sldId id="4565" r:id="rId26"/>
    <p:sldId id="4573" r:id="rId27"/>
    <p:sldId id="4574" r:id="rId28"/>
    <p:sldId id="4566" r:id="rId29"/>
    <p:sldId id="4555" r:id="rId30"/>
    <p:sldId id="4567" r:id="rId31"/>
    <p:sldId id="4579" r:id="rId32"/>
    <p:sldId id="4580" r:id="rId33"/>
    <p:sldId id="4581" r:id="rId34"/>
    <p:sldId id="4582" r:id="rId35"/>
    <p:sldId id="4547" r:id="rId36"/>
    <p:sldId id="4569" r:id="rId37"/>
    <p:sldId id="4570" r:id="rId38"/>
    <p:sldId id="4571" r:id="rId39"/>
    <p:sldId id="4539" r:id="rId40"/>
    <p:sldId id="4531" r:id="rId41"/>
    <p:sldId id="4532" r:id="rId42"/>
    <p:sldId id="4463" r:id="rId43"/>
    <p:sldId id="454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tts" initials="W" lastIdx="12" clrIdx="0">
    <p:extLst>
      <p:ext uri="{19B8F6BF-5375-455C-9EA6-DF929625EA0E}">
        <p15:presenceInfo xmlns:p15="http://schemas.microsoft.com/office/powerpoint/2012/main" userId="Watts" providerId="None"/>
      </p:ext>
    </p:extLst>
  </p:cmAuthor>
  <p:cmAuthor id="2" name="Carrie Pogorelc" initials="CP" lastIdx="34" clrIdx="1">
    <p:extLst>
      <p:ext uri="{19B8F6BF-5375-455C-9EA6-DF929625EA0E}">
        <p15:presenceInfo xmlns:p15="http://schemas.microsoft.com/office/powerpoint/2012/main" userId="S-1-5-21-3498805899-2376028649-3634713762-1001" providerId="AD"/>
      </p:ext>
    </p:extLst>
  </p:cmAuthor>
  <p:cmAuthor id="3" name="Seema Kathuria" initials="SK" lastIdx="1" clrIdx="2">
    <p:extLst>
      <p:ext uri="{19B8F6BF-5375-455C-9EA6-DF929625EA0E}">
        <p15:presenceInfo xmlns:p15="http://schemas.microsoft.com/office/powerpoint/2012/main" userId="S::sekathur@microsoft.com::0a6191db-3f9f-48b4-8847-49ac2f3af421" providerId="AD"/>
      </p:ext>
    </p:extLst>
  </p:cmAuthor>
  <p:cmAuthor id="4" name="Jothi Rengarajan" initials="JR" lastIdx="3" clrIdx="3">
    <p:extLst>
      <p:ext uri="{19B8F6BF-5375-455C-9EA6-DF929625EA0E}">
        <p15:presenceInfo xmlns:p15="http://schemas.microsoft.com/office/powerpoint/2012/main" userId="S::jothi.rengarajan@Aspiresys.com::f17fa41b-034b-43c0-9f82-7199929860e3" providerId="AD"/>
      </p:ext>
    </p:extLst>
  </p:cmAuthor>
  <p:cmAuthor id="5" name="Rajkumar Murugesan" initials="RM" lastIdx="2" clrIdx="4">
    <p:extLst>
      <p:ext uri="{19B8F6BF-5375-455C-9EA6-DF929625EA0E}">
        <p15:presenceInfo xmlns:p15="http://schemas.microsoft.com/office/powerpoint/2012/main" userId="S::rajkumar.murugesan@Aspiresys.com::b1415974-c848-468d-8415-3f2f17128163" providerId="AD"/>
      </p:ext>
    </p:extLst>
  </p:cmAuthor>
  <p:cmAuthor id="6" name="Bigil Avarachan" initials="BA" lastIdx="2" clrIdx="5">
    <p:extLst>
      <p:ext uri="{19B8F6BF-5375-455C-9EA6-DF929625EA0E}">
        <p15:presenceInfo xmlns:p15="http://schemas.microsoft.com/office/powerpoint/2012/main" userId="S-1-5-21-3744238532-590873176-417231958-14946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B707"/>
    <a:srgbClr val="DCDCDC"/>
    <a:srgbClr val="F0F0F0"/>
    <a:srgbClr val="00B050"/>
    <a:srgbClr val="FF9084"/>
    <a:srgbClr val="73413C"/>
    <a:srgbClr val="F2F2F2"/>
    <a:srgbClr val="969696"/>
    <a:srgbClr val="7FBA00"/>
    <a:srgbClr val="0C5D0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B9E0F0-5A2E-4322-80FC-7AC2A24C9762}" v="27" dt="2021-05-18T04:31:34.668"/>
    <p1510:client id="{2DFD2317-5C26-4090-8994-AC84A326CD82}" v="2307" dt="2021-05-18T08:59:04.607"/>
    <p1510:client id="{54BE7C31-9EA0-4E9B-9CDD-AF10DD5068B7}" v="238" dt="2021-05-18T11:32:44.888"/>
    <p1510:client id="{650F7C8C-69AF-4A93-BFE4-E337BA099AD4}" v="35" dt="2021-05-18T04:22:42.619"/>
    <p1510:client id="{9F8DB617-B16D-4AA8-9A7A-62F882A77C79}" v="367" dt="2021-05-18T04:50:46.5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commentAuthors" Target="commentAuthors.xml"/><Relationship Id="rId20" Type="http://schemas.openxmlformats.org/officeDocument/2006/relationships/slide" Target="slides/slide7.xml"/><Relationship Id="rId41"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jaysekar Umapathy" userId="S::vijaysekar.umapathy@aspiresys.com::d49b8c00-8ff9-45f0-baaf-a02457dd8777" providerId="AD" clId="Web-{DA2B8300-FB3E-4352-A051-B3E473E0D037}"/>
    <pc:docChg chg="addSld modSld">
      <pc:chgData name="Vijaysekar Umapathy" userId="S::vijaysekar.umapathy@aspiresys.com::d49b8c00-8ff9-45f0-baaf-a02457dd8777" providerId="AD" clId="Web-{DA2B8300-FB3E-4352-A051-B3E473E0D037}" dt="2021-05-17T10:42:37.356" v="197" actId="1076"/>
      <pc:docMkLst>
        <pc:docMk/>
      </pc:docMkLst>
      <pc:sldChg chg="modSp">
        <pc:chgData name="Vijaysekar Umapathy" userId="S::vijaysekar.umapathy@aspiresys.com::d49b8c00-8ff9-45f0-baaf-a02457dd8777" providerId="AD" clId="Web-{DA2B8300-FB3E-4352-A051-B3E473E0D037}" dt="2021-05-17T09:58:57.215" v="74" actId="1076"/>
        <pc:sldMkLst>
          <pc:docMk/>
          <pc:sldMk cId="3979078837" sldId="4530"/>
        </pc:sldMkLst>
        <pc:spChg chg="mod">
          <ac:chgData name="Vijaysekar Umapathy" userId="S::vijaysekar.umapathy@aspiresys.com::d49b8c00-8ff9-45f0-baaf-a02457dd8777" providerId="AD" clId="Web-{DA2B8300-FB3E-4352-A051-B3E473E0D037}" dt="2021-05-17T09:58:57.215" v="74" actId="1076"/>
          <ac:spMkLst>
            <pc:docMk/>
            <pc:sldMk cId="3979078837" sldId="4530"/>
            <ac:spMk id="5" creationId="{CE7FEE2E-00F4-4E63-ACE0-2D8939D5CC67}"/>
          </ac:spMkLst>
        </pc:spChg>
      </pc:sldChg>
      <pc:sldChg chg="addSp delSp modSp">
        <pc:chgData name="Vijaysekar Umapathy" userId="S::vijaysekar.umapathy@aspiresys.com::d49b8c00-8ff9-45f0-baaf-a02457dd8777" providerId="AD" clId="Web-{DA2B8300-FB3E-4352-A051-B3E473E0D037}" dt="2021-05-17T10:42:37.356" v="197" actId="1076"/>
        <pc:sldMkLst>
          <pc:docMk/>
          <pc:sldMk cId="899432628" sldId="4540"/>
        </pc:sldMkLst>
        <pc:spChg chg="add mod">
          <ac:chgData name="Vijaysekar Umapathy" userId="S::vijaysekar.umapathy@aspiresys.com::d49b8c00-8ff9-45f0-baaf-a02457dd8777" providerId="AD" clId="Web-{DA2B8300-FB3E-4352-A051-B3E473E0D037}" dt="2021-05-17T10:42:32.902" v="196" actId="1076"/>
          <ac:spMkLst>
            <pc:docMk/>
            <pc:sldMk cId="899432628" sldId="4540"/>
            <ac:spMk id="3" creationId="{3464569C-4324-4EB0-A63F-84F6E661CABB}"/>
          </ac:spMkLst>
        </pc:spChg>
        <pc:spChg chg="del">
          <ac:chgData name="Vijaysekar Umapathy" userId="S::vijaysekar.umapathy@aspiresys.com::d49b8c00-8ff9-45f0-baaf-a02457dd8777" providerId="AD" clId="Web-{DA2B8300-FB3E-4352-A051-B3E473E0D037}" dt="2021-05-17T10:30:23.466" v="149"/>
          <ac:spMkLst>
            <pc:docMk/>
            <pc:sldMk cId="899432628" sldId="4540"/>
            <ac:spMk id="4" creationId="{00000000-0000-0000-0000-000000000000}"/>
          </ac:spMkLst>
        </pc:spChg>
        <pc:graphicFrameChg chg="add mod modGraphic">
          <ac:chgData name="Vijaysekar Umapathy" userId="S::vijaysekar.umapathy@aspiresys.com::d49b8c00-8ff9-45f0-baaf-a02457dd8777" providerId="AD" clId="Web-{DA2B8300-FB3E-4352-A051-B3E473E0D037}" dt="2021-05-17T10:42:37.356" v="197" actId="1076"/>
          <ac:graphicFrameMkLst>
            <pc:docMk/>
            <pc:sldMk cId="899432628" sldId="4540"/>
            <ac:graphicFrameMk id="7" creationId="{2F586C43-5219-4CF3-8430-37BA42B4B3CF}"/>
          </ac:graphicFrameMkLst>
        </pc:graphicFrameChg>
      </pc:sldChg>
      <pc:sldChg chg="addSp delSp modSp add replId">
        <pc:chgData name="Vijaysekar Umapathy" userId="S::vijaysekar.umapathy@aspiresys.com::d49b8c00-8ff9-45f0-baaf-a02457dd8777" providerId="AD" clId="Web-{DA2B8300-FB3E-4352-A051-B3E473E0D037}" dt="2021-05-17T09:56:11.492" v="73" actId="14100"/>
        <pc:sldMkLst>
          <pc:docMk/>
          <pc:sldMk cId="2524788819" sldId="4543"/>
        </pc:sldMkLst>
        <pc:spChg chg="add del mod">
          <ac:chgData name="Vijaysekar Umapathy" userId="S::vijaysekar.umapathy@aspiresys.com::d49b8c00-8ff9-45f0-baaf-a02457dd8777" providerId="AD" clId="Web-{DA2B8300-FB3E-4352-A051-B3E473E0D037}" dt="2021-05-17T09:55:02.256" v="64" actId="1076"/>
          <ac:spMkLst>
            <pc:docMk/>
            <pc:sldMk cId="2524788819" sldId="4543"/>
            <ac:spMk id="3" creationId="{1E14D722-7296-4C93-804E-E5EE7D1E8CEA}"/>
          </ac:spMkLst>
        </pc:spChg>
        <pc:spChg chg="del mod">
          <ac:chgData name="Vijaysekar Umapathy" userId="S::vijaysekar.umapathy@aspiresys.com::d49b8c00-8ff9-45f0-baaf-a02457dd8777" providerId="AD" clId="Web-{DA2B8300-FB3E-4352-A051-B3E473E0D037}" dt="2021-05-17T09:42:32.303" v="3"/>
          <ac:spMkLst>
            <pc:docMk/>
            <pc:sldMk cId="2524788819" sldId="4543"/>
            <ac:spMk id="5" creationId="{CE7FEE2E-00F4-4E63-ACE0-2D8939D5CC67}"/>
          </ac:spMkLst>
        </pc:spChg>
        <pc:picChg chg="add del mod">
          <ac:chgData name="Vijaysekar Umapathy" userId="S::vijaysekar.umapathy@aspiresys.com::d49b8c00-8ff9-45f0-baaf-a02457dd8777" providerId="AD" clId="Web-{DA2B8300-FB3E-4352-A051-B3E473E0D037}" dt="2021-05-17T09:55:22.898" v="67"/>
          <ac:picMkLst>
            <pc:docMk/>
            <pc:sldMk cId="2524788819" sldId="4543"/>
            <ac:picMk id="4" creationId="{475C1F84-74AB-4E5C-A2E6-B22F28E7C93C}"/>
          </ac:picMkLst>
        </pc:picChg>
        <pc:picChg chg="add mod">
          <ac:chgData name="Vijaysekar Umapathy" userId="S::vijaysekar.umapathy@aspiresys.com::d49b8c00-8ff9-45f0-baaf-a02457dd8777" providerId="AD" clId="Web-{DA2B8300-FB3E-4352-A051-B3E473E0D037}" dt="2021-05-17T09:56:11.492" v="73" actId="14100"/>
          <ac:picMkLst>
            <pc:docMk/>
            <pc:sldMk cId="2524788819" sldId="4543"/>
            <ac:picMk id="6" creationId="{6C42907D-E799-41D1-AFEE-40EC6612AFCA}"/>
          </ac:picMkLst>
        </pc:picChg>
      </pc:sldChg>
      <pc:sldChg chg="addSp delSp modSp add replId">
        <pc:chgData name="Vijaysekar Umapathy" userId="S::vijaysekar.umapathy@aspiresys.com::d49b8c00-8ff9-45f0-baaf-a02457dd8777" providerId="AD" clId="Web-{DA2B8300-FB3E-4352-A051-B3E473E0D037}" dt="2021-05-17T10:25:04.459" v="147"/>
        <pc:sldMkLst>
          <pc:docMk/>
          <pc:sldMk cId="2828618351" sldId="4544"/>
        </pc:sldMkLst>
        <pc:spChg chg="mod">
          <ac:chgData name="Vijaysekar Umapathy" userId="S::vijaysekar.umapathy@aspiresys.com::d49b8c00-8ff9-45f0-baaf-a02457dd8777" providerId="AD" clId="Web-{DA2B8300-FB3E-4352-A051-B3E473E0D037}" dt="2021-05-17T09:59:58.185" v="121" actId="20577"/>
          <ac:spMkLst>
            <pc:docMk/>
            <pc:sldMk cId="2828618351" sldId="4544"/>
            <ac:spMk id="3" creationId="{1E14D722-7296-4C93-804E-E5EE7D1E8CEA}"/>
          </ac:spMkLst>
        </pc:spChg>
        <pc:spChg chg="add del mod">
          <ac:chgData name="Vijaysekar Umapathy" userId="S::vijaysekar.umapathy@aspiresys.com::d49b8c00-8ff9-45f0-baaf-a02457dd8777" providerId="AD" clId="Web-{DA2B8300-FB3E-4352-A051-B3E473E0D037}" dt="2021-05-17T09:59:31.059" v="81"/>
          <ac:spMkLst>
            <pc:docMk/>
            <pc:sldMk cId="2828618351" sldId="4544"/>
            <ac:spMk id="5" creationId="{CE7FEE2E-00F4-4E63-ACE0-2D8939D5CC67}"/>
          </ac:spMkLst>
        </pc:spChg>
        <pc:graphicFrameChg chg="add mod modGraphic">
          <ac:chgData name="Vijaysekar Umapathy" userId="S::vijaysekar.umapathy@aspiresys.com::d49b8c00-8ff9-45f0-baaf-a02457dd8777" providerId="AD" clId="Web-{DA2B8300-FB3E-4352-A051-B3E473E0D037}" dt="2021-05-17T10:25:04.459" v="147"/>
          <ac:graphicFrameMkLst>
            <pc:docMk/>
            <pc:sldMk cId="2828618351" sldId="4544"/>
            <ac:graphicFrameMk id="5" creationId="{150077AC-1592-4DC1-9C0B-1093A63457DE}"/>
          </ac:graphicFrameMkLst>
        </pc:graphicFrameChg>
      </pc:sldChg>
      <pc:sldChg chg="add replId">
        <pc:chgData name="Vijaysekar Umapathy" userId="S::vijaysekar.umapathy@aspiresys.com::d49b8c00-8ff9-45f0-baaf-a02457dd8777" providerId="AD" clId="Web-{DA2B8300-FB3E-4352-A051-B3E473E0D037}" dt="2021-05-17T10:30:17.231" v="148"/>
        <pc:sldMkLst>
          <pc:docMk/>
          <pc:sldMk cId="2577113683" sldId="4554"/>
        </pc:sldMkLst>
      </pc:sldChg>
    </pc:docChg>
  </pc:docChgLst>
  <pc:docChgLst>
    <pc:chgData name="Sudhakar Chavali" userId="S::sudhakar.chavali@aspiresys.com::86634ce7-41f6-4558-9468-223fedff1d12" providerId="AD" clId="Web-{FB233E7B-BABC-4355-B96E-4379892AD86A}"/>
    <pc:docChg chg="modSld">
      <pc:chgData name="Sudhakar Chavali" userId="S::sudhakar.chavali@aspiresys.com::86634ce7-41f6-4558-9468-223fedff1d12" providerId="AD" clId="Web-{FB233E7B-BABC-4355-B96E-4379892AD86A}" dt="2021-05-11T16:34:18.155" v="356" actId="20577"/>
      <pc:docMkLst>
        <pc:docMk/>
      </pc:docMkLst>
      <pc:sldChg chg="modSp">
        <pc:chgData name="Sudhakar Chavali" userId="S::sudhakar.chavali@aspiresys.com::86634ce7-41f6-4558-9468-223fedff1d12" providerId="AD" clId="Web-{FB233E7B-BABC-4355-B96E-4379892AD86A}" dt="2021-05-11T16:34:18.155" v="356" actId="20577"/>
        <pc:sldMkLst>
          <pc:docMk/>
          <pc:sldMk cId="1655234789" sldId="4480"/>
        </pc:sldMkLst>
        <pc:spChg chg="mod">
          <ac:chgData name="Sudhakar Chavali" userId="S::sudhakar.chavali@aspiresys.com::86634ce7-41f6-4558-9468-223fedff1d12" providerId="AD" clId="Web-{FB233E7B-BABC-4355-B96E-4379892AD86A}" dt="2021-05-11T14:41:42.451" v="332" actId="20577"/>
          <ac:spMkLst>
            <pc:docMk/>
            <pc:sldMk cId="1655234789" sldId="4480"/>
            <ac:spMk id="4" creationId="{6DB1417E-E9A8-4463-A85B-B02119E3D3E0}"/>
          </ac:spMkLst>
        </pc:spChg>
        <pc:spChg chg="mod">
          <ac:chgData name="Sudhakar Chavali" userId="S::sudhakar.chavali@aspiresys.com::86634ce7-41f6-4558-9468-223fedff1d12" providerId="AD" clId="Web-{FB233E7B-BABC-4355-B96E-4379892AD86A}" dt="2021-05-11T16:34:18.155" v="356" actId="20577"/>
          <ac:spMkLst>
            <pc:docMk/>
            <pc:sldMk cId="1655234789" sldId="4480"/>
            <ac:spMk id="10" creationId="{4034FF1A-2019-4D2A-8434-BBA9FB8012B1}"/>
          </ac:spMkLst>
        </pc:spChg>
      </pc:sldChg>
    </pc:docChg>
  </pc:docChgLst>
  <pc:docChgLst>
    <pc:chgData name="Bigil Avarachan" userId="S::bigil.avarachan@aspiresys.com::72c13995-35ed-42db-bddf-36a3e8d1ad5a" providerId="AD" clId="Web-{00000000-0000-0000-0000-000000000000}"/>
    <pc:docChg chg="modSld">
      <pc:chgData name="Bigil Avarachan" userId="S::bigil.avarachan@aspiresys.com::72c13995-35ed-42db-bddf-36a3e8d1ad5a" providerId="AD" clId="Web-{00000000-0000-0000-0000-000000000000}" dt="2021-05-03T13:27:16.874" v="20" actId="20577"/>
      <pc:docMkLst>
        <pc:docMk/>
      </pc:docMkLst>
      <pc:sldChg chg="modSp">
        <pc:chgData name="Bigil Avarachan" userId="S::bigil.avarachan@aspiresys.com::72c13995-35ed-42db-bddf-36a3e8d1ad5a" providerId="AD" clId="Web-{00000000-0000-0000-0000-000000000000}" dt="2021-05-03T13:27:16.874" v="20" actId="20577"/>
        <pc:sldMkLst>
          <pc:docMk/>
          <pc:sldMk cId="1966056232" sldId="4466"/>
        </pc:sldMkLst>
        <pc:graphicFrameChg chg="modGraphic">
          <ac:chgData name="Bigil Avarachan" userId="S::bigil.avarachan@aspiresys.com::72c13995-35ed-42db-bddf-36a3e8d1ad5a" providerId="AD" clId="Web-{00000000-0000-0000-0000-000000000000}" dt="2021-05-03T13:27:16.874" v="20" actId="20577"/>
          <ac:graphicFrameMkLst>
            <pc:docMk/>
            <pc:sldMk cId="1966056232" sldId="4466"/>
            <ac:graphicFrameMk id="5" creationId="{00000000-0000-0000-0000-000000000000}"/>
          </ac:graphicFrameMkLst>
        </pc:graphicFrameChg>
      </pc:sldChg>
    </pc:docChg>
  </pc:docChgLst>
  <pc:docChgLst>
    <pc:chgData name="Karthik Jaganathan" userId="S::karthik.jaganathan@aspiresys.com::ed456ca3-b803-484a-9032-c2a2a16117d3" providerId="AD" clId="Web-{802E7E7C-D069-49CC-AA58-427137ABB654}"/>
    <pc:docChg chg="addSld modSld">
      <pc:chgData name="Karthik Jaganathan" userId="S::karthik.jaganathan@aspiresys.com::ed456ca3-b803-484a-9032-c2a2a16117d3" providerId="AD" clId="Web-{802E7E7C-D069-49CC-AA58-427137ABB654}" dt="2021-05-11T12:35:23.106" v="2" actId="20577"/>
      <pc:docMkLst>
        <pc:docMk/>
      </pc:docMkLst>
      <pc:sldChg chg="modSp new">
        <pc:chgData name="Karthik Jaganathan" userId="S::karthik.jaganathan@aspiresys.com::ed456ca3-b803-484a-9032-c2a2a16117d3" providerId="AD" clId="Web-{802E7E7C-D069-49CC-AA58-427137ABB654}" dt="2021-05-11T12:35:23.106" v="2" actId="20577"/>
        <pc:sldMkLst>
          <pc:docMk/>
          <pc:sldMk cId="872860223" sldId="4479"/>
        </pc:sldMkLst>
        <pc:spChg chg="mod">
          <ac:chgData name="Karthik Jaganathan" userId="S::karthik.jaganathan@aspiresys.com::ed456ca3-b803-484a-9032-c2a2a16117d3" providerId="AD" clId="Web-{802E7E7C-D069-49CC-AA58-427137ABB654}" dt="2021-05-11T12:35:23.106" v="2" actId="20577"/>
          <ac:spMkLst>
            <pc:docMk/>
            <pc:sldMk cId="872860223" sldId="4479"/>
            <ac:spMk id="2" creationId="{A1534B38-E61D-41FB-92CF-2CE2CA6553ED}"/>
          </ac:spMkLst>
        </pc:spChg>
      </pc:sldChg>
    </pc:docChg>
  </pc:docChgLst>
  <pc:docChgLst>
    <pc:chgData name="Bigil Avarachan" userId="S::bigil.avarachan@aspiresys.com::72c13995-35ed-42db-bddf-36a3e8d1ad5a" providerId="AD" clId="Web-{81FD423D-9CC9-43FD-BBBA-BF64BC0B3EE1}"/>
    <pc:docChg chg="sldOrd">
      <pc:chgData name="Bigil Avarachan" userId="S::bigil.avarachan@aspiresys.com::72c13995-35ed-42db-bddf-36a3e8d1ad5a" providerId="AD" clId="Web-{81FD423D-9CC9-43FD-BBBA-BF64BC0B3EE1}" dt="2021-05-05T07:38:35.205" v="0"/>
      <pc:docMkLst>
        <pc:docMk/>
      </pc:docMkLst>
      <pc:sldChg chg="ord">
        <pc:chgData name="Bigil Avarachan" userId="S::bigil.avarachan@aspiresys.com::72c13995-35ed-42db-bddf-36a3e8d1ad5a" providerId="AD" clId="Web-{81FD423D-9CC9-43FD-BBBA-BF64BC0B3EE1}" dt="2021-05-05T07:38:35.205" v="0"/>
        <pc:sldMkLst>
          <pc:docMk/>
          <pc:sldMk cId="1717063383" sldId="4472"/>
        </pc:sldMkLst>
      </pc:sldChg>
    </pc:docChg>
  </pc:docChgLst>
  <pc:docChgLst>
    <pc:chgData name="Vijaysekar Umapathy" userId="S::vijaysekar.umapathy@aspiresys.com::d49b8c00-8ff9-45f0-baaf-a02457dd8777" providerId="AD" clId="Web-{03B9E0F0-5A2E-4322-80FC-7AC2A24C9762}"/>
    <pc:docChg chg="delSld modSld">
      <pc:chgData name="Vijaysekar Umapathy" userId="S::vijaysekar.umapathy@aspiresys.com::d49b8c00-8ff9-45f0-baaf-a02457dd8777" providerId="AD" clId="Web-{03B9E0F0-5A2E-4322-80FC-7AC2A24C9762}" dt="2021-05-18T04:31:34.668" v="26"/>
      <pc:docMkLst>
        <pc:docMk/>
      </pc:docMkLst>
      <pc:sldChg chg="addSp delSp modSp del">
        <pc:chgData name="Vijaysekar Umapathy" userId="S::vijaysekar.umapathy@aspiresys.com::d49b8c00-8ff9-45f0-baaf-a02457dd8777" providerId="AD" clId="Web-{03B9E0F0-5A2E-4322-80FC-7AC2A24C9762}" dt="2021-05-18T04:31:34.668" v="26"/>
        <pc:sldMkLst>
          <pc:docMk/>
          <pc:sldMk cId="983201286" sldId="4577"/>
        </pc:sldMkLst>
        <pc:spChg chg="add del mod">
          <ac:chgData name="Vijaysekar Umapathy" userId="S::vijaysekar.umapathy@aspiresys.com::d49b8c00-8ff9-45f0-baaf-a02457dd8777" providerId="AD" clId="Web-{03B9E0F0-5A2E-4322-80FC-7AC2A24C9762}" dt="2021-05-18T04:29:40.431" v="8"/>
          <ac:spMkLst>
            <pc:docMk/>
            <pc:sldMk cId="983201286" sldId="4577"/>
            <ac:spMk id="4" creationId="{F55D13FF-F431-4E35-9769-58F71FBF3FFB}"/>
          </ac:spMkLst>
        </pc:spChg>
        <pc:spChg chg="add mod">
          <ac:chgData name="Vijaysekar Umapathy" userId="S::vijaysekar.umapathy@aspiresys.com::d49b8c00-8ff9-45f0-baaf-a02457dd8777" providerId="AD" clId="Web-{03B9E0F0-5A2E-4322-80FC-7AC2A24C9762}" dt="2021-05-18T04:31:32.278" v="25" actId="20577"/>
          <ac:spMkLst>
            <pc:docMk/>
            <pc:sldMk cId="983201286" sldId="4577"/>
            <ac:spMk id="5" creationId="{0B077A34-DEBA-42D5-A066-283D2EAD1AD6}"/>
          </ac:spMkLst>
        </pc:spChg>
      </pc:sldChg>
    </pc:docChg>
  </pc:docChgLst>
  <pc:docChgLst>
    <pc:chgData name="Jothi Rengarajan" userId="S::jothi.rengarajan@aspiresys.com::f17fa41b-034b-43c0-9f82-7199929860e3" providerId="AD" clId="Web-{9088C32E-7488-47F5-9C3F-5EF1EC4CF0A3}"/>
    <pc:docChg chg="addSld delSld modSld sldOrd">
      <pc:chgData name="Jothi Rengarajan" userId="S::jothi.rengarajan@aspiresys.com::f17fa41b-034b-43c0-9f82-7199929860e3" providerId="AD" clId="Web-{9088C32E-7488-47F5-9C3F-5EF1EC4CF0A3}" dt="2021-04-29T03:16:31.008" v="113" actId="20577"/>
      <pc:docMkLst>
        <pc:docMk/>
      </pc:docMkLst>
      <pc:sldChg chg="del">
        <pc:chgData name="Jothi Rengarajan" userId="S::jothi.rengarajan@aspiresys.com::f17fa41b-034b-43c0-9f82-7199929860e3" providerId="AD" clId="Web-{9088C32E-7488-47F5-9C3F-5EF1EC4CF0A3}" dt="2021-04-29T02:09:32.315" v="0"/>
        <pc:sldMkLst>
          <pc:docMk/>
          <pc:sldMk cId="2848604690" sldId="4404"/>
        </pc:sldMkLst>
      </pc:sldChg>
      <pc:sldChg chg="addSp delSp modSp add replId">
        <pc:chgData name="Jothi Rengarajan" userId="S::jothi.rengarajan@aspiresys.com::f17fa41b-034b-43c0-9f82-7199929860e3" providerId="AD" clId="Web-{9088C32E-7488-47F5-9C3F-5EF1EC4CF0A3}" dt="2021-04-29T03:16:31.008" v="113" actId="20577"/>
        <pc:sldMkLst>
          <pc:docMk/>
          <pc:sldMk cId="2211967365" sldId="4414"/>
        </pc:sldMkLst>
        <pc:spChg chg="mod">
          <ac:chgData name="Jothi Rengarajan" userId="S::jothi.rengarajan@aspiresys.com::f17fa41b-034b-43c0-9f82-7199929860e3" providerId="AD" clId="Web-{9088C32E-7488-47F5-9C3F-5EF1EC4CF0A3}" dt="2021-04-29T03:09:56.858" v="56" actId="20577"/>
          <ac:spMkLst>
            <pc:docMk/>
            <pc:sldMk cId="2211967365" sldId="4414"/>
            <ac:spMk id="2" creationId="{00000000-0000-0000-0000-000000000000}"/>
          </ac:spMkLst>
        </pc:spChg>
        <pc:grpChg chg="del">
          <ac:chgData name="Jothi Rengarajan" userId="S::jothi.rengarajan@aspiresys.com::f17fa41b-034b-43c0-9f82-7199929860e3" providerId="AD" clId="Web-{9088C32E-7488-47F5-9C3F-5EF1EC4CF0A3}" dt="2021-04-29T03:05:59.025" v="6"/>
          <ac:grpSpMkLst>
            <pc:docMk/>
            <pc:sldMk cId="2211967365" sldId="4414"/>
            <ac:grpSpMk id="504" creationId="{00000000-0000-0000-0000-000000000000}"/>
          </ac:grpSpMkLst>
        </pc:grpChg>
        <pc:graphicFrameChg chg="add mod modGraphic">
          <ac:chgData name="Jothi Rengarajan" userId="S::jothi.rengarajan@aspiresys.com::f17fa41b-034b-43c0-9f82-7199929860e3" providerId="AD" clId="Web-{9088C32E-7488-47F5-9C3F-5EF1EC4CF0A3}" dt="2021-04-29T03:16:31.008" v="113" actId="20577"/>
          <ac:graphicFrameMkLst>
            <pc:docMk/>
            <pc:sldMk cId="2211967365" sldId="4414"/>
            <ac:graphicFrameMk id="505" creationId="{853CCD27-346D-4D02-B0DE-0D2B889E1E5A}"/>
          </ac:graphicFrameMkLst>
        </pc:graphicFrameChg>
        <pc:cxnChg chg="mod">
          <ac:chgData name="Jothi Rengarajan" userId="S::jothi.rengarajan@aspiresys.com::f17fa41b-034b-43c0-9f82-7199929860e3" providerId="AD" clId="Web-{9088C32E-7488-47F5-9C3F-5EF1EC4CF0A3}" dt="2021-04-29T03:05:59.025" v="6"/>
          <ac:cxnSpMkLst>
            <pc:docMk/>
            <pc:sldMk cId="2211967365" sldId="4414"/>
            <ac:cxnSpMk id="9" creationId="{E9568F12-BDB6-4786-9FDF-9011B5792C49}"/>
          </ac:cxnSpMkLst>
        </pc:cxnChg>
        <pc:cxnChg chg="mod">
          <ac:chgData name="Jothi Rengarajan" userId="S::jothi.rengarajan@aspiresys.com::f17fa41b-034b-43c0-9f82-7199929860e3" providerId="AD" clId="Web-{9088C32E-7488-47F5-9C3F-5EF1EC4CF0A3}" dt="2021-04-29T03:05:59.025" v="6"/>
          <ac:cxnSpMkLst>
            <pc:docMk/>
            <pc:sldMk cId="2211967365" sldId="4414"/>
            <ac:cxnSpMk id="30" creationId="{D5A8D2D0-54F0-4A7F-8639-B35A00D88B6C}"/>
          </ac:cxnSpMkLst>
        </pc:cxnChg>
        <pc:cxnChg chg="mod">
          <ac:chgData name="Jothi Rengarajan" userId="S::jothi.rengarajan@aspiresys.com::f17fa41b-034b-43c0-9f82-7199929860e3" providerId="AD" clId="Web-{9088C32E-7488-47F5-9C3F-5EF1EC4CF0A3}" dt="2021-04-29T03:05:59.025" v="6"/>
          <ac:cxnSpMkLst>
            <pc:docMk/>
            <pc:sldMk cId="2211967365" sldId="4414"/>
            <ac:cxnSpMk id="31" creationId="{C55BE7C5-C1B1-4448-AAC9-2C854664B595}"/>
          </ac:cxnSpMkLst>
        </pc:cxnChg>
        <pc:cxnChg chg="mod">
          <ac:chgData name="Jothi Rengarajan" userId="S::jothi.rengarajan@aspiresys.com::f17fa41b-034b-43c0-9f82-7199929860e3" providerId="AD" clId="Web-{9088C32E-7488-47F5-9C3F-5EF1EC4CF0A3}" dt="2021-04-29T03:05:59.025" v="6"/>
          <ac:cxnSpMkLst>
            <pc:docMk/>
            <pc:sldMk cId="2211967365" sldId="4414"/>
            <ac:cxnSpMk id="73" creationId="{1894E009-10C6-491B-98D8-5BDCEEB11732}"/>
          </ac:cxnSpMkLst>
        </pc:cxnChg>
        <pc:cxnChg chg="mod">
          <ac:chgData name="Jothi Rengarajan" userId="S::jothi.rengarajan@aspiresys.com::f17fa41b-034b-43c0-9f82-7199929860e3" providerId="AD" clId="Web-{9088C32E-7488-47F5-9C3F-5EF1EC4CF0A3}" dt="2021-04-29T03:05:59.025" v="6"/>
          <ac:cxnSpMkLst>
            <pc:docMk/>
            <pc:sldMk cId="2211967365" sldId="4414"/>
            <ac:cxnSpMk id="163" creationId="{62A1844A-DE90-4548-814B-20C887C8D326}"/>
          </ac:cxnSpMkLst>
        </pc:cxnChg>
        <pc:cxnChg chg="mod">
          <ac:chgData name="Jothi Rengarajan" userId="S::jothi.rengarajan@aspiresys.com::f17fa41b-034b-43c0-9f82-7199929860e3" providerId="AD" clId="Web-{9088C32E-7488-47F5-9C3F-5EF1EC4CF0A3}" dt="2021-04-29T03:05:59.025" v="6"/>
          <ac:cxnSpMkLst>
            <pc:docMk/>
            <pc:sldMk cId="2211967365" sldId="4414"/>
            <ac:cxnSpMk id="167" creationId="{A2F782D0-7358-48F8-938D-A164A2BEB08D}"/>
          </ac:cxnSpMkLst>
        </pc:cxnChg>
        <pc:cxnChg chg="mod">
          <ac:chgData name="Jothi Rengarajan" userId="S::jothi.rengarajan@aspiresys.com::f17fa41b-034b-43c0-9f82-7199929860e3" providerId="AD" clId="Web-{9088C32E-7488-47F5-9C3F-5EF1EC4CF0A3}" dt="2021-04-29T03:05:59.025" v="6"/>
          <ac:cxnSpMkLst>
            <pc:docMk/>
            <pc:sldMk cId="2211967365" sldId="4414"/>
            <ac:cxnSpMk id="172" creationId="{F1B49E56-0C89-42D1-BA16-F98FB3CFF099}"/>
          </ac:cxnSpMkLst>
        </pc:cxnChg>
        <pc:cxnChg chg="mod">
          <ac:chgData name="Jothi Rengarajan" userId="S::jothi.rengarajan@aspiresys.com::f17fa41b-034b-43c0-9f82-7199929860e3" providerId="AD" clId="Web-{9088C32E-7488-47F5-9C3F-5EF1EC4CF0A3}" dt="2021-04-29T03:05:59.025" v="6"/>
          <ac:cxnSpMkLst>
            <pc:docMk/>
            <pc:sldMk cId="2211967365" sldId="4414"/>
            <ac:cxnSpMk id="180" creationId="{495B3EE6-BD9D-4BC2-9EFF-F32E825D55D8}"/>
          </ac:cxnSpMkLst>
        </pc:cxnChg>
        <pc:cxnChg chg="mod">
          <ac:chgData name="Jothi Rengarajan" userId="S::jothi.rengarajan@aspiresys.com::f17fa41b-034b-43c0-9f82-7199929860e3" providerId="AD" clId="Web-{9088C32E-7488-47F5-9C3F-5EF1EC4CF0A3}" dt="2021-04-29T03:05:59.025" v="6"/>
          <ac:cxnSpMkLst>
            <pc:docMk/>
            <pc:sldMk cId="2211967365" sldId="4414"/>
            <ac:cxnSpMk id="184" creationId="{E12BD4FB-8723-470D-88E2-153C996E7359}"/>
          </ac:cxnSpMkLst>
        </pc:cxnChg>
        <pc:cxnChg chg="mod">
          <ac:chgData name="Jothi Rengarajan" userId="S::jothi.rengarajan@aspiresys.com::f17fa41b-034b-43c0-9f82-7199929860e3" providerId="AD" clId="Web-{9088C32E-7488-47F5-9C3F-5EF1EC4CF0A3}" dt="2021-04-29T03:05:59.025" v="6"/>
          <ac:cxnSpMkLst>
            <pc:docMk/>
            <pc:sldMk cId="2211967365" sldId="4414"/>
            <ac:cxnSpMk id="314" creationId="{1BD36714-AEC1-4C14-9E12-3A09CE1F98E5}"/>
          </ac:cxnSpMkLst>
        </pc:cxnChg>
        <pc:cxnChg chg="mod">
          <ac:chgData name="Jothi Rengarajan" userId="S::jothi.rengarajan@aspiresys.com::f17fa41b-034b-43c0-9f82-7199929860e3" providerId="AD" clId="Web-{9088C32E-7488-47F5-9C3F-5EF1EC4CF0A3}" dt="2021-04-29T03:05:59.025" v="6"/>
          <ac:cxnSpMkLst>
            <pc:docMk/>
            <pc:sldMk cId="2211967365" sldId="4414"/>
            <ac:cxnSpMk id="327" creationId="{DF0411BC-7BCC-4413-98AA-2FC35D64F42C}"/>
          </ac:cxnSpMkLst>
        </pc:cxnChg>
        <pc:cxnChg chg="mod">
          <ac:chgData name="Jothi Rengarajan" userId="S::jothi.rengarajan@aspiresys.com::f17fa41b-034b-43c0-9f82-7199929860e3" providerId="AD" clId="Web-{9088C32E-7488-47F5-9C3F-5EF1EC4CF0A3}" dt="2021-04-29T03:05:59.025" v="6"/>
          <ac:cxnSpMkLst>
            <pc:docMk/>
            <pc:sldMk cId="2211967365" sldId="4414"/>
            <ac:cxnSpMk id="377" creationId="{22C488D5-7EE3-4F9B-8406-E4212EC4F3D9}"/>
          </ac:cxnSpMkLst>
        </pc:cxnChg>
        <pc:cxnChg chg="mod">
          <ac:chgData name="Jothi Rengarajan" userId="S::jothi.rengarajan@aspiresys.com::f17fa41b-034b-43c0-9f82-7199929860e3" providerId="AD" clId="Web-{9088C32E-7488-47F5-9C3F-5EF1EC4CF0A3}" dt="2021-04-29T03:05:59.025" v="6"/>
          <ac:cxnSpMkLst>
            <pc:docMk/>
            <pc:sldMk cId="2211967365" sldId="4414"/>
            <ac:cxnSpMk id="378" creationId="{7E514E20-CC16-44E8-ABC0-A3A0BD2673AA}"/>
          </ac:cxnSpMkLst>
        </pc:cxnChg>
        <pc:cxnChg chg="mod">
          <ac:chgData name="Jothi Rengarajan" userId="S::jothi.rengarajan@aspiresys.com::f17fa41b-034b-43c0-9f82-7199929860e3" providerId="AD" clId="Web-{9088C32E-7488-47F5-9C3F-5EF1EC4CF0A3}" dt="2021-04-29T03:05:59.025" v="6"/>
          <ac:cxnSpMkLst>
            <pc:docMk/>
            <pc:sldMk cId="2211967365" sldId="4414"/>
            <ac:cxnSpMk id="424" creationId="{7320BF02-57DE-4645-BA82-251D347294D9}"/>
          </ac:cxnSpMkLst>
        </pc:cxnChg>
        <pc:cxnChg chg="mod">
          <ac:chgData name="Jothi Rengarajan" userId="S::jothi.rengarajan@aspiresys.com::f17fa41b-034b-43c0-9f82-7199929860e3" providerId="AD" clId="Web-{9088C32E-7488-47F5-9C3F-5EF1EC4CF0A3}" dt="2021-04-29T03:05:59.025" v="6"/>
          <ac:cxnSpMkLst>
            <pc:docMk/>
            <pc:sldMk cId="2211967365" sldId="4414"/>
            <ac:cxnSpMk id="435" creationId="{44B26F37-650F-4AA9-9454-1D01F4F637BE}"/>
          </ac:cxnSpMkLst>
        </pc:cxnChg>
        <pc:cxnChg chg="mod">
          <ac:chgData name="Jothi Rengarajan" userId="S::jothi.rengarajan@aspiresys.com::f17fa41b-034b-43c0-9f82-7199929860e3" providerId="AD" clId="Web-{9088C32E-7488-47F5-9C3F-5EF1EC4CF0A3}" dt="2021-04-29T03:05:59.025" v="6"/>
          <ac:cxnSpMkLst>
            <pc:docMk/>
            <pc:sldMk cId="2211967365" sldId="4414"/>
            <ac:cxnSpMk id="437" creationId="{ADFD752E-C104-4410-9C42-F912CD28B309}"/>
          </ac:cxnSpMkLst>
        </pc:cxnChg>
        <pc:cxnChg chg="mod">
          <ac:chgData name="Jothi Rengarajan" userId="S::jothi.rengarajan@aspiresys.com::f17fa41b-034b-43c0-9f82-7199929860e3" providerId="AD" clId="Web-{9088C32E-7488-47F5-9C3F-5EF1EC4CF0A3}" dt="2021-04-29T03:05:59.025" v="6"/>
          <ac:cxnSpMkLst>
            <pc:docMk/>
            <pc:sldMk cId="2211967365" sldId="4414"/>
            <ac:cxnSpMk id="439" creationId="{0D1A9295-5F23-4B98-B725-333B220AB45B}"/>
          </ac:cxnSpMkLst>
        </pc:cxnChg>
        <pc:cxnChg chg="mod">
          <ac:chgData name="Jothi Rengarajan" userId="S::jothi.rengarajan@aspiresys.com::f17fa41b-034b-43c0-9f82-7199929860e3" providerId="AD" clId="Web-{9088C32E-7488-47F5-9C3F-5EF1EC4CF0A3}" dt="2021-04-29T03:05:59.025" v="6"/>
          <ac:cxnSpMkLst>
            <pc:docMk/>
            <pc:sldMk cId="2211967365" sldId="4414"/>
            <ac:cxnSpMk id="441" creationId="{0ED24C08-A9F0-43B8-9A30-174D0338121D}"/>
          </ac:cxnSpMkLst>
        </pc:cxnChg>
        <pc:cxnChg chg="mod">
          <ac:chgData name="Jothi Rengarajan" userId="S::jothi.rengarajan@aspiresys.com::f17fa41b-034b-43c0-9f82-7199929860e3" providerId="AD" clId="Web-{9088C32E-7488-47F5-9C3F-5EF1EC4CF0A3}" dt="2021-04-29T03:05:59.025" v="6"/>
          <ac:cxnSpMkLst>
            <pc:docMk/>
            <pc:sldMk cId="2211967365" sldId="4414"/>
            <ac:cxnSpMk id="443" creationId="{2A13BA1E-85C5-4524-AF79-758E5BFF1F31}"/>
          </ac:cxnSpMkLst>
        </pc:cxnChg>
        <pc:cxnChg chg="mod">
          <ac:chgData name="Jothi Rengarajan" userId="S::jothi.rengarajan@aspiresys.com::f17fa41b-034b-43c0-9f82-7199929860e3" providerId="AD" clId="Web-{9088C32E-7488-47F5-9C3F-5EF1EC4CF0A3}" dt="2021-04-29T03:05:59.025" v="6"/>
          <ac:cxnSpMkLst>
            <pc:docMk/>
            <pc:sldMk cId="2211967365" sldId="4414"/>
            <ac:cxnSpMk id="457" creationId="{31BE68C4-93B9-488F-B589-38E7C83CC91B}"/>
          </ac:cxnSpMkLst>
        </pc:cxnChg>
        <pc:cxnChg chg="mod">
          <ac:chgData name="Jothi Rengarajan" userId="S::jothi.rengarajan@aspiresys.com::f17fa41b-034b-43c0-9f82-7199929860e3" providerId="AD" clId="Web-{9088C32E-7488-47F5-9C3F-5EF1EC4CF0A3}" dt="2021-04-29T03:05:59.025" v="6"/>
          <ac:cxnSpMkLst>
            <pc:docMk/>
            <pc:sldMk cId="2211967365" sldId="4414"/>
            <ac:cxnSpMk id="472" creationId="{EBC58AFE-2EE4-471B-8354-21EEE0535CB8}"/>
          </ac:cxnSpMkLst>
        </pc:cxnChg>
      </pc:sldChg>
      <pc:sldChg chg="addSp modSp new ord">
        <pc:chgData name="Jothi Rengarajan" userId="S::jothi.rengarajan@aspiresys.com::f17fa41b-034b-43c0-9f82-7199929860e3" providerId="AD" clId="Web-{9088C32E-7488-47F5-9C3F-5EF1EC4CF0A3}" dt="2021-04-29T03:14:57.631" v="111"/>
        <pc:sldMkLst>
          <pc:docMk/>
          <pc:sldMk cId="2717337371" sldId="4415"/>
        </pc:sldMkLst>
        <pc:spChg chg="mod">
          <ac:chgData name="Jothi Rengarajan" userId="S::jothi.rengarajan@aspiresys.com::f17fa41b-034b-43c0-9f82-7199929860e3" providerId="AD" clId="Web-{9088C32E-7488-47F5-9C3F-5EF1EC4CF0A3}" dt="2021-04-29T03:10:15.406" v="71" actId="20577"/>
          <ac:spMkLst>
            <pc:docMk/>
            <pc:sldMk cId="2717337371" sldId="4415"/>
            <ac:spMk id="2" creationId="{33C6CED7-8F8F-4ED5-8A13-CF46C51909F3}"/>
          </ac:spMkLst>
        </pc:spChg>
        <pc:graphicFrameChg chg="add mod modGraphic">
          <ac:chgData name="Jothi Rengarajan" userId="S::jothi.rengarajan@aspiresys.com::f17fa41b-034b-43c0-9f82-7199929860e3" providerId="AD" clId="Web-{9088C32E-7488-47F5-9C3F-5EF1EC4CF0A3}" dt="2021-04-29T03:14:46.287" v="110"/>
          <ac:graphicFrameMkLst>
            <pc:docMk/>
            <pc:sldMk cId="2717337371" sldId="4415"/>
            <ac:graphicFrameMk id="3" creationId="{CF983F6C-1FA4-4B87-ACE7-702EB75C3537}"/>
          </ac:graphicFrameMkLst>
        </pc:graphicFrameChg>
      </pc:sldChg>
      <pc:sldChg chg="modSp del">
        <pc:chgData name="Jothi Rengarajan" userId="S::jothi.rengarajan@aspiresys.com::f17fa41b-034b-43c0-9f82-7199929860e3" providerId="AD" clId="Web-{9088C32E-7488-47F5-9C3F-5EF1EC4CF0A3}" dt="2021-04-29T02:11:06.598" v="4"/>
        <pc:sldMkLst>
          <pc:docMk/>
          <pc:sldMk cId="3060952756" sldId="4417"/>
        </pc:sldMkLst>
        <pc:spChg chg="mod">
          <ac:chgData name="Jothi Rengarajan" userId="S::jothi.rengarajan@aspiresys.com::f17fa41b-034b-43c0-9f82-7199929860e3" providerId="AD" clId="Web-{9088C32E-7488-47F5-9C3F-5EF1EC4CF0A3}" dt="2021-04-29T02:10:29.816" v="3" actId="20577"/>
          <ac:spMkLst>
            <pc:docMk/>
            <pc:sldMk cId="3060952756" sldId="4417"/>
            <ac:spMk id="2" creationId="{00000000-0000-0000-0000-000000000000}"/>
          </ac:spMkLst>
        </pc:spChg>
      </pc:sldChg>
    </pc:docChg>
  </pc:docChgLst>
  <pc:docChgLst>
    <pc:chgData name="Sudhakar Chavali" userId="S::sudhakar.chavali@aspiresys.com::86634ce7-41f6-4558-9468-223fedff1d12" providerId="AD" clId="Web-{A4C2B203-799D-49CD-B45F-69EEE73A0DBA}"/>
    <pc:docChg chg="modSld">
      <pc:chgData name="Sudhakar Chavali" userId="S::sudhakar.chavali@aspiresys.com::86634ce7-41f6-4558-9468-223fedff1d12" providerId="AD" clId="Web-{A4C2B203-799D-49CD-B45F-69EEE73A0DBA}" dt="2021-05-12T06:00:10.160" v="630" actId="20577"/>
      <pc:docMkLst>
        <pc:docMk/>
      </pc:docMkLst>
      <pc:sldChg chg="modSp">
        <pc:chgData name="Sudhakar Chavali" userId="S::sudhakar.chavali@aspiresys.com::86634ce7-41f6-4558-9468-223fedff1d12" providerId="AD" clId="Web-{A4C2B203-799D-49CD-B45F-69EEE73A0DBA}" dt="2021-05-12T06:00:10.160" v="630" actId="20577"/>
        <pc:sldMkLst>
          <pc:docMk/>
          <pc:sldMk cId="1655234789" sldId="4480"/>
        </pc:sldMkLst>
        <pc:spChg chg="mod">
          <ac:chgData name="Sudhakar Chavali" userId="S::sudhakar.chavali@aspiresys.com::86634ce7-41f6-4558-9468-223fedff1d12" providerId="AD" clId="Web-{A4C2B203-799D-49CD-B45F-69EEE73A0DBA}" dt="2021-05-12T05:59:59.878" v="626" actId="20577"/>
          <ac:spMkLst>
            <pc:docMk/>
            <pc:sldMk cId="1655234789" sldId="4480"/>
            <ac:spMk id="4" creationId="{6DB1417E-E9A8-4463-A85B-B02119E3D3E0}"/>
          </ac:spMkLst>
        </pc:spChg>
        <pc:spChg chg="mod">
          <ac:chgData name="Sudhakar Chavali" userId="S::sudhakar.chavali@aspiresys.com::86634ce7-41f6-4558-9468-223fedff1d12" providerId="AD" clId="Web-{A4C2B203-799D-49CD-B45F-69EEE73A0DBA}" dt="2021-05-12T06:00:10.160" v="630" actId="20577"/>
          <ac:spMkLst>
            <pc:docMk/>
            <pc:sldMk cId="1655234789" sldId="4480"/>
            <ac:spMk id="10" creationId="{4034FF1A-2019-4D2A-8434-BBA9FB8012B1}"/>
          </ac:spMkLst>
        </pc:spChg>
      </pc:sldChg>
      <pc:sldChg chg="modSp">
        <pc:chgData name="Sudhakar Chavali" userId="S::sudhakar.chavali@aspiresys.com::86634ce7-41f6-4558-9468-223fedff1d12" providerId="AD" clId="Web-{A4C2B203-799D-49CD-B45F-69EEE73A0DBA}" dt="2021-05-12T04:51:54.780" v="621" actId="20577"/>
        <pc:sldMkLst>
          <pc:docMk/>
          <pc:sldMk cId="1419067989" sldId="4481"/>
        </pc:sldMkLst>
        <pc:spChg chg="mod">
          <ac:chgData name="Sudhakar Chavali" userId="S::sudhakar.chavali@aspiresys.com::86634ce7-41f6-4558-9468-223fedff1d12" providerId="AD" clId="Web-{A4C2B203-799D-49CD-B45F-69EEE73A0DBA}" dt="2021-05-12T04:51:30.248" v="614" actId="20577"/>
          <ac:spMkLst>
            <pc:docMk/>
            <pc:sldMk cId="1419067989" sldId="4481"/>
            <ac:spMk id="4" creationId="{6DB1417E-E9A8-4463-A85B-B02119E3D3E0}"/>
          </ac:spMkLst>
        </pc:spChg>
        <pc:spChg chg="mod">
          <ac:chgData name="Sudhakar Chavali" userId="S::sudhakar.chavali@aspiresys.com::86634ce7-41f6-4558-9468-223fedff1d12" providerId="AD" clId="Web-{A4C2B203-799D-49CD-B45F-69EEE73A0DBA}" dt="2021-05-12T04:51:54.780" v="621" actId="20577"/>
          <ac:spMkLst>
            <pc:docMk/>
            <pc:sldMk cId="1419067989" sldId="4481"/>
            <ac:spMk id="10" creationId="{4034FF1A-2019-4D2A-8434-BBA9FB8012B1}"/>
          </ac:spMkLst>
        </pc:spChg>
      </pc:sldChg>
    </pc:docChg>
  </pc:docChgLst>
  <pc:docChgLst>
    <pc:chgData name="Karthik Jaganathan" userId="S::karthik.jaganathan@aspiresys.com::ed456ca3-b803-484a-9032-c2a2a16117d3" providerId="AD" clId="Web-{1872F168-3DCD-432B-81F2-6A38F521E986}"/>
    <pc:docChg chg="addSld modSld">
      <pc:chgData name="Karthik Jaganathan" userId="S::karthik.jaganathan@aspiresys.com::ed456ca3-b803-484a-9032-c2a2a16117d3" providerId="AD" clId="Web-{1872F168-3DCD-432B-81F2-6A38F521E986}" dt="2021-05-11T13:30:00.463" v="874" actId="20577"/>
      <pc:docMkLst>
        <pc:docMk/>
      </pc:docMkLst>
      <pc:sldChg chg="addSp modSp">
        <pc:chgData name="Karthik Jaganathan" userId="S::karthik.jaganathan@aspiresys.com::ed456ca3-b803-484a-9032-c2a2a16117d3" providerId="AD" clId="Web-{1872F168-3DCD-432B-81F2-6A38F521E986}" dt="2021-05-11T13:17:19.342" v="680" actId="20577"/>
        <pc:sldMkLst>
          <pc:docMk/>
          <pc:sldMk cId="872860223" sldId="4479"/>
        </pc:sldMkLst>
        <pc:spChg chg="mod">
          <ac:chgData name="Karthik Jaganathan" userId="S::karthik.jaganathan@aspiresys.com::ed456ca3-b803-484a-9032-c2a2a16117d3" providerId="AD" clId="Web-{1872F168-3DCD-432B-81F2-6A38F521E986}" dt="2021-05-11T13:03:28.920" v="285" actId="1076"/>
          <ac:spMkLst>
            <pc:docMk/>
            <pc:sldMk cId="872860223" sldId="4479"/>
            <ac:spMk id="2" creationId="{A1534B38-E61D-41FB-92CF-2CE2CA6553ED}"/>
          </ac:spMkLst>
        </pc:spChg>
        <pc:spChg chg="add mod">
          <ac:chgData name="Karthik Jaganathan" userId="S::karthik.jaganathan@aspiresys.com::ed456ca3-b803-484a-9032-c2a2a16117d3" providerId="AD" clId="Web-{1872F168-3DCD-432B-81F2-6A38F521E986}" dt="2021-05-11T13:15:13.006" v="655" actId="20577"/>
          <ac:spMkLst>
            <pc:docMk/>
            <pc:sldMk cId="872860223" sldId="4479"/>
            <ac:spMk id="3" creationId="{DBF55740-C618-4865-925B-4330FC2915B2}"/>
          </ac:spMkLst>
        </pc:spChg>
        <pc:spChg chg="add mod">
          <ac:chgData name="Karthik Jaganathan" userId="S::karthik.jaganathan@aspiresys.com::ed456ca3-b803-484a-9032-c2a2a16117d3" providerId="AD" clId="Web-{1872F168-3DCD-432B-81F2-6A38F521E986}" dt="2021-05-11T13:17:19.342" v="680" actId="20577"/>
          <ac:spMkLst>
            <pc:docMk/>
            <pc:sldMk cId="872860223" sldId="4479"/>
            <ac:spMk id="4" creationId="{1541007A-62CB-40BB-A557-4B777007407D}"/>
          </ac:spMkLst>
        </pc:spChg>
      </pc:sldChg>
      <pc:sldChg chg="addSp delSp modSp new">
        <pc:chgData name="Karthik Jaganathan" userId="S::karthik.jaganathan@aspiresys.com::ed456ca3-b803-484a-9032-c2a2a16117d3" providerId="AD" clId="Web-{1872F168-3DCD-432B-81F2-6A38F521E986}" dt="2021-05-11T13:30:00.463" v="874" actId="20577"/>
        <pc:sldMkLst>
          <pc:docMk/>
          <pc:sldMk cId="1655234789" sldId="4480"/>
        </pc:sldMkLst>
        <pc:spChg chg="mod">
          <ac:chgData name="Karthik Jaganathan" userId="S::karthik.jaganathan@aspiresys.com::ed456ca3-b803-484a-9032-c2a2a16117d3" providerId="AD" clId="Web-{1872F168-3DCD-432B-81F2-6A38F521E986}" dt="2021-05-11T13:21:39.700" v="701" actId="20577"/>
          <ac:spMkLst>
            <pc:docMk/>
            <pc:sldMk cId="1655234789" sldId="4480"/>
            <ac:spMk id="2" creationId="{223832AA-70F2-402E-830E-3FA735F7FE46}"/>
          </ac:spMkLst>
        </pc:spChg>
        <pc:spChg chg="add mod">
          <ac:chgData name="Karthik Jaganathan" userId="S::karthik.jaganathan@aspiresys.com::ed456ca3-b803-484a-9032-c2a2a16117d3" providerId="AD" clId="Web-{1872F168-3DCD-432B-81F2-6A38F521E986}" dt="2021-05-11T13:27:51.565" v="817" actId="20577"/>
          <ac:spMkLst>
            <pc:docMk/>
            <pc:sldMk cId="1655234789" sldId="4480"/>
            <ac:spMk id="4" creationId="{6DB1417E-E9A8-4463-A85B-B02119E3D3E0}"/>
          </ac:spMkLst>
        </pc:spChg>
        <pc:spChg chg="add del">
          <ac:chgData name="Karthik Jaganathan" userId="S::karthik.jaganathan@aspiresys.com::ed456ca3-b803-484a-9032-c2a2a16117d3" providerId="AD" clId="Web-{1872F168-3DCD-432B-81F2-6A38F521E986}" dt="2021-05-11T13:22:10.156" v="704"/>
          <ac:spMkLst>
            <pc:docMk/>
            <pc:sldMk cId="1655234789" sldId="4480"/>
            <ac:spMk id="6" creationId="{7C0427B6-9B25-49BC-9282-6934F050FA74}"/>
          </ac:spMkLst>
        </pc:spChg>
        <pc:spChg chg="add del mod">
          <ac:chgData name="Karthik Jaganathan" userId="S::karthik.jaganathan@aspiresys.com::ed456ca3-b803-484a-9032-c2a2a16117d3" providerId="AD" clId="Web-{1872F168-3DCD-432B-81F2-6A38F521E986}" dt="2021-05-11T13:22:16.905" v="707"/>
          <ac:spMkLst>
            <pc:docMk/>
            <pc:sldMk cId="1655234789" sldId="4480"/>
            <ac:spMk id="8" creationId="{D8555AF5-83CD-4653-9038-5E48E1955B3D}"/>
          </ac:spMkLst>
        </pc:spChg>
        <pc:spChg chg="add mod">
          <ac:chgData name="Karthik Jaganathan" userId="S::karthik.jaganathan@aspiresys.com::ed456ca3-b803-484a-9032-c2a2a16117d3" providerId="AD" clId="Web-{1872F168-3DCD-432B-81F2-6A38F521E986}" dt="2021-05-11T13:30:00.463" v="874" actId="20577"/>
          <ac:spMkLst>
            <pc:docMk/>
            <pc:sldMk cId="1655234789" sldId="4480"/>
            <ac:spMk id="10" creationId="{4034FF1A-2019-4D2A-8434-BBA9FB8012B1}"/>
          </ac:spMkLst>
        </pc:spChg>
      </pc:sldChg>
      <pc:sldChg chg="modSp add replId">
        <pc:chgData name="Karthik Jaganathan" userId="S::karthik.jaganathan@aspiresys.com::ed456ca3-b803-484a-9032-c2a2a16117d3" providerId="AD" clId="Web-{1872F168-3DCD-432B-81F2-6A38F521E986}" dt="2021-05-11T13:25:01.758" v="724" actId="20577"/>
        <pc:sldMkLst>
          <pc:docMk/>
          <pc:sldMk cId="1419067989" sldId="4481"/>
        </pc:sldMkLst>
        <pc:spChg chg="mod">
          <ac:chgData name="Karthik Jaganathan" userId="S::karthik.jaganathan@aspiresys.com::ed456ca3-b803-484a-9032-c2a2a16117d3" providerId="AD" clId="Web-{1872F168-3DCD-432B-81F2-6A38F521E986}" dt="2021-05-11T13:25:01.758" v="724" actId="20577"/>
          <ac:spMkLst>
            <pc:docMk/>
            <pc:sldMk cId="1419067989" sldId="4481"/>
            <ac:spMk id="2" creationId="{223832AA-70F2-402E-830E-3FA735F7FE46}"/>
          </ac:spMkLst>
        </pc:spChg>
      </pc:sldChg>
      <pc:sldChg chg="modSp add replId">
        <pc:chgData name="Karthik Jaganathan" userId="S::karthik.jaganathan@aspiresys.com::ed456ca3-b803-484a-9032-c2a2a16117d3" providerId="AD" clId="Web-{1872F168-3DCD-432B-81F2-6A38F521E986}" dt="2021-05-11T13:25:20.978" v="733" actId="20577"/>
        <pc:sldMkLst>
          <pc:docMk/>
          <pc:sldMk cId="2464573694" sldId="4482"/>
        </pc:sldMkLst>
        <pc:spChg chg="mod">
          <ac:chgData name="Karthik Jaganathan" userId="S::karthik.jaganathan@aspiresys.com::ed456ca3-b803-484a-9032-c2a2a16117d3" providerId="AD" clId="Web-{1872F168-3DCD-432B-81F2-6A38F521E986}" dt="2021-05-11T13:25:20.978" v="733" actId="20577"/>
          <ac:spMkLst>
            <pc:docMk/>
            <pc:sldMk cId="2464573694" sldId="4482"/>
            <ac:spMk id="2" creationId="{223832AA-70F2-402E-830E-3FA735F7FE46}"/>
          </ac:spMkLst>
        </pc:spChg>
      </pc:sldChg>
    </pc:docChg>
  </pc:docChgLst>
  <pc:docChgLst>
    <pc:chgData name="Jothi Rengarajan" userId="S::jothi.rengarajan@aspiresys.com::f17fa41b-034b-43c0-9f82-7199929860e3" providerId="AD" clId="Web-{9F8DB617-B16D-4AA8-9A7A-62F882A77C79}"/>
    <pc:docChg chg="modSld">
      <pc:chgData name="Jothi Rengarajan" userId="S::jothi.rengarajan@aspiresys.com::f17fa41b-034b-43c0-9f82-7199929860e3" providerId="AD" clId="Web-{9F8DB617-B16D-4AA8-9A7A-62F882A77C79}" dt="2021-05-18T04:50:46.590" v="326" actId="20577"/>
      <pc:docMkLst>
        <pc:docMk/>
      </pc:docMkLst>
      <pc:sldChg chg="modSp">
        <pc:chgData name="Jothi Rengarajan" userId="S::jothi.rengarajan@aspiresys.com::f17fa41b-034b-43c0-9f82-7199929860e3" providerId="AD" clId="Web-{9F8DB617-B16D-4AA8-9A7A-62F882A77C79}" dt="2021-05-18T04:47:24.102" v="233" actId="20577"/>
        <pc:sldMkLst>
          <pc:docMk/>
          <pc:sldMk cId="2816579181" sldId="4532"/>
        </pc:sldMkLst>
        <pc:graphicFrameChg chg="modGraphic">
          <ac:chgData name="Jothi Rengarajan" userId="S::jothi.rengarajan@aspiresys.com::f17fa41b-034b-43c0-9f82-7199929860e3" providerId="AD" clId="Web-{9F8DB617-B16D-4AA8-9A7A-62F882A77C79}" dt="2021-05-18T04:47:24.102" v="233" actId="20577"/>
          <ac:graphicFrameMkLst>
            <pc:docMk/>
            <pc:sldMk cId="2816579181" sldId="4532"/>
            <ac:graphicFrameMk id="6" creationId="{00000000-0000-0000-0000-000000000000}"/>
          </ac:graphicFrameMkLst>
        </pc:graphicFrameChg>
      </pc:sldChg>
      <pc:sldChg chg="modSp">
        <pc:chgData name="Jothi Rengarajan" userId="S::jothi.rengarajan@aspiresys.com::f17fa41b-034b-43c0-9f82-7199929860e3" providerId="AD" clId="Web-{9F8DB617-B16D-4AA8-9A7A-62F882A77C79}" dt="2021-05-18T04:41:06.581" v="124"/>
        <pc:sldMkLst>
          <pc:docMk/>
          <pc:sldMk cId="2828618351" sldId="4544"/>
        </pc:sldMkLst>
        <pc:graphicFrameChg chg="mod modGraphic">
          <ac:chgData name="Jothi Rengarajan" userId="S::jothi.rengarajan@aspiresys.com::f17fa41b-034b-43c0-9f82-7199929860e3" providerId="AD" clId="Web-{9F8DB617-B16D-4AA8-9A7A-62F882A77C79}" dt="2021-05-18T04:41:06.581" v="124"/>
          <ac:graphicFrameMkLst>
            <pc:docMk/>
            <pc:sldMk cId="2828618351" sldId="4544"/>
            <ac:graphicFrameMk id="5" creationId="{150077AC-1592-4DC1-9C0B-1093A63457DE}"/>
          </ac:graphicFrameMkLst>
        </pc:graphicFrameChg>
      </pc:sldChg>
      <pc:sldChg chg="modSp">
        <pc:chgData name="Jothi Rengarajan" userId="S::jothi.rengarajan@aspiresys.com::f17fa41b-034b-43c0-9f82-7199929860e3" providerId="AD" clId="Web-{9F8DB617-B16D-4AA8-9A7A-62F882A77C79}" dt="2021-05-18T04:38:34.126" v="20" actId="20577"/>
        <pc:sldMkLst>
          <pc:docMk/>
          <pc:sldMk cId="3405384263" sldId="4560"/>
        </pc:sldMkLst>
        <pc:spChg chg="mod">
          <ac:chgData name="Jothi Rengarajan" userId="S::jothi.rengarajan@aspiresys.com::f17fa41b-034b-43c0-9f82-7199929860e3" providerId="AD" clId="Web-{9F8DB617-B16D-4AA8-9A7A-62F882A77C79}" dt="2021-05-18T04:38:34.126" v="20" actId="20577"/>
          <ac:spMkLst>
            <pc:docMk/>
            <pc:sldMk cId="3405384263" sldId="4560"/>
            <ac:spMk id="30" creationId="{00000000-0000-0000-0000-000000000000}"/>
          </ac:spMkLst>
        </pc:spChg>
      </pc:sldChg>
      <pc:sldChg chg="modSp">
        <pc:chgData name="Jothi Rengarajan" userId="S::jothi.rengarajan@aspiresys.com::f17fa41b-034b-43c0-9f82-7199929860e3" providerId="AD" clId="Web-{9F8DB617-B16D-4AA8-9A7A-62F882A77C79}" dt="2021-05-18T04:38:05.719" v="17" actId="20577"/>
        <pc:sldMkLst>
          <pc:docMk/>
          <pc:sldMk cId="2384507079" sldId="4568"/>
        </pc:sldMkLst>
        <pc:spChg chg="mod">
          <ac:chgData name="Jothi Rengarajan" userId="S::jothi.rengarajan@aspiresys.com::f17fa41b-034b-43c0-9f82-7199929860e3" providerId="AD" clId="Web-{9F8DB617-B16D-4AA8-9A7A-62F882A77C79}" dt="2021-05-18T04:38:05.719" v="17" actId="20577"/>
          <ac:spMkLst>
            <pc:docMk/>
            <pc:sldMk cId="2384507079" sldId="4568"/>
            <ac:spMk id="43" creationId="{EB4EB3BC-2126-4CD9-AF6F-5E68E08DC76F}"/>
          </ac:spMkLst>
        </pc:spChg>
      </pc:sldChg>
      <pc:sldChg chg="modSp">
        <pc:chgData name="Jothi Rengarajan" userId="S::jothi.rengarajan@aspiresys.com::f17fa41b-034b-43c0-9f82-7199929860e3" providerId="AD" clId="Web-{9F8DB617-B16D-4AA8-9A7A-62F882A77C79}" dt="2021-05-18T04:50:46.590" v="326" actId="20577"/>
        <pc:sldMkLst>
          <pc:docMk/>
          <pc:sldMk cId="22824204" sldId="4571"/>
        </pc:sldMkLst>
        <pc:graphicFrameChg chg="modGraphic">
          <ac:chgData name="Jothi Rengarajan" userId="S::jothi.rengarajan@aspiresys.com::f17fa41b-034b-43c0-9f82-7199929860e3" providerId="AD" clId="Web-{9F8DB617-B16D-4AA8-9A7A-62F882A77C79}" dt="2021-05-18T04:50:46.590" v="326" actId="20577"/>
          <ac:graphicFrameMkLst>
            <pc:docMk/>
            <pc:sldMk cId="22824204" sldId="4571"/>
            <ac:graphicFrameMk id="6" creationId="{00000000-0000-0000-0000-000000000000}"/>
          </ac:graphicFrameMkLst>
        </pc:graphicFrameChg>
      </pc:sldChg>
      <pc:sldChg chg="modSp">
        <pc:chgData name="Jothi Rengarajan" userId="S::jothi.rengarajan@aspiresys.com::f17fa41b-034b-43c0-9f82-7199929860e3" providerId="AD" clId="Web-{9F8DB617-B16D-4AA8-9A7A-62F882A77C79}" dt="2021-05-18T04:42:46.801" v="185"/>
        <pc:sldMkLst>
          <pc:docMk/>
          <pc:sldMk cId="3805798011" sldId="4575"/>
        </pc:sldMkLst>
        <pc:graphicFrameChg chg="mod modGraphic">
          <ac:chgData name="Jothi Rengarajan" userId="S::jothi.rengarajan@aspiresys.com::f17fa41b-034b-43c0-9f82-7199929860e3" providerId="AD" clId="Web-{9F8DB617-B16D-4AA8-9A7A-62F882A77C79}" dt="2021-05-18T04:42:46.801" v="185"/>
          <ac:graphicFrameMkLst>
            <pc:docMk/>
            <pc:sldMk cId="3805798011" sldId="4575"/>
            <ac:graphicFrameMk id="3" creationId="{00000000-0000-0000-0000-000000000000}"/>
          </ac:graphicFrameMkLst>
        </pc:graphicFrameChg>
      </pc:sldChg>
    </pc:docChg>
  </pc:docChgLst>
  <pc:docChgLst>
    <pc:chgData name="Siva" userId="b9256487-0d41-4413-b903-c1fb71496f97" providerId="ADAL" clId="{54BE7C31-9EA0-4E9B-9CDD-AF10DD5068B7}"/>
    <pc:docChg chg="undo custSel addSld delSld modSld">
      <pc:chgData name="Siva" userId="b9256487-0d41-4413-b903-c1fb71496f97" providerId="ADAL" clId="{54BE7C31-9EA0-4E9B-9CDD-AF10DD5068B7}" dt="2021-05-18T09:12:55.921" v="4028" actId="20577"/>
      <pc:docMkLst>
        <pc:docMk/>
      </pc:docMkLst>
      <pc:sldChg chg="modSp mod">
        <pc:chgData name="Siva" userId="b9256487-0d41-4413-b903-c1fb71496f97" providerId="ADAL" clId="{54BE7C31-9EA0-4E9B-9CDD-AF10DD5068B7}" dt="2021-05-12T08:52:51.130" v="3308" actId="14100"/>
        <pc:sldMkLst>
          <pc:docMk/>
          <pc:sldMk cId="1931496491" sldId="4478"/>
        </pc:sldMkLst>
        <pc:picChg chg="mod">
          <ac:chgData name="Siva" userId="b9256487-0d41-4413-b903-c1fb71496f97" providerId="ADAL" clId="{54BE7C31-9EA0-4E9B-9CDD-AF10DD5068B7}" dt="2021-05-12T08:52:51.130" v="3308" actId="14100"/>
          <ac:picMkLst>
            <pc:docMk/>
            <pc:sldMk cId="1931496491" sldId="4478"/>
            <ac:picMk id="3" creationId="{00000000-0000-0000-0000-000000000000}"/>
          </ac:picMkLst>
        </pc:picChg>
      </pc:sldChg>
      <pc:sldChg chg="modSp mod">
        <pc:chgData name="Siva" userId="b9256487-0d41-4413-b903-c1fb71496f97" providerId="ADAL" clId="{54BE7C31-9EA0-4E9B-9CDD-AF10DD5068B7}" dt="2021-05-11T18:38:38.878" v="872" actId="20577"/>
        <pc:sldMkLst>
          <pc:docMk/>
          <pc:sldMk cId="2464573694" sldId="4482"/>
        </pc:sldMkLst>
        <pc:spChg chg="mod">
          <ac:chgData name="Siva" userId="b9256487-0d41-4413-b903-c1fb71496f97" providerId="ADAL" clId="{54BE7C31-9EA0-4E9B-9CDD-AF10DD5068B7}" dt="2021-05-11T18:38:38.878" v="872" actId="20577"/>
          <ac:spMkLst>
            <pc:docMk/>
            <pc:sldMk cId="2464573694" sldId="4482"/>
            <ac:spMk id="2" creationId="{223832AA-70F2-402E-830E-3FA735F7FE46}"/>
          </ac:spMkLst>
        </pc:spChg>
        <pc:spChg chg="mod">
          <ac:chgData name="Siva" userId="b9256487-0d41-4413-b903-c1fb71496f97" providerId="ADAL" clId="{54BE7C31-9EA0-4E9B-9CDD-AF10DD5068B7}" dt="2021-05-11T18:30:33.909" v="754" actId="313"/>
          <ac:spMkLst>
            <pc:docMk/>
            <pc:sldMk cId="2464573694" sldId="4482"/>
            <ac:spMk id="4" creationId="{6DB1417E-E9A8-4463-A85B-B02119E3D3E0}"/>
          </ac:spMkLst>
        </pc:spChg>
        <pc:spChg chg="mod">
          <ac:chgData name="Siva" userId="b9256487-0d41-4413-b903-c1fb71496f97" providerId="ADAL" clId="{54BE7C31-9EA0-4E9B-9CDD-AF10DD5068B7}" dt="2021-05-11T18:30:56.590" v="762" actId="6549"/>
          <ac:spMkLst>
            <pc:docMk/>
            <pc:sldMk cId="2464573694" sldId="4482"/>
            <ac:spMk id="10" creationId="{4034FF1A-2019-4D2A-8434-BBA9FB8012B1}"/>
          </ac:spMkLst>
        </pc:spChg>
      </pc:sldChg>
      <pc:sldChg chg="modSp mod">
        <pc:chgData name="Siva" userId="b9256487-0d41-4413-b903-c1fb71496f97" providerId="ADAL" clId="{54BE7C31-9EA0-4E9B-9CDD-AF10DD5068B7}" dt="2021-05-12T08:53:21.163" v="3312" actId="14100"/>
        <pc:sldMkLst>
          <pc:docMk/>
          <pc:sldMk cId="665246693" sldId="4485"/>
        </pc:sldMkLst>
        <pc:picChg chg="mod">
          <ac:chgData name="Siva" userId="b9256487-0d41-4413-b903-c1fb71496f97" providerId="ADAL" clId="{54BE7C31-9EA0-4E9B-9CDD-AF10DD5068B7}" dt="2021-05-12T08:53:21.163" v="3312" actId="14100"/>
          <ac:picMkLst>
            <pc:docMk/>
            <pc:sldMk cId="665246693" sldId="4485"/>
            <ac:picMk id="3" creationId="{00000000-0000-0000-0000-000000000000}"/>
          </ac:picMkLst>
        </pc:picChg>
      </pc:sldChg>
      <pc:sldChg chg="modSp mod">
        <pc:chgData name="Siva" userId="b9256487-0d41-4413-b903-c1fb71496f97" providerId="ADAL" clId="{54BE7C31-9EA0-4E9B-9CDD-AF10DD5068B7}" dt="2021-05-12T08:53:33.946" v="3314" actId="14100"/>
        <pc:sldMkLst>
          <pc:docMk/>
          <pc:sldMk cId="2438823772" sldId="4486"/>
        </pc:sldMkLst>
        <pc:picChg chg="mod">
          <ac:chgData name="Siva" userId="b9256487-0d41-4413-b903-c1fb71496f97" providerId="ADAL" clId="{54BE7C31-9EA0-4E9B-9CDD-AF10DD5068B7}" dt="2021-05-12T08:53:33.946" v="3314" actId="14100"/>
          <ac:picMkLst>
            <pc:docMk/>
            <pc:sldMk cId="2438823772" sldId="4486"/>
            <ac:picMk id="3" creationId="{00000000-0000-0000-0000-000000000000}"/>
          </ac:picMkLst>
        </pc:picChg>
      </pc:sldChg>
      <pc:sldChg chg="modSp mod">
        <pc:chgData name="Siva" userId="b9256487-0d41-4413-b903-c1fb71496f97" providerId="ADAL" clId="{54BE7C31-9EA0-4E9B-9CDD-AF10DD5068B7}" dt="2021-05-12T08:53:02.656" v="3310" actId="14100"/>
        <pc:sldMkLst>
          <pc:docMk/>
          <pc:sldMk cId="2119436174" sldId="4488"/>
        </pc:sldMkLst>
        <pc:picChg chg="mod">
          <ac:chgData name="Siva" userId="b9256487-0d41-4413-b903-c1fb71496f97" providerId="ADAL" clId="{54BE7C31-9EA0-4E9B-9CDD-AF10DD5068B7}" dt="2021-05-12T08:53:02.656" v="3310" actId="14100"/>
          <ac:picMkLst>
            <pc:docMk/>
            <pc:sldMk cId="2119436174" sldId="4488"/>
            <ac:picMk id="3" creationId="{00000000-0000-0000-0000-000000000000}"/>
          </ac:picMkLst>
        </pc:picChg>
      </pc:sldChg>
      <pc:sldChg chg="modSp">
        <pc:chgData name="Siva" userId="b9256487-0d41-4413-b903-c1fb71496f97" providerId="ADAL" clId="{54BE7C31-9EA0-4E9B-9CDD-AF10DD5068B7}" dt="2021-05-12T08:53:44.512" v="3322" actId="20577"/>
        <pc:sldMkLst>
          <pc:docMk/>
          <pc:sldMk cId="475456527" sldId="4490"/>
        </pc:sldMkLst>
        <pc:graphicFrameChg chg="mod">
          <ac:chgData name="Siva" userId="b9256487-0d41-4413-b903-c1fb71496f97" providerId="ADAL" clId="{54BE7C31-9EA0-4E9B-9CDD-AF10DD5068B7}" dt="2021-05-12T08:53:44.512" v="3322" actId="20577"/>
          <ac:graphicFrameMkLst>
            <pc:docMk/>
            <pc:sldMk cId="475456527" sldId="4490"/>
            <ac:graphicFrameMk id="4" creationId="{50BA0EBB-20F9-4D3C-9D16-29DA2698F34E}"/>
          </ac:graphicFrameMkLst>
        </pc:graphicFrameChg>
      </pc:sldChg>
      <pc:sldChg chg="modSp add mod">
        <pc:chgData name="Siva" userId="b9256487-0d41-4413-b903-c1fb71496f97" providerId="ADAL" clId="{54BE7C31-9EA0-4E9B-9CDD-AF10DD5068B7}" dt="2021-05-12T08:56:19.817" v="3354" actId="20577"/>
        <pc:sldMkLst>
          <pc:docMk/>
          <pc:sldMk cId="3947289706" sldId="4492"/>
        </pc:sldMkLst>
        <pc:spChg chg="mod">
          <ac:chgData name="Siva" userId="b9256487-0d41-4413-b903-c1fb71496f97" providerId="ADAL" clId="{54BE7C31-9EA0-4E9B-9CDD-AF10DD5068B7}" dt="2021-05-11T18:38:48.701" v="881" actId="20577"/>
          <ac:spMkLst>
            <pc:docMk/>
            <pc:sldMk cId="3947289706" sldId="4492"/>
            <ac:spMk id="2" creationId="{223832AA-70F2-402E-830E-3FA735F7FE46}"/>
          </ac:spMkLst>
        </pc:spChg>
        <pc:spChg chg="mod">
          <ac:chgData name="Siva" userId="b9256487-0d41-4413-b903-c1fb71496f97" providerId="ADAL" clId="{54BE7C31-9EA0-4E9B-9CDD-AF10DD5068B7}" dt="2021-05-12T08:56:19.817" v="3354" actId="20577"/>
          <ac:spMkLst>
            <pc:docMk/>
            <pc:sldMk cId="3947289706" sldId="4492"/>
            <ac:spMk id="4" creationId="{6DB1417E-E9A8-4463-A85B-B02119E3D3E0}"/>
          </ac:spMkLst>
        </pc:spChg>
        <pc:spChg chg="mod">
          <ac:chgData name="Siva" userId="b9256487-0d41-4413-b903-c1fb71496f97" providerId="ADAL" clId="{54BE7C31-9EA0-4E9B-9CDD-AF10DD5068B7}" dt="2021-05-12T08:56:10.779" v="3350" actId="1076"/>
          <ac:spMkLst>
            <pc:docMk/>
            <pc:sldMk cId="3947289706" sldId="4492"/>
            <ac:spMk id="10" creationId="{4034FF1A-2019-4D2A-8434-BBA9FB8012B1}"/>
          </ac:spMkLst>
        </pc:spChg>
      </pc:sldChg>
      <pc:sldChg chg="add">
        <pc:chgData name="Siva" userId="b9256487-0d41-4413-b903-c1fb71496f97" providerId="ADAL" clId="{54BE7C31-9EA0-4E9B-9CDD-AF10DD5068B7}" dt="2021-05-11T18:32:27.135" v="774"/>
        <pc:sldMkLst>
          <pc:docMk/>
          <pc:sldMk cId="1993208231" sldId="4493"/>
        </pc:sldMkLst>
      </pc:sldChg>
      <pc:sldChg chg="add del">
        <pc:chgData name="Siva" userId="b9256487-0d41-4413-b903-c1fb71496f97" providerId="ADAL" clId="{54BE7C31-9EA0-4E9B-9CDD-AF10DD5068B7}" dt="2021-05-11T18:32:20.698" v="772" actId="47"/>
        <pc:sldMkLst>
          <pc:docMk/>
          <pc:sldMk cId="2903580284" sldId="4493"/>
        </pc:sldMkLst>
      </pc:sldChg>
      <pc:sldChg chg="add del">
        <pc:chgData name="Siva" userId="b9256487-0d41-4413-b903-c1fb71496f97" providerId="ADAL" clId="{54BE7C31-9EA0-4E9B-9CDD-AF10DD5068B7}" dt="2021-05-11T18:32:25.057" v="773" actId="47"/>
        <pc:sldMkLst>
          <pc:docMk/>
          <pc:sldMk cId="309867236" sldId="4494"/>
        </pc:sldMkLst>
      </pc:sldChg>
      <pc:sldChg chg="add">
        <pc:chgData name="Siva" userId="b9256487-0d41-4413-b903-c1fb71496f97" providerId="ADAL" clId="{54BE7C31-9EA0-4E9B-9CDD-AF10DD5068B7}" dt="2021-05-11T18:32:27.651" v="775"/>
        <pc:sldMkLst>
          <pc:docMk/>
          <pc:sldMk cId="3699369576" sldId="4494"/>
        </pc:sldMkLst>
      </pc:sldChg>
      <pc:sldChg chg="addSp modSp mod">
        <pc:chgData name="Siva" userId="b9256487-0d41-4413-b903-c1fb71496f97" providerId="ADAL" clId="{54BE7C31-9EA0-4E9B-9CDD-AF10DD5068B7}" dt="2021-05-12T11:04:12.314" v="3808" actId="20578"/>
        <pc:sldMkLst>
          <pc:docMk/>
          <pc:sldMk cId="3776152694" sldId="4497"/>
        </pc:sldMkLst>
        <pc:spChg chg="add mod">
          <ac:chgData name="Siva" userId="b9256487-0d41-4413-b903-c1fb71496f97" providerId="ADAL" clId="{54BE7C31-9EA0-4E9B-9CDD-AF10DD5068B7}" dt="2021-05-12T11:04:12.314" v="3808" actId="20578"/>
          <ac:spMkLst>
            <pc:docMk/>
            <pc:sldMk cId="3776152694" sldId="4497"/>
            <ac:spMk id="3" creationId="{A3CBC3D0-646F-4A7E-A950-C05C902E53C2}"/>
          </ac:spMkLst>
        </pc:spChg>
        <pc:spChg chg="add mod">
          <ac:chgData name="Siva" userId="b9256487-0d41-4413-b903-c1fb71496f97" providerId="ADAL" clId="{54BE7C31-9EA0-4E9B-9CDD-AF10DD5068B7}" dt="2021-05-12T11:01:51.753" v="3784" actId="1076"/>
          <ac:spMkLst>
            <pc:docMk/>
            <pc:sldMk cId="3776152694" sldId="4497"/>
            <ac:spMk id="4" creationId="{82006474-72C3-42AB-91EA-101887D3D528}"/>
          </ac:spMkLst>
        </pc:spChg>
      </pc:sldChg>
      <pc:sldChg chg="addSp modSp mod">
        <pc:chgData name="Siva" userId="b9256487-0d41-4413-b903-c1fb71496f97" providerId="ADAL" clId="{54BE7C31-9EA0-4E9B-9CDD-AF10DD5068B7}" dt="2021-05-12T14:28:15.294" v="3810" actId="20577"/>
        <pc:sldMkLst>
          <pc:docMk/>
          <pc:sldMk cId="531423320" sldId="4501"/>
        </pc:sldMkLst>
        <pc:spChg chg="add mod">
          <ac:chgData name="Siva" userId="b9256487-0d41-4413-b903-c1fb71496f97" providerId="ADAL" clId="{54BE7C31-9EA0-4E9B-9CDD-AF10DD5068B7}" dt="2021-05-12T07:36:44.490" v="2592" actId="5793"/>
          <ac:spMkLst>
            <pc:docMk/>
            <pc:sldMk cId="531423320" sldId="4501"/>
            <ac:spMk id="3" creationId="{FDE9431E-C76C-4299-8658-06E424BE77CA}"/>
          </ac:spMkLst>
        </pc:spChg>
        <pc:spChg chg="add mod">
          <ac:chgData name="Siva" userId="b9256487-0d41-4413-b903-c1fb71496f97" providerId="ADAL" clId="{54BE7C31-9EA0-4E9B-9CDD-AF10DD5068B7}" dt="2021-05-12T14:28:15.294" v="3810" actId="20577"/>
          <ac:spMkLst>
            <pc:docMk/>
            <pc:sldMk cId="531423320" sldId="4501"/>
            <ac:spMk id="4" creationId="{8DA4A271-5444-4680-AFC6-706A1FF77BCF}"/>
          </ac:spMkLst>
        </pc:spChg>
      </pc:sldChg>
      <pc:sldChg chg="addSp modSp mod">
        <pc:chgData name="Siva" userId="b9256487-0d41-4413-b903-c1fb71496f97" providerId="ADAL" clId="{54BE7C31-9EA0-4E9B-9CDD-AF10DD5068B7}" dt="2021-05-12T08:02:20.889" v="2839" actId="20577"/>
        <pc:sldMkLst>
          <pc:docMk/>
          <pc:sldMk cId="187934603" sldId="4502"/>
        </pc:sldMkLst>
        <pc:spChg chg="mod">
          <ac:chgData name="Siva" userId="b9256487-0d41-4413-b903-c1fb71496f97" providerId="ADAL" clId="{54BE7C31-9EA0-4E9B-9CDD-AF10DD5068B7}" dt="2021-05-12T08:02:20.889" v="2839" actId="20577"/>
          <ac:spMkLst>
            <pc:docMk/>
            <pc:sldMk cId="187934603" sldId="4502"/>
            <ac:spMk id="3" creationId="{00000000-0000-0000-0000-000000000000}"/>
          </ac:spMkLst>
        </pc:spChg>
        <pc:spChg chg="add mod">
          <ac:chgData name="Siva" userId="b9256487-0d41-4413-b903-c1fb71496f97" providerId="ADAL" clId="{54BE7C31-9EA0-4E9B-9CDD-AF10DD5068B7}" dt="2021-05-12T07:16:49.032" v="1952" actId="20577"/>
          <ac:spMkLst>
            <pc:docMk/>
            <pc:sldMk cId="187934603" sldId="4502"/>
            <ac:spMk id="4" creationId="{92EC1C38-0505-4459-B5EE-FD7C6F9D958F}"/>
          </ac:spMkLst>
        </pc:spChg>
      </pc:sldChg>
      <pc:sldChg chg="addSp modSp mod">
        <pc:chgData name="Siva" userId="b9256487-0d41-4413-b903-c1fb71496f97" providerId="ADAL" clId="{54BE7C31-9EA0-4E9B-9CDD-AF10DD5068B7}" dt="2021-05-12T08:07:43.396" v="3304" actId="6549"/>
        <pc:sldMkLst>
          <pc:docMk/>
          <pc:sldMk cId="1356961957" sldId="4503"/>
        </pc:sldMkLst>
        <pc:spChg chg="mod">
          <ac:chgData name="Siva" userId="b9256487-0d41-4413-b903-c1fb71496f97" providerId="ADAL" clId="{54BE7C31-9EA0-4E9B-9CDD-AF10DD5068B7}" dt="2021-05-12T07:22:40.493" v="1954" actId="1076"/>
          <ac:spMkLst>
            <pc:docMk/>
            <pc:sldMk cId="1356961957" sldId="4503"/>
            <ac:spMk id="2" creationId="{00000000-0000-0000-0000-000000000000}"/>
          </ac:spMkLst>
        </pc:spChg>
        <pc:spChg chg="add mod">
          <ac:chgData name="Siva" userId="b9256487-0d41-4413-b903-c1fb71496f97" providerId="ADAL" clId="{54BE7C31-9EA0-4E9B-9CDD-AF10DD5068B7}" dt="2021-05-12T08:07:43.396" v="3304" actId="6549"/>
          <ac:spMkLst>
            <pc:docMk/>
            <pc:sldMk cId="1356961957" sldId="4503"/>
            <ac:spMk id="3" creationId="{9B4B933D-9BC7-4433-8E82-462A011A9CCE}"/>
          </ac:spMkLst>
        </pc:spChg>
      </pc:sldChg>
      <pc:sldChg chg="addSp modSp mod">
        <pc:chgData name="Siva" userId="b9256487-0d41-4413-b903-c1fb71496f97" providerId="ADAL" clId="{54BE7C31-9EA0-4E9B-9CDD-AF10DD5068B7}" dt="2021-05-12T08:47:19.414" v="3306" actId="14100"/>
        <pc:sldMkLst>
          <pc:docMk/>
          <pc:sldMk cId="2169778326" sldId="4504"/>
        </pc:sldMkLst>
        <pc:spChg chg="add mod">
          <ac:chgData name="Siva" userId="b9256487-0d41-4413-b903-c1fb71496f97" providerId="ADAL" clId="{54BE7C31-9EA0-4E9B-9CDD-AF10DD5068B7}" dt="2021-05-12T08:47:19.414" v="3306" actId="14100"/>
          <ac:spMkLst>
            <pc:docMk/>
            <pc:sldMk cId="2169778326" sldId="4504"/>
            <ac:spMk id="3" creationId="{D947F45D-485C-4BE6-A134-E2BE0C39587B}"/>
          </ac:spMkLst>
        </pc:spChg>
        <pc:spChg chg="add mod">
          <ac:chgData name="Siva" userId="b9256487-0d41-4413-b903-c1fb71496f97" providerId="ADAL" clId="{54BE7C31-9EA0-4E9B-9CDD-AF10DD5068B7}" dt="2021-05-12T08:47:15.452" v="3305" actId="14100"/>
          <ac:spMkLst>
            <pc:docMk/>
            <pc:sldMk cId="2169778326" sldId="4504"/>
            <ac:spMk id="4" creationId="{2F4BF30F-5B5F-45CB-B8C8-3D8091576388}"/>
          </ac:spMkLst>
        </pc:spChg>
      </pc:sldChg>
      <pc:sldChg chg="addSp modSp mod">
        <pc:chgData name="Siva" userId="b9256487-0d41-4413-b903-c1fb71496f97" providerId="ADAL" clId="{54BE7C31-9EA0-4E9B-9CDD-AF10DD5068B7}" dt="2021-05-12T10:43:41.686" v="3781" actId="1076"/>
        <pc:sldMkLst>
          <pc:docMk/>
          <pc:sldMk cId="2242740398" sldId="4505"/>
        </pc:sldMkLst>
        <pc:spChg chg="add mod">
          <ac:chgData name="Siva" userId="b9256487-0d41-4413-b903-c1fb71496f97" providerId="ADAL" clId="{54BE7C31-9EA0-4E9B-9CDD-AF10DD5068B7}" dt="2021-05-12T10:41:05.067" v="3425" actId="14100"/>
          <ac:spMkLst>
            <pc:docMk/>
            <pc:sldMk cId="2242740398" sldId="4505"/>
            <ac:spMk id="3" creationId="{572F1617-852D-497F-87E0-35D946FB01C8}"/>
          </ac:spMkLst>
        </pc:spChg>
        <pc:spChg chg="add mod">
          <ac:chgData name="Siva" userId="b9256487-0d41-4413-b903-c1fb71496f97" providerId="ADAL" clId="{54BE7C31-9EA0-4E9B-9CDD-AF10DD5068B7}" dt="2021-05-12T10:43:41.686" v="3781" actId="1076"/>
          <ac:spMkLst>
            <pc:docMk/>
            <pc:sldMk cId="2242740398" sldId="4505"/>
            <ac:spMk id="4" creationId="{C6FF13D5-4B9A-49B2-B4AB-3421E823620E}"/>
          </ac:spMkLst>
        </pc:spChg>
      </pc:sldChg>
      <pc:sldChg chg="addSp delSp modSp mod">
        <pc:chgData name="Siva" userId="b9256487-0d41-4413-b903-c1fb71496f97" providerId="ADAL" clId="{54BE7C31-9EA0-4E9B-9CDD-AF10DD5068B7}" dt="2021-05-17T14:48:34.478" v="3822" actId="208"/>
        <pc:sldMkLst>
          <pc:docMk/>
          <pc:sldMk cId="1202755923" sldId="4558"/>
        </pc:sldMkLst>
        <pc:picChg chg="add mod">
          <ac:chgData name="Siva" userId="b9256487-0d41-4413-b903-c1fb71496f97" providerId="ADAL" clId="{54BE7C31-9EA0-4E9B-9CDD-AF10DD5068B7}" dt="2021-05-17T14:48:34.478" v="3822" actId="208"/>
          <ac:picMkLst>
            <pc:docMk/>
            <pc:sldMk cId="1202755923" sldId="4558"/>
            <ac:picMk id="4" creationId="{A6E672B0-7C1C-4B2F-A2B3-D2C1A606EF0F}"/>
          </ac:picMkLst>
        </pc:picChg>
        <pc:picChg chg="del">
          <ac:chgData name="Siva" userId="b9256487-0d41-4413-b903-c1fb71496f97" providerId="ADAL" clId="{54BE7C31-9EA0-4E9B-9CDD-AF10DD5068B7}" dt="2021-05-17T14:47:26.160" v="3811" actId="478"/>
          <ac:picMkLst>
            <pc:docMk/>
            <pc:sldMk cId="1202755923" sldId="4558"/>
            <ac:picMk id="8" creationId="{C8887105-83EC-4902-8E43-7ACA5797CAF5}"/>
          </ac:picMkLst>
        </pc:picChg>
      </pc:sldChg>
      <pc:sldChg chg="addSp delSp modSp mod">
        <pc:chgData name="Siva" userId="b9256487-0d41-4413-b903-c1fb71496f97" providerId="ADAL" clId="{54BE7C31-9EA0-4E9B-9CDD-AF10DD5068B7}" dt="2021-05-17T15:17:31.524" v="3840" actId="1076"/>
        <pc:sldMkLst>
          <pc:docMk/>
          <pc:sldMk cId="3748571739" sldId="4559"/>
        </pc:sldMkLst>
        <pc:spChg chg="mod">
          <ac:chgData name="Siva" userId="b9256487-0d41-4413-b903-c1fb71496f97" providerId="ADAL" clId="{54BE7C31-9EA0-4E9B-9CDD-AF10DD5068B7}" dt="2021-05-17T15:16:56.955" v="3839"/>
          <ac:spMkLst>
            <pc:docMk/>
            <pc:sldMk cId="3748571739" sldId="4559"/>
            <ac:spMk id="2" creationId="{00000000-0000-0000-0000-000000000000}"/>
          </ac:spMkLst>
        </pc:spChg>
        <pc:graphicFrameChg chg="add del mod">
          <ac:chgData name="Siva" userId="b9256487-0d41-4413-b903-c1fb71496f97" providerId="ADAL" clId="{54BE7C31-9EA0-4E9B-9CDD-AF10DD5068B7}" dt="2021-05-17T15:09:59.044" v="3831" actId="478"/>
          <ac:graphicFrameMkLst>
            <pc:docMk/>
            <pc:sldMk cId="3748571739" sldId="4559"/>
            <ac:graphicFrameMk id="3" creationId="{DEB0B8E8-27B9-4C0C-A811-38E115EB7F4C}"/>
          </ac:graphicFrameMkLst>
        </pc:graphicFrameChg>
        <pc:graphicFrameChg chg="del">
          <ac:chgData name="Siva" userId="b9256487-0d41-4413-b903-c1fb71496f97" providerId="ADAL" clId="{54BE7C31-9EA0-4E9B-9CDD-AF10DD5068B7}" dt="2021-05-17T14:59:24.168" v="3823" actId="478"/>
          <ac:graphicFrameMkLst>
            <pc:docMk/>
            <pc:sldMk cId="3748571739" sldId="4559"/>
            <ac:graphicFrameMk id="4" creationId="{F8BED3C2-4B28-47F6-8147-E90AA9926EB4}"/>
          </ac:graphicFrameMkLst>
        </pc:graphicFrameChg>
        <pc:graphicFrameChg chg="add mod">
          <ac:chgData name="Siva" userId="b9256487-0d41-4413-b903-c1fb71496f97" providerId="ADAL" clId="{54BE7C31-9EA0-4E9B-9CDD-AF10DD5068B7}" dt="2021-05-17T15:17:31.524" v="3840" actId="1076"/>
          <ac:graphicFrameMkLst>
            <pc:docMk/>
            <pc:sldMk cId="3748571739" sldId="4559"/>
            <ac:graphicFrameMk id="5" creationId="{5AD534A0-9887-46B6-B7D3-D7CC5D03F24C}"/>
          </ac:graphicFrameMkLst>
        </pc:graphicFrameChg>
      </pc:sldChg>
      <pc:sldChg chg="modSp">
        <pc:chgData name="Siva" userId="b9256487-0d41-4413-b903-c1fb71496f97" providerId="ADAL" clId="{54BE7C31-9EA0-4E9B-9CDD-AF10DD5068B7}" dt="2021-05-18T09:09:22.297" v="4025" actId="20577"/>
        <pc:sldMkLst>
          <pc:docMk/>
          <pc:sldMk cId="249797837" sldId="4570"/>
        </pc:sldMkLst>
        <pc:graphicFrameChg chg="mod">
          <ac:chgData name="Siva" userId="b9256487-0d41-4413-b903-c1fb71496f97" providerId="ADAL" clId="{54BE7C31-9EA0-4E9B-9CDD-AF10DD5068B7}" dt="2021-05-18T09:09:22.297" v="4025" actId="20577"/>
          <ac:graphicFrameMkLst>
            <pc:docMk/>
            <pc:sldMk cId="249797837" sldId="4570"/>
            <ac:graphicFrameMk id="3" creationId="{00000000-0000-0000-0000-000000000000}"/>
          </ac:graphicFrameMkLst>
        </pc:graphicFrameChg>
      </pc:sldChg>
      <pc:sldChg chg="modSp">
        <pc:chgData name="Siva" userId="b9256487-0d41-4413-b903-c1fb71496f97" providerId="ADAL" clId="{54BE7C31-9EA0-4E9B-9CDD-AF10DD5068B7}" dt="2021-05-18T09:12:55.921" v="4028" actId="20577"/>
        <pc:sldMkLst>
          <pc:docMk/>
          <pc:sldMk cId="22824204" sldId="4571"/>
        </pc:sldMkLst>
        <pc:graphicFrameChg chg="mod">
          <ac:chgData name="Siva" userId="b9256487-0d41-4413-b903-c1fb71496f97" providerId="ADAL" clId="{54BE7C31-9EA0-4E9B-9CDD-AF10DD5068B7}" dt="2021-05-18T09:12:55.921" v="4028" actId="20577"/>
          <ac:graphicFrameMkLst>
            <pc:docMk/>
            <pc:sldMk cId="22824204" sldId="4571"/>
            <ac:graphicFrameMk id="6" creationId="{00000000-0000-0000-0000-000000000000}"/>
          </ac:graphicFrameMkLst>
        </pc:graphicFrameChg>
      </pc:sldChg>
      <pc:sldChg chg="modSp mod">
        <pc:chgData name="Siva" userId="b9256487-0d41-4413-b903-c1fb71496f97" providerId="ADAL" clId="{54BE7C31-9EA0-4E9B-9CDD-AF10DD5068B7}" dt="2021-05-18T09:01:21.790" v="4023" actId="20577"/>
        <pc:sldMkLst>
          <pc:docMk/>
          <pc:sldMk cId="2617324789" sldId="4584"/>
        </pc:sldMkLst>
        <pc:graphicFrameChg chg="mod modGraphic">
          <ac:chgData name="Siva" userId="b9256487-0d41-4413-b903-c1fb71496f97" providerId="ADAL" clId="{54BE7C31-9EA0-4E9B-9CDD-AF10DD5068B7}" dt="2021-05-18T09:01:21.790" v="4023" actId="20577"/>
          <ac:graphicFrameMkLst>
            <pc:docMk/>
            <pc:sldMk cId="2617324789" sldId="4584"/>
            <ac:graphicFrameMk id="3" creationId="{150077AC-1592-4DC1-9C0B-1093A63457DE}"/>
          </ac:graphicFrameMkLst>
        </pc:graphicFrameChg>
      </pc:sldChg>
    </pc:docChg>
  </pc:docChgLst>
  <pc:docChgLst>
    <pc:chgData name="Jothi Rengarajan" userId="S::jothi.rengarajan@aspiresys.com::f17fa41b-034b-43c0-9f82-7199929860e3" providerId="AD" clId="Web-{A3958434-8855-43E7-9485-A41DB1D88448}"/>
    <pc:docChg chg="sldOrd">
      <pc:chgData name="Jothi Rengarajan" userId="S::jothi.rengarajan@aspiresys.com::f17fa41b-034b-43c0-9f82-7199929860e3" providerId="AD" clId="Web-{A3958434-8855-43E7-9485-A41DB1D88448}" dt="2021-05-12T10:58:39.234" v="0"/>
      <pc:docMkLst>
        <pc:docMk/>
      </pc:docMkLst>
      <pc:sldChg chg="ord">
        <pc:chgData name="Jothi Rengarajan" userId="S::jothi.rengarajan@aspiresys.com::f17fa41b-034b-43c0-9f82-7199929860e3" providerId="AD" clId="Web-{A3958434-8855-43E7-9485-A41DB1D88448}" dt="2021-05-12T10:58:39.234" v="0"/>
        <pc:sldMkLst>
          <pc:docMk/>
          <pc:sldMk cId="2026867055" sldId="4506"/>
        </pc:sldMkLst>
      </pc:sldChg>
    </pc:docChg>
  </pc:docChgLst>
  <pc:docChgLst>
    <pc:chgData name="Sudhakar Chavali" userId="S::sudhakar.chavali@aspiresys.com::86634ce7-41f6-4558-9468-223fedff1d12" providerId="AD" clId="Web-{DA147DD9-D356-4A4C-A0C6-EA29B4B13EAF}"/>
    <pc:docChg chg="modSld">
      <pc:chgData name="Sudhakar Chavali" userId="S::sudhakar.chavali@aspiresys.com::86634ce7-41f6-4558-9468-223fedff1d12" providerId="AD" clId="Web-{DA147DD9-D356-4A4C-A0C6-EA29B4B13EAF}" dt="2021-05-11T17:19:25.901" v="154" actId="20577"/>
      <pc:docMkLst>
        <pc:docMk/>
      </pc:docMkLst>
      <pc:sldChg chg="modSp">
        <pc:chgData name="Sudhakar Chavali" userId="S::sudhakar.chavali@aspiresys.com::86634ce7-41f6-4558-9468-223fedff1d12" providerId="AD" clId="Web-{DA147DD9-D356-4A4C-A0C6-EA29B4B13EAF}" dt="2021-05-11T17:19:25.901" v="154" actId="20577"/>
        <pc:sldMkLst>
          <pc:docMk/>
          <pc:sldMk cId="1419067989" sldId="4481"/>
        </pc:sldMkLst>
        <pc:spChg chg="mod">
          <ac:chgData name="Sudhakar Chavali" userId="S::sudhakar.chavali@aspiresys.com::86634ce7-41f6-4558-9468-223fedff1d12" providerId="AD" clId="Web-{DA147DD9-D356-4A4C-A0C6-EA29B4B13EAF}" dt="2021-05-11T17:19:25.901" v="154" actId="20577"/>
          <ac:spMkLst>
            <pc:docMk/>
            <pc:sldMk cId="1419067989" sldId="4481"/>
            <ac:spMk id="4" creationId="{6DB1417E-E9A8-4463-A85B-B02119E3D3E0}"/>
          </ac:spMkLst>
        </pc:spChg>
        <pc:spChg chg="mod">
          <ac:chgData name="Sudhakar Chavali" userId="S::sudhakar.chavali@aspiresys.com::86634ce7-41f6-4558-9468-223fedff1d12" providerId="AD" clId="Web-{DA147DD9-D356-4A4C-A0C6-EA29B4B13EAF}" dt="2021-05-11T17:16:22.148" v="70" actId="20577"/>
          <ac:spMkLst>
            <pc:docMk/>
            <pc:sldMk cId="1419067989" sldId="4481"/>
            <ac:spMk id="10" creationId="{4034FF1A-2019-4D2A-8434-BBA9FB8012B1}"/>
          </ac:spMkLst>
        </pc:spChg>
      </pc:sldChg>
    </pc:docChg>
  </pc:docChgLst>
  <pc:docChgLst>
    <pc:chgData name="Sudhakar Chavali" userId="S::sudhakar.chavali@aspiresys.com::86634ce7-41f6-4558-9468-223fedff1d12" providerId="AD" clId="Web-{389CBD62-3C90-4C4F-AADA-19D0812C5FE6}"/>
    <pc:docChg chg="modSld">
      <pc:chgData name="Sudhakar Chavali" userId="S::sudhakar.chavali@aspiresys.com::86634ce7-41f6-4558-9468-223fedff1d12" providerId="AD" clId="Web-{389CBD62-3C90-4C4F-AADA-19D0812C5FE6}" dt="2021-05-11T16:55:02.548" v="44" actId="20577"/>
      <pc:docMkLst>
        <pc:docMk/>
      </pc:docMkLst>
      <pc:sldChg chg="modSp">
        <pc:chgData name="Sudhakar Chavali" userId="S::sudhakar.chavali@aspiresys.com::86634ce7-41f6-4558-9468-223fedff1d12" providerId="AD" clId="Web-{389CBD62-3C90-4C4F-AADA-19D0812C5FE6}" dt="2021-05-11T16:55:02.548" v="44" actId="20577"/>
        <pc:sldMkLst>
          <pc:docMk/>
          <pc:sldMk cId="1655234789" sldId="4480"/>
        </pc:sldMkLst>
        <pc:spChg chg="mod">
          <ac:chgData name="Sudhakar Chavali" userId="S::sudhakar.chavali@aspiresys.com::86634ce7-41f6-4558-9468-223fedff1d12" providerId="AD" clId="Web-{389CBD62-3C90-4C4F-AADA-19D0812C5FE6}" dt="2021-05-11T16:53:23.749" v="14" actId="20577"/>
          <ac:spMkLst>
            <pc:docMk/>
            <pc:sldMk cId="1655234789" sldId="4480"/>
            <ac:spMk id="4" creationId="{6DB1417E-E9A8-4463-A85B-B02119E3D3E0}"/>
          </ac:spMkLst>
        </pc:spChg>
        <pc:spChg chg="mod">
          <ac:chgData name="Sudhakar Chavali" userId="S::sudhakar.chavali@aspiresys.com::86634ce7-41f6-4558-9468-223fedff1d12" providerId="AD" clId="Web-{389CBD62-3C90-4C4F-AADA-19D0812C5FE6}" dt="2021-05-11T16:55:02.548" v="44" actId="20577"/>
          <ac:spMkLst>
            <pc:docMk/>
            <pc:sldMk cId="1655234789" sldId="4480"/>
            <ac:spMk id="10" creationId="{4034FF1A-2019-4D2A-8434-BBA9FB8012B1}"/>
          </ac:spMkLst>
        </pc:spChg>
      </pc:sldChg>
      <pc:sldChg chg="modSp">
        <pc:chgData name="Sudhakar Chavali" userId="S::sudhakar.chavali@aspiresys.com::86634ce7-41f6-4558-9468-223fedff1d12" providerId="AD" clId="Web-{389CBD62-3C90-4C4F-AADA-19D0812C5FE6}" dt="2021-05-11T16:54:29.703" v="26" actId="20577"/>
        <pc:sldMkLst>
          <pc:docMk/>
          <pc:sldMk cId="1419067989" sldId="4481"/>
        </pc:sldMkLst>
        <pc:spChg chg="mod">
          <ac:chgData name="Sudhakar Chavali" userId="S::sudhakar.chavali@aspiresys.com::86634ce7-41f6-4558-9468-223fedff1d12" providerId="AD" clId="Web-{389CBD62-3C90-4C4F-AADA-19D0812C5FE6}" dt="2021-05-11T16:54:29.703" v="26" actId="20577"/>
          <ac:spMkLst>
            <pc:docMk/>
            <pc:sldMk cId="1419067989" sldId="4481"/>
            <ac:spMk id="4" creationId="{6DB1417E-E9A8-4463-A85B-B02119E3D3E0}"/>
          </ac:spMkLst>
        </pc:spChg>
      </pc:sldChg>
    </pc:docChg>
  </pc:docChgLst>
  <pc:docChgLst>
    <pc:chgData name="Jothi Rengarajan" userId="S::jothi.rengarajan@aspiresys.com::f17fa41b-034b-43c0-9f82-7199929860e3" providerId="AD" clId="Web-{66A37D07-01C1-435D-A909-21C5922F2284}"/>
    <pc:docChg chg="modSld">
      <pc:chgData name="Jothi Rengarajan" userId="S::jothi.rengarajan@aspiresys.com::f17fa41b-034b-43c0-9f82-7199929860e3" providerId="AD" clId="Web-{66A37D07-01C1-435D-A909-21C5922F2284}" dt="2021-05-12T13:52:00.085" v="14" actId="20577"/>
      <pc:docMkLst>
        <pc:docMk/>
      </pc:docMkLst>
      <pc:sldChg chg="modSp">
        <pc:chgData name="Jothi Rengarajan" userId="S::jothi.rengarajan@aspiresys.com::f17fa41b-034b-43c0-9f82-7199929860e3" providerId="AD" clId="Web-{66A37D07-01C1-435D-A909-21C5922F2284}" dt="2021-05-12T13:52:00.085" v="14" actId="20577"/>
        <pc:sldMkLst>
          <pc:docMk/>
          <pc:sldMk cId="736420289" sldId="4411"/>
        </pc:sldMkLst>
        <pc:spChg chg="mod">
          <ac:chgData name="Jothi Rengarajan" userId="S::jothi.rengarajan@aspiresys.com::f17fa41b-034b-43c0-9f82-7199929860e3" providerId="AD" clId="Web-{66A37D07-01C1-435D-A909-21C5922F2284}" dt="2021-05-12T13:51:52.772" v="4" actId="20577"/>
          <ac:spMkLst>
            <pc:docMk/>
            <pc:sldMk cId="736420289" sldId="4411"/>
            <ac:spMk id="19" creationId="{00000000-0000-0000-0000-000000000000}"/>
          </ac:spMkLst>
        </pc:spChg>
        <pc:spChg chg="mod">
          <ac:chgData name="Jothi Rengarajan" userId="S::jothi.rengarajan@aspiresys.com::f17fa41b-034b-43c0-9f82-7199929860e3" providerId="AD" clId="Web-{66A37D07-01C1-435D-A909-21C5922F2284}" dt="2021-05-12T13:52:00.085" v="14" actId="20577"/>
          <ac:spMkLst>
            <pc:docMk/>
            <pc:sldMk cId="736420289" sldId="4411"/>
            <ac:spMk id="20" creationId="{00000000-0000-0000-0000-000000000000}"/>
          </ac:spMkLst>
        </pc:spChg>
      </pc:sldChg>
    </pc:docChg>
  </pc:docChgLst>
  <pc:docChgLst>
    <pc:chgData name="Jothi Rengarajan" userId="S::jothi.rengarajan@aspiresys.com::f17fa41b-034b-43c0-9f82-7199929860e3" providerId="AD" clId="Web-{697A9A1F-7CD6-493F-AA49-6E098D7279B2}"/>
    <pc:docChg chg="modSld">
      <pc:chgData name="Jothi Rengarajan" userId="S::jothi.rengarajan@aspiresys.com::f17fa41b-034b-43c0-9f82-7199929860e3" providerId="AD" clId="Web-{697A9A1F-7CD6-493F-AA49-6E098D7279B2}" dt="2021-05-12T10:55:41.024" v="556" actId="20577"/>
      <pc:docMkLst>
        <pc:docMk/>
      </pc:docMkLst>
      <pc:sldChg chg="modSp">
        <pc:chgData name="Jothi Rengarajan" userId="S::jothi.rengarajan@aspiresys.com::f17fa41b-034b-43c0-9f82-7199929860e3" providerId="AD" clId="Web-{697A9A1F-7CD6-493F-AA49-6E098D7279B2}" dt="2021-05-12T10:27:17.497" v="148" actId="20577"/>
        <pc:sldMkLst>
          <pc:docMk/>
          <pc:sldMk cId="872860223" sldId="4479"/>
        </pc:sldMkLst>
        <pc:spChg chg="mod">
          <ac:chgData name="Jothi Rengarajan" userId="S::jothi.rengarajan@aspiresys.com::f17fa41b-034b-43c0-9f82-7199929860e3" providerId="AD" clId="Web-{697A9A1F-7CD6-493F-AA49-6E098D7279B2}" dt="2021-05-12T10:27:17.497" v="148" actId="20577"/>
          <ac:spMkLst>
            <pc:docMk/>
            <pc:sldMk cId="872860223" sldId="4479"/>
            <ac:spMk id="3" creationId="{DBF55740-C618-4865-925B-4330FC2915B2}"/>
          </ac:spMkLst>
        </pc:spChg>
        <pc:spChg chg="mod">
          <ac:chgData name="Jothi Rengarajan" userId="S::jothi.rengarajan@aspiresys.com::f17fa41b-034b-43c0-9f82-7199929860e3" providerId="AD" clId="Web-{697A9A1F-7CD6-493F-AA49-6E098D7279B2}" dt="2021-05-12T10:24:31.556" v="2" actId="20577"/>
          <ac:spMkLst>
            <pc:docMk/>
            <pc:sldMk cId="872860223" sldId="4479"/>
            <ac:spMk id="4" creationId="{1541007A-62CB-40BB-A557-4B777007407D}"/>
          </ac:spMkLst>
        </pc:spChg>
      </pc:sldChg>
      <pc:sldChg chg="modSp">
        <pc:chgData name="Jothi Rengarajan" userId="S::jothi.rengarajan@aspiresys.com::f17fa41b-034b-43c0-9f82-7199929860e3" providerId="AD" clId="Web-{697A9A1F-7CD6-493F-AA49-6E098D7279B2}" dt="2021-05-12T10:51:42.768" v="315" actId="20577"/>
        <pc:sldMkLst>
          <pc:docMk/>
          <pc:sldMk cId="1655234789" sldId="4480"/>
        </pc:sldMkLst>
        <pc:spChg chg="mod">
          <ac:chgData name="Jothi Rengarajan" userId="S::jothi.rengarajan@aspiresys.com::f17fa41b-034b-43c0-9f82-7199929860e3" providerId="AD" clId="Web-{697A9A1F-7CD6-493F-AA49-6E098D7279B2}" dt="2021-05-12T10:51:40.487" v="313" actId="20577"/>
          <ac:spMkLst>
            <pc:docMk/>
            <pc:sldMk cId="1655234789" sldId="4480"/>
            <ac:spMk id="4" creationId="{6DB1417E-E9A8-4463-A85B-B02119E3D3E0}"/>
          </ac:spMkLst>
        </pc:spChg>
        <pc:spChg chg="mod">
          <ac:chgData name="Jothi Rengarajan" userId="S::jothi.rengarajan@aspiresys.com::f17fa41b-034b-43c0-9f82-7199929860e3" providerId="AD" clId="Web-{697A9A1F-7CD6-493F-AA49-6E098D7279B2}" dt="2021-05-12T10:51:42.768" v="315" actId="20577"/>
          <ac:spMkLst>
            <pc:docMk/>
            <pc:sldMk cId="1655234789" sldId="4480"/>
            <ac:spMk id="10" creationId="{4034FF1A-2019-4D2A-8434-BBA9FB8012B1}"/>
          </ac:spMkLst>
        </pc:spChg>
      </pc:sldChg>
      <pc:sldChg chg="modSp">
        <pc:chgData name="Jothi Rengarajan" userId="S::jothi.rengarajan@aspiresys.com::f17fa41b-034b-43c0-9f82-7199929860e3" providerId="AD" clId="Web-{697A9A1F-7CD6-493F-AA49-6E098D7279B2}" dt="2021-05-12T10:52:44.207" v="321" actId="20577"/>
        <pc:sldMkLst>
          <pc:docMk/>
          <pc:sldMk cId="1419067989" sldId="4481"/>
        </pc:sldMkLst>
        <pc:spChg chg="mod">
          <ac:chgData name="Jothi Rengarajan" userId="S::jothi.rengarajan@aspiresys.com::f17fa41b-034b-43c0-9f82-7199929860e3" providerId="AD" clId="Web-{697A9A1F-7CD6-493F-AA49-6E098D7279B2}" dt="2021-05-12T10:52:30.957" v="319" actId="20577"/>
          <ac:spMkLst>
            <pc:docMk/>
            <pc:sldMk cId="1419067989" sldId="4481"/>
            <ac:spMk id="4" creationId="{6DB1417E-E9A8-4463-A85B-B02119E3D3E0}"/>
          </ac:spMkLst>
        </pc:spChg>
        <pc:spChg chg="mod">
          <ac:chgData name="Jothi Rengarajan" userId="S::jothi.rengarajan@aspiresys.com::f17fa41b-034b-43c0-9f82-7199929860e3" providerId="AD" clId="Web-{697A9A1F-7CD6-493F-AA49-6E098D7279B2}" dt="2021-05-12T10:52:44.207" v="321" actId="20577"/>
          <ac:spMkLst>
            <pc:docMk/>
            <pc:sldMk cId="1419067989" sldId="4481"/>
            <ac:spMk id="10" creationId="{4034FF1A-2019-4D2A-8434-BBA9FB8012B1}"/>
          </ac:spMkLst>
        </pc:spChg>
      </pc:sldChg>
      <pc:sldChg chg="modSp">
        <pc:chgData name="Jothi Rengarajan" userId="S::jothi.rengarajan@aspiresys.com::f17fa41b-034b-43c0-9f82-7199929860e3" providerId="AD" clId="Web-{697A9A1F-7CD6-493F-AA49-6E098D7279B2}" dt="2021-05-12T10:55:41.024" v="556" actId="20577"/>
        <pc:sldMkLst>
          <pc:docMk/>
          <pc:sldMk cId="3776152694" sldId="4497"/>
        </pc:sldMkLst>
        <pc:spChg chg="mod">
          <ac:chgData name="Jothi Rengarajan" userId="S::jothi.rengarajan@aspiresys.com::f17fa41b-034b-43c0-9f82-7199929860e3" providerId="AD" clId="Web-{697A9A1F-7CD6-493F-AA49-6E098D7279B2}" dt="2021-05-12T10:55:41.024" v="556" actId="20577"/>
          <ac:spMkLst>
            <pc:docMk/>
            <pc:sldMk cId="3776152694" sldId="4497"/>
            <ac:spMk id="2" creationId="{00000000-0000-0000-0000-000000000000}"/>
          </ac:spMkLst>
        </pc:spChg>
        <pc:spChg chg="mod">
          <ac:chgData name="Jothi Rengarajan" userId="S::jothi.rengarajan@aspiresys.com::f17fa41b-034b-43c0-9f82-7199929860e3" providerId="AD" clId="Web-{697A9A1F-7CD6-493F-AA49-6E098D7279B2}" dt="2021-05-12T10:55:37.164" v="555" actId="20577"/>
          <ac:spMkLst>
            <pc:docMk/>
            <pc:sldMk cId="3776152694" sldId="4497"/>
            <ac:spMk id="3" creationId="{A3CBC3D0-646F-4A7E-A950-C05C902E53C2}"/>
          </ac:spMkLst>
        </pc:spChg>
      </pc:sldChg>
    </pc:docChg>
  </pc:docChgLst>
  <pc:docChgLst>
    <pc:chgData name="Ravi Kanakavalli" userId="68c34e81-a99e-4faa-835b-032ef483b96c" providerId="ADAL" clId="{583392FE-5700-421B-A9E9-219968BD6C00}"/>
    <pc:docChg chg="modSld">
      <pc:chgData name="Ravi Kanakavalli" userId="68c34e81-a99e-4faa-835b-032ef483b96c" providerId="ADAL" clId="{583392FE-5700-421B-A9E9-219968BD6C00}" dt="2021-05-03T10:29:40.578" v="335" actId="113"/>
      <pc:docMkLst>
        <pc:docMk/>
      </pc:docMkLst>
      <pc:sldChg chg="modSp mod">
        <pc:chgData name="Ravi Kanakavalli" userId="68c34e81-a99e-4faa-835b-032ef483b96c" providerId="ADAL" clId="{583392FE-5700-421B-A9E9-219968BD6C00}" dt="2021-05-03T09:20:54.637" v="88" actId="14100"/>
        <pc:sldMkLst>
          <pc:docMk/>
          <pc:sldMk cId="1691174163" sldId="4417"/>
        </pc:sldMkLst>
        <pc:picChg chg="mod">
          <ac:chgData name="Ravi Kanakavalli" userId="68c34e81-a99e-4faa-835b-032ef483b96c" providerId="ADAL" clId="{583392FE-5700-421B-A9E9-219968BD6C00}" dt="2021-05-03T09:20:54.637" v="88" actId="14100"/>
          <ac:picMkLst>
            <pc:docMk/>
            <pc:sldMk cId="1691174163" sldId="4417"/>
            <ac:picMk id="3" creationId="{00000000-0000-0000-0000-000000000000}"/>
          </ac:picMkLst>
        </pc:picChg>
      </pc:sldChg>
      <pc:sldChg chg="modSp">
        <pc:chgData name="Ravi Kanakavalli" userId="68c34e81-a99e-4faa-835b-032ef483b96c" providerId="ADAL" clId="{583392FE-5700-421B-A9E9-219968BD6C00}" dt="2021-05-03T10:29:40.578" v="335" actId="113"/>
        <pc:sldMkLst>
          <pc:docMk/>
          <pc:sldMk cId="319389958" sldId="4420"/>
        </pc:sldMkLst>
        <pc:graphicFrameChg chg="mod">
          <ac:chgData name="Ravi Kanakavalli" userId="68c34e81-a99e-4faa-835b-032ef483b96c" providerId="ADAL" clId="{583392FE-5700-421B-A9E9-219968BD6C00}" dt="2021-05-03T10:29:40.578" v="335" actId="113"/>
          <ac:graphicFrameMkLst>
            <pc:docMk/>
            <pc:sldMk cId="319389958" sldId="4420"/>
            <ac:graphicFrameMk id="6" creationId="{00000000-0000-0000-0000-000000000000}"/>
          </ac:graphicFrameMkLst>
        </pc:graphicFrameChg>
      </pc:sldChg>
    </pc:docChg>
  </pc:docChgLst>
  <pc:docChgLst>
    <pc:chgData name="Rajkumar Murugesan" userId="b1415974-c848-468d-8415-3f2f17128163" providerId="ADAL" clId="{2DFD2317-5C26-4090-8994-AC84A326CD82}"/>
    <pc:docChg chg="undo custSel addSld delSld modSld sldOrd">
      <pc:chgData name="Rajkumar Murugesan" userId="b1415974-c848-468d-8415-3f2f17128163" providerId="ADAL" clId="{2DFD2317-5C26-4090-8994-AC84A326CD82}" dt="2021-05-18T08:59:04.607" v="2286" actId="207"/>
      <pc:docMkLst>
        <pc:docMk/>
      </pc:docMkLst>
      <pc:sldChg chg="modSp mod">
        <pc:chgData name="Rajkumar Murugesan" userId="b1415974-c848-468d-8415-3f2f17128163" providerId="ADAL" clId="{2DFD2317-5C26-4090-8994-AC84A326CD82}" dt="2021-05-16T16:12:15.074" v="837" actId="20577"/>
        <pc:sldMkLst>
          <pc:docMk/>
          <pc:sldMk cId="2464573694" sldId="4482"/>
        </pc:sldMkLst>
        <pc:spChg chg="mod">
          <ac:chgData name="Rajkumar Murugesan" userId="b1415974-c848-468d-8415-3f2f17128163" providerId="ADAL" clId="{2DFD2317-5C26-4090-8994-AC84A326CD82}" dt="2021-05-12T09:25:28.752" v="264" actId="5793"/>
          <ac:spMkLst>
            <pc:docMk/>
            <pc:sldMk cId="2464573694" sldId="4482"/>
            <ac:spMk id="4" creationId="{6DB1417E-E9A8-4463-A85B-B02119E3D3E0}"/>
          </ac:spMkLst>
        </pc:spChg>
        <pc:graphicFrameChg chg="mod">
          <ac:chgData name="Rajkumar Murugesan" userId="b1415974-c848-468d-8415-3f2f17128163" providerId="ADAL" clId="{2DFD2317-5C26-4090-8994-AC84A326CD82}" dt="2021-05-16T16:12:15.074" v="837" actId="20577"/>
          <ac:graphicFrameMkLst>
            <pc:docMk/>
            <pc:sldMk cId="2464573694" sldId="4482"/>
            <ac:graphicFrameMk id="6" creationId="{00000000-0000-0000-0000-000000000000}"/>
          </ac:graphicFrameMkLst>
        </pc:graphicFrameChg>
      </pc:sldChg>
      <pc:sldChg chg="modSp mod">
        <pc:chgData name="Rajkumar Murugesan" userId="b1415974-c848-468d-8415-3f2f17128163" providerId="ADAL" clId="{2DFD2317-5C26-4090-8994-AC84A326CD82}" dt="2021-05-12T03:11:22.242" v="175" actId="20577"/>
        <pc:sldMkLst>
          <pc:docMk/>
          <pc:sldMk cId="1488184378" sldId="4489"/>
        </pc:sldMkLst>
        <pc:graphicFrameChg chg="modGraphic">
          <ac:chgData name="Rajkumar Murugesan" userId="b1415974-c848-468d-8415-3f2f17128163" providerId="ADAL" clId="{2DFD2317-5C26-4090-8994-AC84A326CD82}" dt="2021-05-12T03:11:22.242" v="175" actId="20577"/>
          <ac:graphicFrameMkLst>
            <pc:docMk/>
            <pc:sldMk cId="1488184378" sldId="4489"/>
            <ac:graphicFrameMk id="3" creationId="{00000000-0000-0000-0000-000000000000}"/>
          </ac:graphicFrameMkLst>
        </pc:graphicFrameChg>
      </pc:sldChg>
      <pc:sldChg chg="addSp modSp mod">
        <pc:chgData name="Rajkumar Murugesan" userId="b1415974-c848-468d-8415-3f2f17128163" providerId="ADAL" clId="{2DFD2317-5C26-4090-8994-AC84A326CD82}" dt="2021-05-13T07:59:14.718" v="806" actId="404"/>
        <pc:sldMkLst>
          <pc:docMk/>
          <pc:sldMk cId="2515518080" sldId="4496"/>
        </pc:sldMkLst>
        <pc:spChg chg="mod">
          <ac:chgData name="Rajkumar Murugesan" userId="b1415974-c848-468d-8415-3f2f17128163" providerId="ADAL" clId="{2DFD2317-5C26-4090-8994-AC84A326CD82}" dt="2021-05-13T07:59:14.718" v="806" actId="404"/>
          <ac:spMkLst>
            <pc:docMk/>
            <pc:sldMk cId="2515518080" sldId="4496"/>
            <ac:spMk id="2" creationId="{7B7DEB0E-7C1A-49FD-BD93-A062F6B2058A}"/>
          </ac:spMkLst>
        </pc:spChg>
        <pc:picChg chg="add mod">
          <ac:chgData name="Rajkumar Murugesan" userId="b1415974-c848-468d-8415-3f2f17128163" providerId="ADAL" clId="{2DFD2317-5C26-4090-8994-AC84A326CD82}" dt="2021-05-13T07:26:04.765" v="710" actId="1036"/>
          <ac:picMkLst>
            <pc:docMk/>
            <pc:sldMk cId="2515518080" sldId="4496"/>
            <ac:picMk id="5122" creationId="{AFAA32C7-CB9F-47D7-A7B2-4A7F1037644A}"/>
          </ac:picMkLst>
        </pc:picChg>
      </pc:sldChg>
      <pc:sldChg chg="modSp mod">
        <pc:chgData name="Rajkumar Murugesan" userId="b1415974-c848-468d-8415-3f2f17128163" providerId="ADAL" clId="{2DFD2317-5C26-4090-8994-AC84A326CD82}" dt="2021-05-12T09:31:15.282" v="271" actId="20577"/>
        <pc:sldMkLst>
          <pc:docMk/>
          <pc:sldMk cId="187934603" sldId="4502"/>
        </pc:sldMkLst>
        <pc:spChg chg="mod">
          <ac:chgData name="Rajkumar Murugesan" userId="b1415974-c848-468d-8415-3f2f17128163" providerId="ADAL" clId="{2DFD2317-5C26-4090-8994-AC84A326CD82}" dt="2021-05-12T09:31:15.282" v="271" actId="20577"/>
          <ac:spMkLst>
            <pc:docMk/>
            <pc:sldMk cId="187934603" sldId="4502"/>
            <ac:spMk id="4" creationId="{92EC1C38-0505-4459-B5EE-FD7C6F9D958F}"/>
          </ac:spMkLst>
        </pc:spChg>
      </pc:sldChg>
      <pc:sldChg chg="modSp addCm modCm">
        <pc:chgData name="Rajkumar Murugesan" userId="b1415974-c848-468d-8415-3f2f17128163" providerId="ADAL" clId="{2DFD2317-5C26-4090-8994-AC84A326CD82}" dt="2021-05-16T16:20:03.209" v="1026" actId="313"/>
        <pc:sldMkLst>
          <pc:docMk/>
          <pc:sldMk cId="1356961957" sldId="4503"/>
        </pc:sldMkLst>
        <pc:graphicFrameChg chg="mod">
          <ac:chgData name="Rajkumar Murugesan" userId="b1415974-c848-468d-8415-3f2f17128163" providerId="ADAL" clId="{2DFD2317-5C26-4090-8994-AC84A326CD82}" dt="2021-05-16T16:20:03.209" v="1026" actId="313"/>
          <ac:graphicFrameMkLst>
            <pc:docMk/>
            <pc:sldMk cId="1356961957" sldId="4503"/>
            <ac:graphicFrameMk id="7" creationId="{00000000-0000-0000-0000-000000000000}"/>
          </ac:graphicFrameMkLst>
        </pc:graphicFrameChg>
      </pc:sldChg>
      <pc:sldChg chg="modSp mod addCm modCm">
        <pc:chgData name="Rajkumar Murugesan" userId="b1415974-c848-468d-8415-3f2f17128163" providerId="ADAL" clId="{2DFD2317-5C26-4090-8994-AC84A326CD82}" dt="2021-05-16T16:25:00.098" v="1077"/>
        <pc:sldMkLst>
          <pc:docMk/>
          <pc:sldMk cId="2169778326" sldId="4504"/>
        </pc:sldMkLst>
        <pc:spChg chg="mod">
          <ac:chgData name="Rajkumar Murugesan" userId="b1415974-c848-468d-8415-3f2f17128163" providerId="ADAL" clId="{2DFD2317-5C26-4090-8994-AC84A326CD82}" dt="2021-05-12T09:36:47.422" v="364" actId="20577"/>
          <ac:spMkLst>
            <pc:docMk/>
            <pc:sldMk cId="2169778326" sldId="4504"/>
            <ac:spMk id="3" creationId="{D947F45D-485C-4BE6-A134-E2BE0C39587B}"/>
          </ac:spMkLst>
        </pc:spChg>
        <pc:spChg chg="mod">
          <ac:chgData name="Rajkumar Murugesan" userId="b1415974-c848-468d-8415-3f2f17128163" providerId="ADAL" clId="{2DFD2317-5C26-4090-8994-AC84A326CD82}" dt="2021-05-12T09:36:57.013" v="372" actId="20577"/>
          <ac:spMkLst>
            <pc:docMk/>
            <pc:sldMk cId="2169778326" sldId="4504"/>
            <ac:spMk id="4" creationId="{2F4BF30F-5B5F-45CB-B8C8-3D8091576388}"/>
          </ac:spMkLst>
        </pc:spChg>
        <pc:graphicFrameChg chg="mod">
          <ac:chgData name="Rajkumar Murugesan" userId="b1415974-c848-468d-8415-3f2f17128163" providerId="ADAL" clId="{2DFD2317-5C26-4090-8994-AC84A326CD82}" dt="2021-05-16T16:24:51.123" v="1076" actId="20577"/>
          <ac:graphicFrameMkLst>
            <pc:docMk/>
            <pc:sldMk cId="2169778326" sldId="4504"/>
            <ac:graphicFrameMk id="7" creationId="{00000000-0000-0000-0000-000000000000}"/>
          </ac:graphicFrameMkLst>
        </pc:graphicFrameChg>
      </pc:sldChg>
      <pc:sldChg chg="addSp modSp add mod">
        <pc:chgData name="Rajkumar Murugesan" userId="b1415974-c848-468d-8415-3f2f17128163" providerId="ADAL" clId="{2DFD2317-5C26-4090-8994-AC84A326CD82}" dt="2021-05-12T09:42:17.294" v="698" actId="12100"/>
        <pc:sldMkLst>
          <pc:docMk/>
          <pc:sldMk cId="2026867055" sldId="4506"/>
        </pc:sldMkLst>
        <pc:spChg chg="mod">
          <ac:chgData name="Rajkumar Murugesan" userId="b1415974-c848-468d-8415-3f2f17128163" providerId="ADAL" clId="{2DFD2317-5C26-4090-8994-AC84A326CD82}" dt="2021-05-12T09:38:49.937" v="434" actId="20577"/>
          <ac:spMkLst>
            <pc:docMk/>
            <pc:sldMk cId="2026867055" sldId="4506"/>
            <ac:spMk id="2" creationId="{00000000-0000-0000-0000-000000000000}"/>
          </ac:spMkLst>
        </pc:spChg>
        <pc:graphicFrameChg chg="add mod">
          <ac:chgData name="Rajkumar Murugesan" userId="b1415974-c848-468d-8415-3f2f17128163" providerId="ADAL" clId="{2DFD2317-5C26-4090-8994-AC84A326CD82}" dt="2021-05-12T09:42:17.294" v="698" actId="12100"/>
          <ac:graphicFrameMkLst>
            <pc:docMk/>
            <pc:sldMk cId="2026867055" sldId="4506"/>
            <ac:graphicFrameMk id="3" creationId="{519E9CEA-390C-4B81-B807-783273BA5212}"/>
          </ac:graphicFrameMkLst>
        </pc:graphicFrameChg>
      </pc:sldChg>
      <pc:sldChg chg="modSp">
        <pc:chgData name="Rajkumar Murugesan" userId="b1415974-c848-468d-8415-3f2f17128163" providerId="ADAL" clId="{2DFD2317-5C26-4090-8994-AC84A326CD82}" dt="2021-05-17T11:36:54.937" v="2260"/>
        <pc:sldMkLst>
          <pc:docMk/>
          <pc:sldMk cId="1175065035" sldId="4510"/>
        </pc:sldMkLst>
        <pc:graphicFrameChg chg="mod">
          <ac:chgData name="Rajkumar Murugesan" userId="b1415974-c848-468d-8415-3f2f17128163" providerId="ADAL" clId="{2DFD2317-5C26-4090-8994-AC84A326CD82}" dt="2021-05-17T11:36:54.937" v="2260"/>
          <ac:graphicFrameMkLst>
            <pc:docMk/>
            <pc:sldMk cId="1175065035" sldId="4510"/>
            <ac:graphicFrameMk id="3" creationId="{00000000-0000-0000-0000-000000000000}"/>
          </ac:graphicFrameMkLst>
        </pc:graphicFrameChg>
      </pc:sldChg>
      <pc:sldChg chg="addSp delSp modSp add mod">
        <pc:chgData name="Rajkumar Murugesan" userId="b1415974-c848-468d-8415-3f2f17128163" providerId="ADAL" clId="{2DFD2317-5C26-4090-8994-AC84A326CD82}" dt="2021-05-13T08:01:34.056" v="833" actId="20577"/>
        <pc:sldMkLst>
          <pc:docMk/>
          <pc:sldMk cId="1186392222" sldId="4521"/>
        </pc:sldMkLst>
        <pc:spChg chg="mod">
          <ac:chgData name="Rajkumar Murugesan" userId="b1415974-c848-468d-8415-3f2f17128163" providerId="ADAL" clId="{2DFD2317-5C26-4090-8994-AC84A326CD82}" dt="2021-05-13T08:01:34.056" v="833" actId="20577"/>
          <ac:spMkLst>
            <pc:docMk/>
            <pc:sldMk cId="1186392222" sldId="4521"/>
            <ac:spMk id="2" creationId="{7B7DEB0E-7C1A-49FD-BD93-A062F6B2058A}"/>
          </ac:spMkLst>
        </pc:spChg>
        <pc:picChg chg="del">
          <ac:chgData name="Rajkumar Murugesan" userId="b1415974-c848-468d-8415-3f2f17128163" providerId="ADAL" clId="{2DFD2317-5C26-4090-8994-AC84A326CD82}" dt="2021-05-13T07:50:56.687" v="712" actId="478"/>
          <ac:picMkLst>
            <pc:docMk/>
            <pc:sldMk cId="1186392222" sldId="4521"/>
            <ac:picMk id="5122" creationId="{AFAA32C7-CB9F-47D7-A7B2-4A7F1037644A}"/>
          </ac:picMkLst>
        </pc:picChg>
        <pc:picChg chg="add mod">
          <ac:chgData name="Rajkumar Murugesan" userId="b1415974-c848-468d-8415-3f2f17128163" providerId="ADAL" clId="{2DFD2317-5C26-4090-8994-AC84A326CD82}" dt="2021-05-13T07:51:59.640" v="751" actId="1037"/>
          <ac:picMkLst>
            <pc:docMk/>
            <pc:sldMk cId="1186392222" sldId="4521"/>
            <ac:picMk id="6146" creationId="{BC584BA2-21D4-42F8-851F-88B4224867F5}"/>
          </ac:picMkLst>
        </pc:picChg>
      </pc:sldChg>
      <pc:sldChg chg="delSp mod">
        <pc:chgData name="Rajkumar Murugesan" userId="b1415974-c848-468d-8415-3f2f17128163" providerId="ADAL" clId="{2DFD2317-5C26-4090-8994-AC84A326CD82}" dt="2021-05-17T10:11:26.148" v="1081" actId="21"/>
        <pc:sldMkLst>
          <pc:docMk/>
          <pc:sldMk cId="688762695" sldId="4525"/>
        </pc:sldMkLst>
        <pc:picChg chg="del">
          <ac:chgData name="Rajkumar Murugesan" userId="b1415974-c848-468d-8415-3f2f17128163" providerId="ADAL" clId="{2DFD2317-5C26-4090-8994-AC84A326CD82}" dt="2021-05-17T10:11:26.148" v="1081" actId="21"/>
          <ac:picMkLst>
            <pc:docMk/>
            <pc:sldMk cId="688762695" sldId="4525"/>
            <ac:picMk id="3" creationId="{00000000-0000-0000-0000-000000000000}"/>
          </ac:picMkLst>
        </pc:picChg>
      </pc:sldChg>
      <pc:sldChg chg="addSp modSp mod ord">
        <pc:chgData name="Rajkumar Murugesan" userId="b1415974-c848-468d-8415-3f2f17128163" providerId="ADAL" clId="{2DFD2317-5C26-4090-8994-AC84A326CD82}" dt="2021-05-17T10:38:48.437" v="1998"/>
        <pc:sldMkLst>
          <pc:docMk/>
          <pc:sldMk cId="1997877743" sldId="4538"/>
        </pc:sldMkLst>
        <pc:spChg chg="mod">
          <ac:chgData name="Rajkumar Murugesan" userId="b1415974-c848-468d-8415-3f2f17128163" providerId="ADAL" clId="{2DFD2317-5C26-4090-8994-AC84A326CD82}" dt="2021-05-17T10:38:33.934" v="1992" actId="6549"/>
          <ac:spMkLst>
            <pc:docMk/>
            <pc:sldMk cId="1997877743" sldId="4538"/>
            <ac:spMk id="2" creationId="{00000000-0000-0000-0000-000000000000}"/>
          </ac:spMkLst>
        </pc:spChg>
        <pc:graphicFrameChg chg="add mod modGraphic">
          <ac:chgData name="Rajkumar Murugesan" userId="b1415974-c848-468d-8415-3f2f17128163" providerId="ADAL" clId="{2DFD2317-5C26-4090-8994-AC84A326CD82}" dt="2021-05-17T10:38:11.583" v="1954" actId="1076"/>
          <ac:graphicFrameMkLst>
            <pc:docMk/>
            <pc:sldMk cId="1997877743" sldId="4538"/>
            <ac:graphicFrameMk id="3" creationId="{3F9EC4CE-CEF0-4925-B1BD-191871D8460E}"/>
          </ac:graphicFrameMkLst>
        </pc:graphicFrameChg>
      </pc:sldChg>
      <pc:sldChg chg="addSp delSp modSp mod">
        <pc:chgData name="Rajkumar Murugesan" userId="b1415974-c848-468d-8415-3f2f17128163" providerId="ADAL" clId="{2DFD2317-5C26-4090-8994-AC84A326CD82}" dt="2021-05-18T07:35:48.419" v="2277" actId="14100"/>
        <pc:sldMkLst>
          <pc:docMk/>
          <pc:sldMk cId="2524788819" sldId="4543"/>
        </pc:sldMkLst>
        <pc:picChg chg="add mod">
          <ac:chgData name="Rajkumar Murugesan" userId="b1415974-c848-468d-8415-3f2f17128163" providerId="ADAL" clId="{2DFD2317-5C26-4090-8994-AC84A326CD82}" dt="2021-05-18T07:35:48.419" v="2277" actId="14100"/>
          <ac:picMkLst>
            <pc:docMk/>
            <pc:sldMk cId="2524788819" sldId="4543"/>
            <ac:picMk id="4" creationId="{4CB58DE7-1DE1-45DE-AFF2-F5DCA4225453}"/>
          </ac:picMkLst>
        </pc:picChg>
        <pc:picChg chg="del">
          <ac:chgData name="Rajkumar Murugesan" userId="b1415974-c848-468d-8415-3f2f17128163" providerId="ADAL" clId="{2DFD2317-5C26-4090-8994-AC84A326CD82}" dt="2021-05-18T07:34:51.670" v="2261" actId="478"/>
          <ac:picMkLst>
            <pc:docMk/>
            <pc:sldMk cId="2524788819" sldId="4543"/>
            <ac:picMk id="6" creationId="{6C42907D-E799-41D1-AFEE-40EC6612AFCA}"/>
          </ac:picMkLst>
        </pc:picChg>
      </pc:sldChg>
      <pc:sldChg chg="modSp mod">
        <pc:chgData name="Rajkumar Murugesan" userId="b1415974-c848-468d-8415-3f2f17128163" providerId="ADAL" clId="{2DFD2317-5C26-4090-8994-AC84A326CD82}" dt="2021-05-17T11:09:48.475" v="2259" actId="20577"/>
        <pc:sldMkLst>
          <pc:docMk/>
          <pc:sldMk cId="2828618351" sldId="4544"/>
        </pc:sldMkLst>
        <pc:graphicFrameChg chg="modGraphic">
          <ac:chgData name="Rajkumar Murugesan" userId="b1415974-c848-468d-8415-3f2f17128163" providerId="ADAL" clId="{2DFD2317-5C26-4090-8994-AC84A326CD82}" dt="2021-05-17T11:09:48.475" v="2259" actId="20577"/>
          <ac:graphicFrameMkLst>
            <pc:docMk/>
            <pc:sldMk cId="2828618351" sldId="4544"/>
            <ac:graphicFrameMk id="5" creationId="{150077AC-1592-4DC1-9C0B-1093A63457DE}"/>
          </ac:graphicFrameMkLst>
        </pc:graphicFrameChg>
      </pc:sldChg>
      <pc:sldChg chg="addSp delSp modSp add mod">
        <pc:chgData name="Rajkumar Murugesan" userId="b1415974-c848-468d-8415-3f2f17128163" providerId="ADAL" clId="{2DFD2317-5C26-4090-8994-AC84A326CD82}" dt="2021-05-17T10:15:14.960" v="1164" actId="14100"/>
        <pc:sldMkLst>
          <pc:docMk/>
          <pc:sldMk cId="843493251" sldId="4545"/>
        </pc:sldMkLst>
        <pc:spChg chg="mod">
          <ac:chgData name="Rajkumar Murugesan" userId="b1415974-c848-468d-8415-3f2f17128163" providerId="ADAL" clId="{2DFD2317-5C26-4090-8994-AC84A326CD82}" dt="2021-05-17T10:12:13.174" v="1138" actId="20577"/>
          <ac:spMkLst>
            <pc:docMk/>
            <pc:sldMk cId="843493251" sldId="4545"/>
            <ac:spMk id="2" creationId="{00000000-0000-0000-0000-000000000000}"/>
          </ac:spMkLst>
        </pc:spChg>
        <pc:spChg chg="del mod">
          <ac:chgData name="Rajkumar Murugesan" userId="b1415974-c848-468d-8415-3f2f17128163" providerId="ADAL" clId="{2DFD2317-5C26-4090-8994-AC84A326CD82}" dt="2021-05-17T10:12:17.987" v="1139" actId="478"/>
          <ac:spMkLst>
            <pc:docMk/>
            <pc:sldMk cId="843493251" sldId="4545"/>
            <ac:spMk id="3" creationId="{00000000-0000-0000-0000-000000000000}"/>
          </ac:spMkLst>
        </pc:spChg>
        <pc:picChg chg="add del mod">
          <ac:chgData name="Rajkumar Murugesan" userId="b1415974-c848-468d-8415-3f2f17128163" providerId="ADAL" clId="{2DFD2317-5C26-4090-8994-AC84A326CD82}" dt="2021-05-17T10:14:33.969" v="1162" actId="478"/>
          <ac:picMkLst>
            <pc:docMk/>
            <pc:sldMk cId="843493251" sldId="4545"/>
            <ac:picMk id="4" creationId="{10B20D7E-948B-4EA0-9F69-6179C77F5708}"/>
          </ac:picMkLst>
        </pc:picChg>
        <pc:picChg chg="add mod">
          <ac:chgData name="Rajkumar Murugesan" userId="b1415974-c848-468d-8415-3f2f17128163" providerId="ADAL" clId="{2DFD2317-5C26-4090-8994-AC84A326CD82}" dt="2021-05-17T10:15:14.960" v="1164" actId="14100"/>
          <ac:picMkLst>
            <pc:docMk/>
            <pc:sldMk cId="843493251" sldId="4545"/>
            <ac:picMk id="6" creationId="{3414D018-9D9C-4C09-8A59-FDD6E3DEBA32}"/>
          </ac:picMkLst>
        </pc:picChg>
      </pc:sldChg>
      <pc:sldChg chg="modSp add del mod">
        <pc:chgData name="Rajkumar Murugesan" userId="b1415974-c848-468d-8415-3f2f17128163" providerId="ADAL" clId="{2DFD2317-5C26-4090-8994-AC84A326CD82}" dt="2021-05-17T10:38:51.621" v="1999" actId="47"/>
        <pc:sldMkLst>
          <pc:docMk/>
          <pc:sldMk cId="4213849285" sldId="4552"/>
        </pc:sldMkLst>
        <pc:spChg chg="mod">
          <ac:chgData name="Rajkumar Murugesan" userId="b1415974-c848-468d-8415-3f2f17128163" providerId="ADAL" clId="{2DFD2317-5C26-4090-8994-AC84A326CD82}" dt="2021-05-17T10:12:41.310" v="1161" actId="20577"/>
          <ac:spMkLst>
            <pc:docMk/>
            <pc:sldMk cId="4213849285" sldId="4552"/>
            <ac:spMk id="3" creationId="{00000000-0000-0000-0000-000000000000}"/>
          </ac:spMkLst>
        </pc:spChg>
      </pc:sldChg>
      <pc:sldChg chg="delSp modSp add mod ord">
        <pc:chgData name="Rajkumar Murugesan" userId="b1415974-c848-468d-8415-3f2f17128163" providerId="ADAL" clId="{2DFD2317-5C26-4090-8994-AC84A326CD82}" dt="2021-05-18T08:59:04.607" v="2286" actId="207"/>
        <pc:sldMkLst>
          <pc:docMk/>
          <pc:sldMk cId="3291726870" sldId="4555"/>
        </pc:sldMkLst>
        <pc:graphicFrameChg chg="modGraphic">
          <ac:chgData name="Rajkumar Murugesan" userId="b1415974-c848-468d-8415-3f2f17128163" providerId="ADAL" clId="{2DFD2317-5C26-4090-8994-AC84A326CD82}" dt="2021-05-18T08:59:04.607" v="2286" actId="207"/>
          <ac:graphicFrameMkLst>
            <pc:docMk/>
            <pc:sldMk cId="3291726870" sldId="4555"/>
            <ac:graphicFrameMk id="3" creationId="{00000000-0000-0000-0000-000000000000}"/>
          </ac:graphicFrameMkLst>
        </pc:graphicFrameChg>
        <pc:graphicFrameChg chg="del">
          <ac:chgData name="Rajkumar Murugesan" userId="b1415974-c848-468d-8415-3f2f17128163" providerId="ADAL" clId="{2DFD2317-5C26-4090-8994-AC84A326CD82}" dt="2021-05-17T10:39:10.207" v="2000" actId="478"/>
          <ac:graphicFrameMkLst>
            <pc:docMk/>
            <pc:sldMk cId="3291726870" sldId="4555"/>
            <ac:graphicFrameMk id="3" creationId="{3F9EC4CE-CEF0-4925-B1BD-191871D8460E}"/>
          </ac:graphicFrameMkLst>
        </pc:graphicFrameChg>
      </pc:sldChg>
      <pc:sldChg chg="addSp delSp modSp add mod">
        <pc:chgData name="Rajkumar Murugesan" userId="b1415974-c848-468d-8415-3f2f17128163" providerId="ADAL" clId="{2DFD2317-5C26-4090-8994-AC84A326CD82}" dt="2021-05-17T10:59:15.677" v="2212" actId="1076"/>
        <pc:sldMkLst>
          <pc:docMk/>
          <pc:sldMk cId="3366401421" sldId="4556"/>
        </pc:sldMkLst>
        <pc:spChg chg="mod">
          <ac:chgData name="Rajkumar Murugesan" userId="b1415974-c848-468d-8415-3f2f17128163" providerId="ADAL" clId="{2DFD2317-5C26-4090-8994-AC84A326CD82}" dt="2021-05-17T10:59:13.081" v="2211" actId="20577"/>
          <ac:spMkLst>
            <pc:docMk/>
            <pc:sldMk cId="3366401421" sldId="4556"/>
            <ac:spMk id="2" creationId="{00000000-0000-0000-0000-000000000000}"/>
          </ac:spMkLst>
        </pc:spChg>
        <pc:spChg chg="add mod">
          <ac:chgData name="Rajkumar Murugesan" userId="b1415974-c848-468d-8415-3f2f17128163" providerId="ADAL" clId="{2DFD2317-5C26-4090-8994-AC84A326CD82}" dt="2021-05-17T10:59:15.677" v="2212" actId="1076"/>
          <ac:spMkLst>
            <pc:docMk/>
            <pc:sldMk cId="3366401421" sldId="4556"/>
            <ac:spMk id="4" creationId="{68BC0E40-CB1F-46B2-BB95-72701B9B6DAE}"/>
          </ac:spMkLst>
        </pc:spChg>
        <pc:graphicFrameChg chg="del">
          <ac:chgData name="Rajkumar Murugesan" userId="b1415974-c848-468d-8415-3f2f17128163" providerId="ADAL" clId="{2DFD2317-5C26-4090-8994-AC84A326CD82}" dt="2021-05-17T10:55:11.556" v="2041" actId="478"/>
          <ac:graphicFrameMkLst>
            <pc:docMk/>
            <pc:sldMk cId="3366401421" sldId="4556"/>
            <ac:graphicFrameMk id="3" creationId="{3F9EC4CE-CEF0-4925-B1BD-191871D8460E}"/>
          </ac:graphicFrameMkLst>
        </pc:graphicFrameChg>
      </pc:sldChg>
    </pc:docChg>
  </pc:docChgLst>
  <pc:docChgLst>
    <pc:chgData name="Sudhakar Chavali" userId="S::sudhakar.chavali@aspiresys.com::86634ce7-41f6-4558-9468-223fedff1d12" providerId="AD" clId="Web-{A0A9B6B9-EBA5-44CA-8D22-75A94BEDDA2A}"/>
    <pc:docChg chg="modSld">
      <pc:chgData name="Sudhakar Chavali" userId="S::sudhakar.chavali@aspiresys.com::86634ce7-41f6-4558-9468-223fedff1d12" providerId="AD" clId="Web-{A0A9B6B9-EBA5-44CA-8D22-75A94BEDDA2A}" dt="2021-05-12T02:13:50.861" v="7" actId="20577"/>
      <pc:docMkLst>
        <pc:docMk/>
      </pc:docMkLst>
      <pc:sldChg chg="modSp">
        <pc:chgData name="Sudhakar Chavali" userId="S::sudhakar.chavali@aspiresys.com::86634ce7-41f6-4558-9468-223fedff1d12" providerId="AD" clId="Web-{A0A9B6B9-EBA5-44CA-8D22-75A94BEDDA2A}" dt="2021-05-12T02:13:50.861" v="7" actId="20577"/>
        <pc:sldMkLst>
          <pc:docMk/>
          <pc:sldMk cId="1655234789" sldId="4480"/>
        </pc:sldMkLst>
        <pc:spChg chg="mod">
          <ac:chgData name="Sudhakar Chavali" userId="S::sudhakar.chavali@aspiresys.com::86634ce7-41f6-4558-9468-223fedff1d12" providerId="AD" clId="Web-{A0A9B6B9-EBA5-44CA-8D22-75A94BEDDA2A}" dt="2021-05-12T02:13:25.455" v="1" actId="20577"/>
          <ac:spMkLst>
            <pc:docMk/>
            <pc:sldMk cId="1655234789" sldId="4480"/>
            <ac:spMk id="4" creationId="{6DB1417E-E9A8-4463-A85B-B02119E3D3E0}"/>
          </ac:spMkLst>
        </pc:spChg>
        <pc:spChg chg="mod">
          <ac:chgData name="Sudhakar Chavali" userId="S::sudhakar.chavali@aspiresys.com::86634ce7-41f6-4558-9468-223fedff1d12" providerId="AD" clId="Web-{A0A9B6B9-EBA5-44CA-8D22-75A94BEDDA2A}" dt="2021-05-12T02:13:50.861" v="7" actId="20577"/>
          <ac:spMkLst>
            <pc:docMk/>
            <pc:sldMk cId="1655234789" sldId="4480"/>
            <ac:spMk id="10" creationId="{4034FF1A-2019-4D2A-8434-BBA9FB8012B1}"/>
          </ac:spMkLst>
        </pc:spChg>
      </pc:sldChg>
    </pc:docChg>
  </pc:docChgLst>
  <pc:docChgLst>
    <pc:chgData name="Jothi Rengarajan" userId="S::jothi.rengarajan@aspiresys.com::f17fa41b-034b-43c0-9f82-7199929860e3" providerId="AD" clId="Web-{1E6438C8-11BB-46FA-A4A1-D59F7806D48A}"/>
    <pc:docChg chg="addSld delSld modSld sldOrd">
      <pc:chgData name="Jothi Rengarajan" userId="S::jothi.rengarajan@aspiresys.com::f17fa41b-034b-43c0-9f82-7199929860e3" providerId="AD" clId="Web-{1E6438C8-11BB-46FA-A4A1-D59F7806D48A}" dt="2021-05-12T06:02:26.340" v="187"/>
      <pc:docMkLst>
        <pc:docMk/>
      </pc:docMkLst>
      <pc:sldChg chg="mod modShow">
        <pc:chgData name="Jothi Rengarajan" userId="S::jothi.rengarajan@aspiresys.com::f17fa41b-034b-43c0-9f82-7199929860e3" providerId="AD" clId="Web-{1E6438C8-11BB-46FA-A4A1-D59F7806D48A}" dt="2021-05-12T06:02:26.340" v="187"/>
        <pc:sldMkLst>
          <pc:docMk/>
          <pc:sldMk cId="1678338197" sldId="4416"/>
        </pc:sldMkLst>
      </pc:sldChg>
      <pc:sldChg chg="ord">
        <pc:chgData name="Jothi Rengarajan" userId="S::jothi.rengarajan@aspiresys.com::f17fa41b-034b-43c0-9f82-7199929860e3" providerId="AD" clId="Web-{1E6438C8-11BB-46FA-A4A1-D59F7806D48A}" dt="2021-05-12T04:57:07.663" v="161"/>
        <pc:sldMkLst>
          <pc:docMk/>
          <pc:sldMk cId="3404949992" sldId="4419"/>
        </pc:sldMkLst>
      </pc:sldChg>
      <pc:sldChg chg="modSp">
        <pc:chgData name="Jothi Rengarajan" userId="S::jothi.rengarajan@aspiresys.com::f17fa41b-034b-43c0-9f82-7199929860e3" providerId="AD" clId="Web-{1E6438C8-11BB-46FA-A4A1-D59F7806D48A}" dt="2021-05-12T04:52:39.627" v="151" actId="20577"/>
        <pc:sldMkLst>
          <pc:docMk/>
          <pc:sldMk cId="4244816456" sldId="4476"/>
        </pc:sldMkLst>
        <pc:spChg chg="mod">
          <ac:chgData name="Jothi Rengarajan" userId="S::jothi.rengarajan@aspiresys.com::f17fa41b-034b-43c0-9f82-7199929860e3" providerId="AD" clId="Web-{1E6438C8-11BB-46FA-A4A1-D59F7806D48A}" dt="2021-05-12T04:52:39.627" v="151" actId="20577"/>
          <ac:spMkLst>
            <pc:docMk/>
            <pc:sldMk cId="4244816456" sldId="4476"/>
            <ac:spMk id="2" creationId="{00000000-0000-0000-0000-000000000000}"/>
          </ac:spMkLst>
        </pc:spChg>
      </pc:sldChg>
      <pc:sldChg chg="modSp">
        <pc:chgData name="Jothi Rengarajan" userId="S::jothi.rengarajan@aspiresys.com::f17fa41b-034b-43c0-9f82-7199929860e3" providerId="AD" clId="Web-{1E6438C8-11BB-46FA-A4A1-D59F7806D48A}" dt="2021-05-12T04:51:07.890" v="78" actId="20577"/>
        <pc:sldMkLst>
          <pc:docMk/>
          <pc:sldMk cId="1931496491" sldId="4478"/>
        </pc:sldMkLst>
        <pc:spChg chg="mod">
          <ac:chgData name="Jothi Rengarajan" userId="S::jothi.rengarajan@aspiresys.com::f17fa41b-034b-43c0-9f82-7199929860e3" providerId="AD" clId="Web-{1E6438C8-11BB-46FA-A4A1-D59F7806D48A}" dt="2021-05-12T04:51:07.890" v="78" actId="20577"/>
          <ac:spMkLst>
            <pc:docMk/>
            <pc:sldMk cId="1931496491" sldId="4478"/>
            <ac:spMk id="2" creationId="{00000000-0000-0000-0000-000000000000}"/>
          </ac:spMkLst>
        </pc:spChg>
      </pc:sldChg>
      <pc:sldChg chg="modSp del">
        <pc:chgData name="Jothi Rengarajan" userId="S::jothi.rengarajan@aspiresys.com::f17fa41b-034b-43c0-9f82-7199929860e3" providerId="AD" clId="Web-{1E6438C8-11BB-46FA-A4A1-D59F7806D48A}" dt="2021-05-12T04:57:11.991" v="162"/>
        <pc:sldMkLst>
          <pc:docMk/>
          <pc:sldMk cId="3451163905" sldId="4483"/>
        </pc:sldMkLst>
        <pc:spChg chg="mod">
          <ac:chgData name="Jothi Rengarajan" userId="S::jothi.rengarajan@aspiresys.com::f17fa41b-034b-43c0-9f82-7199929860e3" providerId="AD" clId="Web-{1E6438C8-11BB-46FA-A4A1-D59F7806D48A}" dt="2021-05-12T04:51:23.875" v="102" actId="20577"/>
          <ac:spMkLst>
            <pc:docMk/>
            <pc:sldMk cId="3451163905" sldId="4483"/>
            <ac:spMk id="2" creationId="{00000000-0000-0000-0000-000000000000}"/>
          </ac:spMkLst>
        </pc:spChg>
      </pc:sldChg>
      <pc:sldChg chg="ord">
        <pc:chgData name="Jothi Rengarajan" userId="S::jothi.rengarajan@aspiresys.com::f17fa41b-034b-43c0-9f82-7199929860e3" providerId="AD" clId="Web-{1E6438C8-11BB-46FA-A4A1-D59F7806D48A}" dt="2021-05-12T04:52:26.345" v="140"/>
        <pc:sldMkLst>
          <pc:docMk/>
          <pc:sldMk cId="3505832694" sldId="4484"/>
        </pc:sldMkLst>
      </pc:sldChg>
      <pc:sldChg chg="modSp">
        <pc:chgData name="Jothi Rengarajan" userId="S::jothi.rengarajan@aspiresys.com::f17fa41b-034b-43c0-9f82-7199929860e3" providerId="AD" clId="Web-{1E6438C8-11BB-46FA-A4A1-D59F7806D48A}" dt="2021-05-12T04:48:55.966" v="68" actId="20577"/>
        <pc:sldMkLst>
          <pc:docMk/>
          <pc:sldMk cId="665246693" sldId="4485"/>
        </pc:sldMkLst>
        <pc:spChg chg="mod">
          <ac:chgData name="Jothi Rengarajan" userId="S::jothi.rengarajan@aspiresys.com::f17fa41b-034b-43c0-9f82-7199929860e3" providerId="AD" clId="Web-{1E6438C8-11BB-46FA-A4A1-D59F7806D48A}" dt="2021-05-12T04:48:55.966" v="68" actId="20577"/>
          <ac:spMkLst>
            <pc:docMk/>
            <pc:sldMk cId="665246693" sldId="4485"/>
            <ac:spMk id="2" creationId="{00000000-0000-0000-0000-000000000000}"/>
          </ac:spMkLst>
        </pc:spChg>
      </pc:sldChg>
      <pc:sldChg chg="addSp delSp modSp">
        <pc:chgData name="Jothi Rengarajan" userId="S::jothi.rengarajan@aspiresys.com::f17fa41b-034b-43c0-9f82-7199929860e3" providerId="AD" clId="Web-{1E6438C8-11BB-46FA-A4A1-D59F7806D48A}" dt="2021-05-12T05:02:24.137" v="186"/>
        <pc:sldMkLst>
          <pc:docMk/>
          <pc:sldMk cId="475456527" sldId="4490"/>
        </pc:sldMkLst>
        <pc:spChg chg="mod">
          <ac:chgData name="Jothi Rengarajan" userId="S::jothi.rengarajan@aspiresys.com::f17fa41b-034b-43c0-9f82-7199929860e3" providerId="AD" clId="Web-{1E6438C8-11BB-46FA-A4A1-D59F7806D48A}" dt="2021-05-12T04:58:08.742" v="181" actId="20577"/>
          <ac:spMkLst>
            <pc:docMk/>
            <pc:sldMk cId="475456527" sldId="4490"/>
            <ac:spMk id="2" creationId="{00000000-0000-0000-0000-000000000000}"/>
          </ac:spMkLst>
        </pc:spChg>
        <pc:graphicFrameChg chg="add mod modGraphic">
          <ac:chgData name="Jothi Rengarajan" userId="S::jothi.rengarajan@aspiresys.com::f17fa41b-034b-43c0-9f82-7199929860e3" providerId="AD" clId="Web-{1E6438C8-11BB-46FA-A4A1-D59F7806D48A}" dt="2021-05-12T05:02:24.137" v="186"/>
          <ac:graphicFrameMkLst>
            <pc:docMk/>
            <pc:sldMk cId="475456527" sldId="4490"/>
            <ac:graphicFrameMk id="4" creationId="{50BA0EBB-20F9-4D3C-9D16-29DA2698F34E}"/>
          </ac:graphicFrameMkLst>
        </pc:graphicFrameChg>
        <pc:picChg chg="del">
          <ac:chgData name="Jothi Rengarajan" userId="S::jothi.rengarajan@aspiresys.com::f17fa41b-034b-43c0-9f82-7199929860e3" providerId="AD" clId="Web-{1E6438C8-11BB-46FA-A4A1-D59F7806D48A}" dt="2021-05-12T04:46:56.183" v="1"/>
          <ac:picMkLst>
            <pc:docMk/>
            <pc:sldMk cId="475456527" sldId="4490"/>
            <ac:picMk id="3" creationId="{00000000-0000-0000-0000-000000000000}"/>
          </ac:picMkLst>
        </pc:picChg>
      </pc:sldChg>
      <pc:sldChg chg="modSp new">
        <pc:chgData name="Jothi Rengarajan" userId="S::jothi.rengarajan@aspiresys.com::f17fa41b-034b-43c0-9f82-7199929860e3" providerId="AD" clId="Web-{1E6438C8-11BB-46FA-A4A1-D59F7806D48A}" dt="2021-05-12T04:53:12.065" v="157" actId="20577"/>
        <pc:sldMkLst>
          <pc:docMk/>
          <pc:sldMk cId="2515518080" sldId="4496"/>
        </pc:sldMkLst>
        <pc:spChg chg="mod">
          <ac:chgData name="Jothi Rengarajan" userId="S::jothi.rengarajan@aspiresys.com::f17fa41b-034b-43c0-9f82-7199929860e3" providerId="AD" clId="Web-{1E6438C8-11BB-46FA-A4A1-D59F7806D48A}" dt="2021-05-12T04:53:12.065" v="157" actId="20577"/>
          <ac:spMkLst>
            <pc:docMk/>
            <pc:sldMk cId="2515518080" sldId="4496"/>
            <ac:spMk id="2" creationId="{7B7DEB0E-7C1A-49FD-BD93-A062F6B2058A}"/>
          </ac:spMkLst>
        </pc:spChg>
      </pc:sldChg>
    </pc:docChg>
  </pc:docChgLst>
  <pc:docChgLst>
    <pc:chgData name="Vijaysekar Umapathy" userId="S::vijaysekar.umapathy@aspiresys.com::d49b8c00-8ff9-45f0-baaf-a02457dd8777" providerId="AD" clId="Web-{FA58200C-AB09-4B1F-AD94-6B6D4F85DC89}"/>
    <pc:docChg chg="addSld modSld">
      <pc:chgData name="Vijaysekar Umapathy" userId="S::vijaysekar.umapathy@aspiresys.com::d49b8c00-8ff9-45f0-baaf-a02457dd8777" providerId="AD" clId="Web-{FA58200C-AB09-4B1F-AD94-6B6D4F85DC89}" dt="2021-05-17T09:30:02.983" v="531" actId="20577"/>
      <pc:docMkLst>
        <pc:docMk/>
      </pc:docMkLst>
      <pc:sldChg chg="addSp delSp modSp">
        <pc:chgData name="Vijaysekar Umapathy" userId="S::vijaysekar.umapathy@aspiresys.com::d49b8c00-8ff9-45f0-baaf-a02457dd8777" providerId="AD" clId="Web-{FA58200C-AB09-4B1F-AD94-6B6D4F85DC89}" dt="2021-05-17T09:30:02.983" v="531" actId="20577"/>
        <pc:sldMkLst>
          <pc:docMk/>
          <pc:sldMk cId="3979078837" sldId="4530"/>
        </pc:sldMkLst>
        <pc:spChg chg="add mod">
          <ac:chgData name="Vijaysekar Umapathy" userId="S::vijaysekar.umapathy@aspiresys.com::d49b8c00-8ff9-45f0-baaf-a02457dd8777" providerId="AD" clId="Web-{FA58200C-AB09-4B1F-AD94-6B6D4F85DC89}" dt="2021-05-17T09:11:34.183" v="127" actId="1076"/>
          <ac:spMkLst>
            <pc:docMk/>
            <pc:sldMk cId="3979078837" sldId="4530"/>
            <ac:spMk id="3" creationId="{1E14D722-7296-4C93-804E-E5EE7D1E8CEA}"/>
          </ac:spMkLst>
        </pc:spChg>
        <pc:spChg chg="del">
          <ac:chgData name="Vijaysekar Umapathy" userId="S::vijaysekar.umapathy@aspiresys.com::d49b8c00-8ff9-45f0-baaf-a02457dd8777" providerId="AD" clId="Web-{FA58200C-AB09-4B1F-AD94-6B6D4F85DC89}" dt="2021-05-17T09:09:00.414" v="1"/>
          <ac:spMkLst>
            <pc:docMk/>
            <pc:sldMk cId="3979078837" sldId="4530"/>
            <ac:spMk id="4" creationId="{00000000-0000-0000-0000-000000000000}"/>
          </ac:spMkLst>
        </pc:spChg>
        <pc:spChg chg="add mod">
          <ac:chgData name="Vijaysekar Umapathy" userId="S::vijaysekar.umapathy@aspiresys.com::d49b8c00-8ff9-45f0-baaf-a02457dd8777" providerId="AD" clId="Web-{FA58200C-AB09-4B1F-AD94-6B6D4F85DC89}" dt="2021-05-17T09:30:02.983" v="531" actId="20577"/>
          <ac:spMkLst>
            <pc:docMk/>
            <pc:sldMk cId="3979078837" sldId="4530"/>
            <ac:spMk id="5" creationId="{CE7FEE2E-00F4-4E63-ACE0-2D8939D5CC67}"/>
          </ac:spMkLst>
        </pc:spChg>
      </pc:sldChg>
      <pc:sldChg chg="add replId">
        <pc:chgData name="Vijaysekar Umapathy" userId="S::vijaysekar.umapathy@aspiresys.com::d49b8c00-8ff9-45f0-baaf-a02457dd8777" providerId="AD" clId="Web-{FA58200C-AB09-4B1F-AD94-6B6D4F85DC89}" dt="2021-05-17T09:06:52.834" v="0"/>
        <pc:sldMkLst>
          <pc:docMk/>
          <pc:sldMk cId="899432628" sldId="4540"/>
        </pc:sldMkLst>
      </pc:sldChg>
    </pc:docChg>
  </pc:docChgLst>
  <pc:docChgLst>
    <pc:chgData name="Karthik Jaganathan" userId="S::karthik.jaganathan@aspiresys.com::ed456ca3-b803-484a-9032-c2a2a16117d3" providerId="AD" clId="Web-{C2962AB1-63CD-4197-A736-F35612B957A6}"/>
    <pc:docChg chg="addSld delSld">
      <pc:chgData name="Karthik Jaganathan" userId="S::karthik.jaganathan@aspiresys.com::ed456ca3-b803-484a-9032-c2a2a16117d3" providerId="AD" clId="Web-{C2962AB1-63CD-4197-A736-F35612B957A6}" dt="2021-05-11T12:32:54.432" v="3"/>
      <pc:docMkLst>
        <pc:docMk/>
      </pc:docMkLst>
      <pc:sldChg chg="del">
        <pc:chgData name="Karthik Jaganathan" userId="S::karthik.jaganathan@aspiresys.com::ed456ca3-b803-484a-9032-c2a2a16117d3" providerId="AD" clId="Web-{C2962AB1-63CD-4197-A736-F35612B957A6}" dt="2021-05-11T12:32:33.525" v="1"/>
        <pc:sldMkLst>
          <pc:docMk/>
          <pc:sldMk cId="3411529172" sldId="4470"/>
        </pc:sldMkLst>
      </pc:sldChg>
      <pc:sldChg chg="add replId">
        <pc:chgData name="Karthik Jaganathan" userId="S::karthik.jaganathan@aspiresys.com::ed456ca3-b803-484a-9032-c2a2a16117d3" providerId="AD" clId="Web-{C2962AB1-63CD-4197-A736-F35612B957A6}" dt="2021-05-11T12:32:02.869" v="0"/>
        <pc:sldMkLst>
          <pc:docMk/>
          <pc:sldMk cId="1931496491" sldId="4478"/>
        </pc:sldMkLst>
      </pc:sldChg>
      <pc:sldChg chg="add del replId">
        <pc:chgData name="Karthik Jaganathan" userId="S::karthik.jaganathan@aspiresys.com::ed456ca3-b803-484a-9032-c2a2a16117d3" providerId="AD" clId="Web-{C2962AB1-63CD-4197-A736-F35612B957A6}" dt="2021-05-11T12:32:54.432" v="3"/>
        <pc:sldMkLst>
          <pc:docMk/>
          <pc:sldMk cId="3271865821" sldId="4479"/>
        </pc:sldMkLst>
      </pc:sldChg>
    </pc:docChg>
  </pc:docChgLst>
  <pc:docChgLst>
    <pc:chgData name="Siva Chandrababu" userId="b9256487-0d41-4413-b903-c1fb71496f97" providerId="ADAL" clId="{54BE7C31-9EA0-4E9B-9CDD-AF10DD5068B7}"/>
    <pc:docChg chg="undo custSel addSld modSld sldOrd">
      <pc:chgData name="Siva Chandrababu" userId="b9256487-0d41-4413-b903-c1fb71496f97" providerId="ADAL" clId="{54BE7C31-9EA0-4E9B-9CDD-AF10DD5068B7}" dt="2021-05-17T12:11:24.556" v="229" actId="1076"/>
      <pc:docMkLst>
        <pc:docMk/>
      </pc:docMkLst>
      <pc:sldChg chg="modSp mod">
        <pc:chgData name="Siva Chandrababu" userId="b9256487-0d41-4413-b903-c1fb71496f97" providerId="ADAL" clId="{54BE7C31-9EA0-4E9B-9CDD-AF10DD5068B7}" dt="2021-05-17T11:57:29.929" v="184" actId="20577"/>
        <pc:sldMkLst>
          <pc:docMk/>
          <pc:sldMk cId="2828618351" sldId="4544"/>
        </pc:sldMkLst>
        <pc:spChg chg="mod">
          <ac:chgData name="Siva Chandrababu" userId="b9256487-0d41-4413-b903-c1fb71496f97" providerId="ADAL" clId="{54BE7C31-9EA0-4E9B-9CDD-AF10DD5068B7}" dt="2021-05-17T11:57:29.929" v="184" actId="20577"/>
          <ac:spMkLst>
            <pc:docMk/>
            <pc:sldMk cId="2828618351" sldId="4544"/>
            <ac:spMk id="3" creationId="{1E14D722-7296-4C93-804E-E5EE7D1E8CEA}"/>
          </ac:spMkLst>
        </pc:spChg>
        <pc:graphicFrameChg chg="mod modGraphic">
          <ac:chgData name="Siva Chandrababu" userId="b9256487-0d41-4413-b903-c1fb71496f97" providerId="ADAL" clId="{54BE7C31-9EA0-4E9B-9CDD-AF10DD5068B7}" dt="2021-05-17T11:40:21.135" v="181" actId="14734"/>
          <ac:graphicFrameMkLst>
            <pc:docMk/>
            <pc:sldMk cId="2828618351" sldId="4544"/>
            <ac:graphicFrameMk id="5" creationId="{150077AC-1592-4DC1-9C0B-1093A63457DE}"/>
          </ac:graphicFrameMkLst>
        </pc:graphicFrameChg>
      </pc:sldChg>
      <pc:sldChg chg="delSp add mod ord">
        <pc:chgData name="Siva Chandrababu" userId="b9256487-0d41-4413-b903-c1fb71496f97" providerId="ADAL" clId="{54BE7C31-9EA0-4E9B-9CDD-AF10DD5068B7}" dt="2021-05-17T11:58:42.910" v="189" actId="478"/>
        <pc:sldMkLst>
          <pc:docMk/>
          <pc:sldMk cId="3234663283" sldId="4557"/>
        </pc:sldMkLst>
        <pc:spChg chg="del">
          <ac:chgData name="Siva Chandrababu" userId="b9256487-0d41-4413-b903-c1fb71496f97" providerId="ADAL" clId="{54BE7C31-9EA0-4E9B-9CDD-AF10DD5068B7}" dt="2021-05-17T11:58:40.336" v="188" actId="478"/>
          <ac:spMkLst>
            <pc:docMk/>
            <pc:sldMk cId="3234663283" sldId="4557"/>
            <ac:spMk id="3" creationId="{1E14D722-7296-4C93-804E-E5EE7D1E8CEA}"/>
          </ac:spMkLst>
        </pc:spChg>
        <pc:spChg chg="del">
          <ac:chgData name="Siva Chandrababu" userId="b9256487-0d41-4413-b903-c1fb71496f97" providerId="ADAL" clId="{54BE7C31-9EA0-4E9B-9CDD-AF10DD5068B7}" dt="2021-05-17T11:58:42.910" v="189" actId="478"/>
          <ac:spMkLst>
            <pc:docMk/>
            <pc:sldMk cId="3234663283" sldId="4557"/>
            <ac:spMk id="5" creationId="{CE7FEE2E-00F4-4E63-ACE0-2D8939D5CC67}"/>
          </ac:spMkLst>
        </pc:spChg>
      </pc:sldChg>
      <pc:sldChg chg="addSp delSp modSp add mod">
        <pc:chgData name="Siva Chandrababu" userId="b9256487-0d41-4413-b903-c1fb71496f97" providerId="ADAL" clId="{54BE7C31-9EA0-4E9B-9CDD-AF10DD5068B7}" dt="2021-05-17T12:09:50.017" v="215" actId="208"/>
        <pc:sldMkLst>
          <pc:docMk/>
          <pc:sldMk cId="1202755923" sldId="4558"/>
        </pc:sldMkLst>
        <pc:spChg chg="del mod">
          <ac:chgData name="Siva Chandrababu" userId="b9256487-0d41-4413-b903-c1fb71496f97" providerId="ADAL" clId="{54BE7C31-9EA0-4E9B-9CDD-AF10DD5068B7}" dt="2021-05-17T11:59:58.327" v="193" actId="478"/>
          <ac:spMkLst>
            <pc:docMk/>
            <pc:sldMk cId="1202755923" sldId="4558"/>
            <ac:spMk id="3" creationId="{3464569C-4324-4EB0-A63F-84F6E661CABB}"/>
          </ac:spMkLst>
        </pc:spChg>
        <pc:graphicFrameChg chg="del">
          <ac:chgData name="Siva Chandrababu" userId="b9256487-0d41-4413-b903-c1fb71496f97" providerId="ADAL" clId="{54BE7C31-9EA0-4E9B-9CDD-AF10DD5068B7}" dt="2021-05-17T11:59:53.134" v="191" actId="478"/>
          <ac:graphicFrameMkLst>
            <pc:docMk/>
            <pc:sldMk cId="1202755923" sldId="4558"/>
            <ac:graphicFrameMk id="7" creationId="{2F586C43-5219-4CF3-8430-37BA42B4B3CF}"/>
          </ac:graphicFrameMkLst>
        </pc:graphicFrameChg>
        <pc:picChg chg="add del mod">
          <ac:chgData name="Siva Chandrababu" userId="b9256487-0d41-4413-b903-c1fb71496f97" providerId="ADAL" clId="{54BE7C31-9EA0-4E9B-9CDD-AF10DD5068B7}" dt="2021-05-17T12:06:55.689" v="206" actId="478"/>
          <ac:picMkLst>
            <pc:docMk/>
            <pc:sldMk cId="1202755923" sldId="4558"/>
            <ac:picMk id="5" creationId="{30695063-DC3D-4BEF-9476-F719DA047BDB}"/>
          </ac:picMkLst>
        </pc:picChg>
        <pc:picChg chg="add mod">
          <ac:chgData name="Siva Chandrababu" userId="b9256487-0d41-4413-b903-c1fb71496f97" providerId="ADAL" clId="{54BE7C31-9EA0-4E9B-9CDD-AF10DD5068B7}" dt="2021-05-17T12:09:50.017" v="215" actId="208"/>
          <ac:picMkLst>
            <pc:docMk/>
            <pc:sldMk cId="1202755923" sldId="4558"/>
            <ac:picMk id="8" creationId="{C8887105-83EC-4902-8E43-7ACA5797CAF5}"/>
          </ac:picMkLst>
        </pc:picChg>
      </pc:sldChg>
      <pc:sldChg chg="addSp delSp modSp add mod">
        <pc:chgData name="Siva Chandrababu" userId="b9256487-0d41-4413-b903-c1fb71496f97" providerId="ADAL" clId="{54BE7C31-9EA0-4E9B-9CDD-AF10DD5068B7}" dt="2021-05-17T12:11:24.556" v="229" actId="1076"/>
        <pc:sldMkLst>
          <pc:docMk/>
          <pc:sldMk cId="3748571739" sldId="4559"/>
        </pc:sldMkLst>
        <pc:spChg chg="del mod">
          <ac:chgData name="Siva Chandrababu" userId="b9256487-0d41-4413-b903-c1fb71496f97" providerId="ADAL" clId="{54BE7C31-9EA0-4E9B-9CDD-AF10DD5068B7}" dt="2021-05-17T12:10:37.920" v="221" actId="478"/>
          <ac:spMkLst>
            <pc:docMk/>
            <pc:sldMk cId="3748571739" sldId="4559"/>
            <ac:spMk id="3" creationId="{3464569C-4324-4EB0-A63F-84F6E661CABB}"/>
          </ac:spMkLst>
        </pc:spChg>
        <pc:graphicFrameChg chg="add mod">
          <ac:chgData name="Siva Chandrababu" userId="b9256487-0d41-4413-b903-c1fb71496f97" providerId="ADAL" clId="{54BE7C31-9EA0-4E9B-9CDD-AF10DD5068B7}" dt="2021-05-17T12:11:24.556" v="229" actId="1076"/>
          <ac:graphicFrameMkLst>
            <pc:docMk/>
            <pc:sldMk cId="3748571739" sldId="4559"/>
            <ac:graphicFrameMk id="4" creationId="{F8BED3C2-4B28-47F6-8147-E90AA9926EB4}"/>
          </ac:graphicFrameMkLst>
        </pc:graphicFrameChg>
        <pc:graphicFrameChg chg="del modGraphic">
          <ac:chgData name="Siva Chandrababu" userId="b9256487-0d41-4413-b903-c1fb71496f97" providerId="ADAL" clId="{54BE7C31-9EA0-4E9B-9CDD-AF10DD5068B7}" dt="2021-05-17T12:10:32.034" v="219" actId="478"/>
          <ac:graphicFrameMkLst>
            <pc:docMk/>
            <pc:sldMk cId="3748571739" sldId="4559"/>
            <ac:graphicFrameMk id="7" creationId="{2F586C43-5219-4CF3-8430-37BA42B4B3CF}"/>
          </ac:graphicFrameMkLst>
        </pc:graphicFrameChg>
      </pc:sldChg>
    </pc:docChg>
  </pc:docChgLst>
  <pc:docChgLst>
    <pc:chgData name="Ravi Kanakavalli" userId="S::ravi.kanakavalli@aspiresys.com::68c34e81-a99e-4faa-835b-032ef483b96c" providerId="AD" clId="Web-{8F679899-FEFF-A561-5CE3-904CBE328411}"/>
    <pc:docChg chg="modSld">
      <pc:chgData name="Ravi Kanakavalli" userId="S::ravi.kanakavalli@aspiresys.com::68c34e81-a99e-4faa-835b-032ef483b96c" providerId="AD" clId="Web-{8F679899-FEFF-A561-5CE3-904CBE328411}" dt="2021-05-03T09:14:08.899" v="49" actId="20577"/>
      <pc:docMkLst>
        <pc:docMk/>
      </pc:docMkLst>
      <pc:sldChg chg="modSp">
        <pc:chgData name="Ravi Kanakavalli" userId="S::ravi.kanakavalli@aspiresys.com::68c34e81-a99e-4faa-835b-032ef483b96c" providerId="AD" clId="Web-{8F679899-FEFF-A561-5CE3-904CBE328411}" dt="2021-05-03T09:10:22.583" v="1" actId="14100"/>
        <pc:sldMkLst>
          <pc:docMk/>
          <pc:sldMk cId="1691174163" sldId="4417"/>
        </pc:sldMkLst>
        <pc:picChg chg="mod">
          <ac:chgData name="Ravi Kanakavalli" userId="S::ravi.kanakavalli@aspiresys.com::68c34e81-a99e-4faa-835b-032ef483b96c" providerId="AD" clId="Web-{8F679899-FEFF-A561-5CE3-904CBE328411}" dt="2021-05-03T09:10:22.583" v="1" actId="14100"/>
          <ac:picMkLst>
            <pc:docMk/>
            <pc:sldMk cId="1691174163" sldId="4417"/>
            <ac:picMk id="3" creationId="{00000000-0000-0000-0000-000000000000}"/>
          </ac:picMkLst>
        </pc:picChg>
      </pc:sldChg>
      <pc:sldChg chg="modSp">
        <pc:chgData name="Ravi Kanakavalli" userId="S::ravi.kanakavalli@aspiresys.com::68c34e81-a99e-4faa-835b-032ef483b96c" providerId="AD" clId="Web-{8F679899-FEFF-A561-5CE3-904CBE328411}" dt="2021-05-03T09:14:08.899" v="49" actId="20577"/>
        <pc:sldMkLst>
          <pc:docMk/>
          <pc:sldMk cId="319389958" sldId="4420"/>
        </pc:sldMkLst>
        <pc:graphicFrameChg chg="modGraphic">
          <ac:chgData name="Ravi Kanakavalli" userId="S::ravi.kanakavalli@aspiresys.com::68c34e81-a99e-4faa-835b-032ef483b96c" providerId="AD" clId="Web-{8F679899-FEFF-A561-5CE3-904CBE328411}" dt="2021-05-03T09:14:08.899" v="49" actId="20577"/>
          <ac:graphicFrameMkLst>
            <pc:docMk/>
            <pc:sldMk cId="319389958" sldId="4420"/>
            <ac:graphicFrameMk id="6" creationId="{00000000-0000-0000-0000-000000000000}"/>
          </ac:graphicFrameMkLst>
        </pc:graphicFrameChg>
      </pc:sldChg>
    </pc:docChg>
  </pc:docChgLst>
  <pc:docChgLst>
    <pc:chgData name="Sudhakar Chavali" userId="S::sudhakar.chavali@aspiresys.com::86634ce7-41f6-4558-9468-223fedff1d12" providerId="AD" clId="Web-{34DBE16F-F893-4821-97BC-15D0BA9DDD7A}"/>
    <pc:docChg chg="modSld">
      <pc:chgData name="Sudhakar Chavali" userId="S::sudhakar.chavali@aspiresys.com::86634ce7-41f6-4558-9468-223fedff1d12" providerId="AD" clId="Web-{34DBE16F-F893-4821-97BC-15D0BA9DDD7A}" dt="2021-05-12T02:58:19.458" v="1" actId="20577"/>
      <pc:docMkLst>
        <pc:docMk/>
      </pc:docMkLst>
      <pc:sldChg chg="modSp">
        <pc:chgData name="Sudhakar Chavali" userId="S::sudhakar.chavali@aspiresys.com::86634ce7-41f6-4558-9468-223fedff1d12" providerId="AD" clId="Web-{34DBE16F-F893-4821-97BC-15D0BA9DDD7A}" dt="2021-05-12T02:58:19.458" v="1" actId="20577"/>
        <pc:sldMkLst>
          <pc:docMk/>
          <pc:sldMk cId="1419067989" sldId="4481"/>
        </pc:sldMkLst>
        <pc:spChg chg="mod">
          <ac:chgData name="Sudhakar Chavali" userId="S::sudhakar.chavali@aspiresys.com::86634ce7-41f6-4558-9468-223fedff1d12" providerId="AD" clId="Web-{34DBE16F-F893-4821-97BC-15D0BA9DDD7A}" dt="2021-05-12T02:58:19.458" v="1" actId="20577"/>
          <ac:spMkLst>
            <pc:docMk/>
            <pc:sldMk cId="1419067989" sldId="4481"/>
            <ac:spMk id="4" creationId="{6DB1417E-E9A8-4463-A85B-B02119E3D3E0}"/>
          </ac:spMkLst>
        </pc:spChg>
      </pc:sldChg>
    </pc:docChg>
  </pc:docChgLst>
  <pc:docChgLst>
    <pc:chgData name="Sudhakar Chavali" userId="S::sudhakar.chavali@aspiresys.com::86634ce7-41f6-4558-9468-223fedff1d12" providerId="AD" clId="Web-{A6D3C42E-09B3-4F52-A7B8-E2EDA86D863D}"/>
    <pc:docChg chg="modSld">
      <pc:chgData name="Sudhakar Chavali" userId="S::sudhakar.chavali@aspiresys.com::86634ce7-41f6-4558-9468-223fedff1d12" providerId="AD" clId="Web-{A6D3C42E-09B3-4F52-A7B8-E2EDA86D863D}" dt="2021-05-12T02:47:30.268" v="1" actId="20577"/>
      <pc:docMkLst>
        <pc:docMk/>
      </pc:docMkLst>
      <pc:sldChg chg="modSp">
        <pc:chgData name="Sudhakar Chavali" userId="S::sudhakar.chavali@aspiresys.com::86634ce7-41f6-4558-9468-223fedff1d12" providerId="AD" clId="Web-{A6D3C42E-09B3-4F52-A7B8-E2EDA86D863D}" dt="2021-05-12T02:47:30.268" v="1" actId="20577"/>
        <pc:sldMkLst>
          <pc:docMk/>
          <pc:sldMk cId="1655234789" sldId="4480"/>
        </pc:sldMkLst>
        <pc:spChg chg="mod">
          <ac:chgData name="Sudhakar Chavali" userId="S::sudhakar.chavali@aspiresys.com::86634ce7-41f6-4558-9468-223fedff1d12" providerId="AD" clId="Web-{A6D3C42E-09B3-4F52-A7B8-E2EDA86D863D}" dt="2021-05-12T02:47:30.268" v="1" actId="20577"/>
          <ac:spMkLst>
            <pc:docMk/>
            <pc:sldMk cId="1655234789" sldId="4480"/>
            <ac:spMk id="4" creationId="{6DB1417E-E9A8-4463-A85B-B02119E3D3E0}"/>
          </ac:spMkLst>
        </pc:spChg>
      </pc:sldChg>
    </pc:docChg>
  </pc:docChgLst>
  <pc:docChgLst>
    <pc:chgData name="Vijaysekar Umapathy" userId="S::vijaysekar.umapathy@aspiresys.com::d49b8c00-8ff9-45f0-baaf-a02457dd8777" providerId="AD" clId="Web-{650F7C8C-69AF-4A93-BFE4-E337BA099AD4}"/>
    <pc:docChg chg="addSld modSld">
      <pc:chgData name="Vijaysekar Umapathy" userId="S::vijaysekar.umapathy@aspiresys.com::d49b8c00-8ff9-45f0-baaf-a02457dd8777" providerId="AD" clId="Web-{650F7C8C-69AF-4A93-BFE4-E337BA099AD4}" dt="2021-05-18T04:22:41.478" v="17" actId="20577"/>
      <pc:docMkLst>
        <pc:docMk/>
      </pc:docMkLst>
      <pc:sldChg chg="delSp modSp add replId">
        <pc:chgData name="Vijaysekar Umapathy" userId="S::vijaysekar.umapathy@aspiresys.com::d49b8c00-8ff9-45f0-baaf-a02457dd8777" providerId="AD" clId="Web-{650F7C8C-69AF-4A93-BFE4-E337BA099AD4}" dt="2021-05-18T04:22:41.478" v="17" actId="20577"/>
        <pc:sldMkLst>
          <pc:docMk/>
          <pc:sldMk cId="983201286" sldId="4577"/>
        </pc:sldMkLst>
        <pc:spChg chg="mod">
          <ac:chgData name="Vijaysekar Umapathy" userId="S::vijaysekar.umapathy@aspiresys.com::d49b8c00-8ff9-45f0-baaf-a02457dd8777" providerId="AD" clId="Web-{650F7C8C-69AF-4A93-BFE4-E337BA099AD4}" dt="2021-05-18T04:22:41.478" v="17" actId="20577"/>
          <ac:spMkLst>
            <pc:docMk/>
            <pc:sldMk cId="983201286" sldId="4577"/>
            <ac:spMk id="2" creationId="{00000000-0000-0000-0000-000000000000}"/>
          </ac:spMkLst>
        </pc:spChg>
        <pc:picChg chg="del">
          <ac:chgData name="Vijaysekar Umapathy" userId="S::vijaysekar.umapathy@aspiresys.com::d49b8c00-8ff9-45f0-baaf-a02457dd8777" providerId="AD" clId="Web-{650F7C8C-69AF-4A93-BFE4-E337BA099AD4}" dt="2021-05-18T04:22:28.697" v="1"/>
          <ac:picMkLst>
            <pc:docMk/>
            <pc:sldMk cId="983201286" sldId="4577"/>
            <ac:picMk id="3" creationId="{00000000-0000-0000-0000-000000000000}"/>
          </ac:picMkLst>
        </pc:picChg>
      </pc:sldChg>
    </pc:docChg>
  </pc:docChgLst>
  <pc:docChgLst>
    <pc:chgData name="Rajkumar Murugesan" userId="S::rajkumar.murugesan@aspiresys.com::b1415974-c848-468d-8415-3f2f17128163" providerId="AD" clId="Web-{334F564A-130E-4E4B-B384-240C62E0BEAA}"/>
    <pc:docChg chg="modSld">
      <pc:chgData name="Rajkumar Murugesan" userId="S::rajkumar.murugesan@aspiresys.com::b1415974-c848-468d-8415-3f2f17128163" providerId="AD" clId="Web-{334F564A-130E-4E4B-B384-240C62E0BEAA}" dt="2021-05-12T03:08:11.321" v="189"/>
      <pc:docMkLst>
        <pc:docMk/>
      </pc:docMkLst>
      <pc:sldChg chg="modSp">
        <pc:chgData name="Rajkumar Murugesan" userId="S::rajkumar.murugesan@aspiresys.com::b1415974-c848-468d-8415-3f2f17128163" providerId="AD" clId="Web-{334F564A-130E-4E4B-B384-240C62E0BEAA}" dt="2021-05-12T03:08:11.321" v="189"/>
        <pc:sldMkLst>
          <pc:docMk/>
          <pc:sldMk cId="1488184378" sldId="4489"/>
        </pc:sldMkLst>
        <pc:graphicFrameChg chg="mod modGraphic">
          <ac:chgData name="Rajkumar Murugesan" userId="S::rajkumar.murugesan@aspiresys.com::b1415974-c848-468d-8415-3f2f17128163" providerId="AD" clId="Web-{334F564A-130E-4E4B-B384-240C62E0BEAA}" dt="2021-05-12T03:08:11.321" v="189"/>
          <ac:graphicFrameMkLst>
            <pc:docMk/>
            <pc:sldMk cId="1488184378" sldId="4489"/>
            <ac:graphicFrameMk id="3" creationId="{00000000-0000-0000-0000-000000000000}"/>
          </ac:graphicFrameMkLst>
        </pc:graphicFrameChg>
      </pc:sldChg>
    </pc:docChg>
  </pc:docChgLst>
  <pc:docChgLst>
    <pc:chgData name="Jothi Rengarajan" userId="f17fa41b-034b-43c0-9f82-7199929860e3" providerId="ADAL" clId="{2EEAD1EA-8DC7-4317-A0D8-0C99B06407DC}"/>
    <pc:docChg chg="undo custSel delSld modSld sldOrd">
      <pc:chgData name="Jothi Rengarajan" userId="f17fa41b-034b-43c0-9f82-7199929860e3" providerId="ADAL" clId="{2EEAD1EA-8DC7-4317-A0D8-0C99B06407DC}" dt="2021-05-17T02:12:20.131" v="1511" actId="14100"/>
      <pc:docMkLst>
        <pc:docMk/>
      </pc:docMkLst>
      <pc:sldChg chg="ord">
        <pc:chgData name="Jothi Rengarajan" userId="f17fa41b-034b-43c0-9f82-7199929860e3" providerId="ADAL" clId="{2EEAD1EA-8DC7-4317-A0D8-0C99B06407DC}" dt="2021-05-13T03:44:19.062" v="1"/>
        <pc:sldMkLst>
          <pc:docMk/>
          <pc:sldMk cId="21784053" sldId="4477"/>
        </pc:sldMkLst>
      </pc:sldChg>
      <pc:sldChg chg="modSp mod">
        <pc:chgData name="Jothi Rengarajan" userId="f17fa41b-034b-43c0-9f82-7199929860e3" providerId="ADAL" clId="{2EEAD1EA-8DC7-4317-A0D8-0C99B06407DC}" dt="2021-05-14T13:08:20.962" v="1158" actId="12100"/>
        <pc:sldMkLst>
          <pc:docMk/>
          <pc:sldMk cId="1655234789" sldId="4480"/>
        </pc:sldMkLst>
        <pc:spChg chg="mod">
          <ac:chgData name="Jothi Rengarajan" userId="f17fa41b-034b-43c0-9f82-7199929860e3" providerId="ADAL" clId="{2EEAD1EA-8DC7-4317-A0D8-0C99B06407DC}" dt="2021-05-14T09:23:39.127" v="448" actId="20577"/>
          <ac:spMkLst>
            <pc:docMk/>
            <pc:sldMk cId="1655234789" sldId="4480"/>
            <ac:spMk id="7" creationId="{00000000-0000-0000-0000-000000000000}"/>
          </ac:spMkLst>
        </pc:spChg>
        <pc:graphicFrameChg chg="mod">
          <ac:chgData name="Jothi Rengarajan" userId="f17fa41b-034b-43c0-9f82-7199929860e3" providerId="ADAL" clId="{2EEAD1EA-8DC7-4317-A0D8-0C99B06407DC}" dt="2021-05-14T09:23:32.065" v="440" actId="1037"/>
          <ac:graphicFrameMkLst>
            <pc:docMk/>
            <pc:sldMk cId="1655234789" sldId="4480"/>
            <ac:graphicFrameMk id="3" creationId="{A7D34143-BAE2-440D-997C-5B1CE13DFBC1}"/>
          </ac:graphicFrameMkLst>
        </pc:graphicFrameChg>
        <pc:graphicFrameChg chg="mod">
          <ac:chgData name="Jothi Rengarajan" userId="f17fa41b-034b-43c0-9f82-7199929860e3" providerId="ADAL" clId="{2EEAD1EA-8DC7-4317-A0D8-0C99B06407DC}" dt="2021-05-14T13:08:20.962" v="1158" actId="12100"/>
          <ac:graphicFrameMkLst>
            <pc:docMk/>
            <pc:sldMk cId="1655234789" sldId="4480"/>
            <ac:graphicFrameMk id="4" creationId="{00000000-0000-0000-0000-000000000000}"/>
          </ac:graphicFrameMkLst>
        </pc:graphicFrameChg>
      </pc:sldChg>
      <pc:sldChg chg="mod modShow">
        <pc:chgData name="Jothi Rengarajan" userId="f17fa41b-034b-43c0-9f82-7199929860e3" providerId="ADAL" clId="{2EEAD1EA-8DC7-4317-A0D8-0C99B06407DC}" dt="2021-05-17T01:57:36.407" v="1374" actId="729"/>
        <pc:sldMkLst>
          <pc:docMk/>
          <pc:sldMk cId="1419067989" sldId="4481"/>
        </pc:sldMkLst>
      </pc:sldChg>
      <pc:sldChg chg="addSp delSp modSp mod addCm modCm">
        <pc:chgData name="Jothi Rengarajan" userId="f17fa41b-034b-43c0-9f82-7199929860e3" providerId="ADAL" clId="{2EEAD1EA-8DC7-4317-A0D8-0C99B06407DC}" dt="2021-05-17T02:11:03.375" v="1487" actId="20577"/>
        <pc:sldMkLst>
          <pc:docMk/>
          <pc:sldMk cId="2464573694" sldId="4482"/>
        </pc:sldMkLst>
        <pc:spChg chg="mod">
          <ac:chgData name="Jothi Rengarajan" userId="f17fa41b-034b-43c0-9f82-7199929860e3" providerId="ADAL" clId="{2EEAD1EA-8DC7-4317-A0D8-0C99B06407DC}" dt="2021-05-17T02:11:03.375" v="1487" actId="20577"/>
          <ac:spMkLst>
            <pc:docMk/>
            <pc:sldMk cId="2464573694" sldId="4482"/>
            <ac:spMk id="2" creationId="{223832AA-70F2-402E-830E-3FA735F7FE46}"/>
          </ac:spMkLst>
        </pc:spChg>
        <pc:spChg chg="add del mod">
          <ac:chgData name="Jothi Rengarajan" userId="f17fa41b-034b-43c0-9f82-7199929860e3" providerId="ADAL" clId="{2EEAD1EA-8DC7-4317-A0D8-0C99B06407DC}" dt="2021-05-14T12:45:36.529" v="1096" actId="478"/>
          <ac:spMkLst>
            <pc:docMk/>
            <pc:sldMk cId="2464573694" sldId="4482"/>
            <ac:spMk id="9" creationId="{19CFB9DC-3EA7-4BD7-92DE-21903F3A6604}"/>
          </ac:spMkLst>
        </pc:spChg>
        <pc:spChg chg="mod">
          <ac:chgData name="Jothi Rengarajan" userId="f17fa41b-034b-43c0-9f82-7199929860e3" providerId="ADAL" clId="{2EEAD1EA-8DC7-4317-A0D8-0C99B06407DC}" dt="2021-05-14T09:28:04.726" v="659" actId="20577"/>
          <ac:spMkLst>
            <pc:docMk/>
            <pc:sldMk cId="2464573694" sldId="4482"/>
            <ac:spMk id="11" creationId="{00000000-0000-0000-0000-000000000000}"/>
          </ac:spMkLst>
        </pc:spChg>
        <pc:graphicFrameChg chg="mod">
          <ac:chgData name="Jothi Rengarajan" userId="f17fa41b-034b-43c0-9f82-7199929860e3" providerId="ADAL" clId="{2EEAD1EA-8DC7-4317-A0D8-0C99B06407DC}" dt="2021-05-14T13:09:36.368" v="1183" actId="1035"/>
          <ac:graphicFrameMkLst>
            <pc:docMk/>
            <pc:sldMk cId="2464573694" sldId="4482"/>
            <ac:graphicFrameMk id="6" creationId="{00000000-0000-0000-0000-000000000000}"/>
          </ac:graphicFrameMkLst>
        </pc:graphicFrameChg>
        <pc:graphicFrameChg chg="mod">
          <ac:chgData name="Jothi Rengarajan" userId="f17fa41b-034b-43c0-9f82-7199929860e3" providerId="ADAL" clId="{2EEAD1EA-8DC7-4317-A0D8-0C99B06407DC}" dt="2021-05-17T02:03:35.498" v="1471" actId="14100"/>
          <ac:graphicFrameMkLst>
            <pc:docMk/>
            <pc:sldMk cId="2464573694" sldId="4482"/>
            <ac:graphicFrameMk id="8" creationId="{00000000-0000-0000-0000-000000000000}"/>
          </ac:graphicFrameMkLst>
        </pc:graphicFrameChg>
      </pc:sldChg>
      <pc:sldChg chg="del">
        <pc:chgData name="Jothi Rengarajan" userId="f17fa41b-034b-43c0-9f82-7199929860e3" providerId="ADAL" clId="{2EEAD1EA-8DC7-4317-A0D8-0C99B06407DC}" dt="2021-05-13T03:45:36.029" v="2" actId="47"/>
        <pc:sldMkLst>
          <pc:docMk/>
          <pc:sldMk cId="3505832694" sldId="4484"/>
        </pc:sldMkLst>
      </pc:sldChg>
      <pc:sldChg chg="ord">
        <pc:chgData name="Jothi Rengarajan" userId="f17fa41b-034b-43c0-9f82-7199929860e3" providerId="ADAL" clId="{2EEAD1EA-8DC7-4317-A0D8-0C99B06407DC}" dt="2021-05-14T13:17:56.760" v="1297"/>
        <pc:sldMkLst>
          <pc:docMk/>
          <pc:sldMk cId="665246693" sldId="4485"/>
        </pc:sldMkLst>
      </pc:sldChg>
      <pc:sldChg chg="modSp mod">
        <pc:chgData name="Jothi Rengarajan" userId="f17fa41b-034b-43c0-9f82-7199929860e3" providerId="ADAL" clId="{2EEAD1EA-8DC7-4317-A0D8-0C99B06407DC}" dt="2021-05-14T13:16:32.358" v="1239" actId="14100"/>
        <pc:sldMkLst>
          <pc:docMk/>
          <pc:sldMk cId="2438823772" sldId="4486"/>
        </pc:sldMkLst>
        <pc:picChg chg="mod">
          <ac:chgData name="Jothi Rengarajan" userId="f17fa41b-034b-43c0-9f82-7199929860e3" providerId="ADAL" clId="{2EEAD1EA-8DC7-4317-A0D8-0C99B06407DC}" dt="2021-05-14T13:16:32.358" v="1239" actId="14100"/>
          <ac:picMkLst>
            <pc:docMk/>
            <pc:sldMk cId="2438823772" sldId="4486"/>
            <ac:picMk id="4" creationId="{00000000-0000-0000-0000-000000000000}"/>
          </ac:picMkLst>
        </pc:picChg>
      </pc:sldChg>
      <pc:sldChg chg="modSp mod">
        <pc:chgData name="Jothi Rengarajan" userId="f17fa41b-034b-43c0-9f82-7199929860e3" providerId="ADAL" clId="{2EEAD1EA-8DC7-4317-A0D8-0C99B06407DC}" dt="2021-05-14T13:16:25.263" v="1238" actId="12100"/>
        <pc:sldMkLst>
          <pc:docMk/>
          <pc:sldMk cId="475456527" sldId="4490"/>
        </pc:sldMkLst>
        <pc:spChg chg="mod">
          <ac:chgData name="Jothi Rengarajan" userId="f17fa41b-034b-43c0-9f82-7199929860e3" providerId="ADAL" clId="{2EEAD1EA-8DC7-4317-A0D8-0C99B06407DC}" dt="2021-05-14T13:15:31.368" v="1235" actId="20577"/>
          <ac:spMkLst>
            <pc:docMk/>
            <pc:sldMk cId="475456527" sldId="4490"/>
            <ac:spMk id="2" creationId="{00000000-0000-0000-0000-000000000000}"/>
          </ac:spMkLst>
        </pc:spChg>
        <pc:graphicFrameChg chg="mod modGraphic">
          <ac:chgData name="Jothi Rengarajan" userId="f17fa41b-034b-43c0-9f82-7199929860e3" providerId="ADAL" clId="{2EEAD1EA-8DC7-4317-A0D8-0C99B06407DC}" dt="2021-05-14T13:16:25.263" v="1238" actId="12100"/>
          <ac:graphicFrameMkLst>
            <pc:docMk/>
            <pc:sldMk cId="475456527" sldId="4490"/>
            <ac:graphicFrameMk id="4" creationId="{50BA0EBB-20F9-4D3C-9D16-29DA2698F34E}"/>
          </ac:graphicFrameMkLst>
        </pc:graphicFrameChg>
      </pc:sldChg>
      <pc:sldChg chg="mod modShow">
        <pc:chgData name="Jothi Rengarajan" userId="f17fa41b-034b-43c0-9f82-7199929860e3" providerId="ADAL" clId="{2EEAD1EA-8DC7-4317-A0D8-0C99B06407DC}" dt="2021-05-14T09:32:32.771" v="753" actId="729"/>
        <pc:sldMkLst>
          <pc:docMk/>
          <pc:sldMk cId="3947289706" sldId="4492"/>
        </pc:sldMkLst>
      </pc:sldChg>
      <pc:sldChg chg="addSp delSp modSp mod">
        <pc:chgData name="Jothi Rengarajan" userId="f17fa41b-034b-43c0-9f82-7199929860e3" providerId="ADAL" clId="{2EEAD1EA-8DC7-4317-A0D8-0C99B06407DC}" dt="2021-05-14T13:07:17.169" v="1139" actId="12100"/>
        <pc:sldMkLst>
          <pc:docMk/>
          <pc:sldMk cId="1244634671" sldId="4495"/>
        </pc:sldMkLst>
        <pc:spChg chg="mod">
          <ac:chgData name="Jothi Rengarajan" userId="f17fa41b-034b-43c0-9f82-7199929860e3" providerId="ADAL" clId="{2EEAD1EA-8DC7-4317-A0D8-0C99B06407DC}" dt="2021-05-14T12:46:16.512" v="1105" actId="20577"/>
          <ac:spMkLst>
            <pc:docMk/>
            <pc:sldMk cId="1244634671" sldId="4495"/>
            <ac:spMk id="2" creationId="{00000000-0000-0000-0000-000000000000}"/>
          </ac:spMkLst>
        </pc:spChg>
        <pc:spChg chg="add del mod">
          <ac:chgData name="Jothi Rengarajan" userId="f17fa41b-034b-43c0-9f82-7199929860e3" providerId="ADAL" clId="{2EEAD1EA-8DC7-4317-A0D8-0C99B06407DC}" dt="2021-05-14T09:18:50.711" v="205" actId="478"/>
          <ac:spMkLst>
            <pc:docMk/>
            <pc:sldMk cId="1244634671" sldId="4495"/>
            <ac:spMk id="6" creationId="{84C08F78-68CB-4B25-ABAA-3A1F66B4A7ED}"/>
          </ac:spMkLst>
        </pc:spChg>
        <pc:graphicFrameChg chg="add mod modGraphic">
          <ac:chgData name="Jothi Rengarajan" userId="f17fa41b-034b-43c0-9f82-7199929860e3" providerId="ADAL" clId="{2EEAD1EA-8DC7-4317-A0D8-0C99B06407DC}" dt="2021-05-14T13:07:17.169" v="1139" actId="12100"/>
          <ac:graphicFrameMkLst>
            <pc:docMk/>
            <pc:sldMk cId="1244634671" sldId="4495"/>
            <ac:graphicFrameMk id="4" creationId="{8A016E03-D632-47B4-B421-2EB9C3BCEA38}"/>
          </ac:graphicFrameMkLst>
        </pc:graphicFrameChg>
      </pc:sldChg>
      <pc:sldChg chg="del">
        <pc:chgData name="Jothi Rengarajan" userId="f17fa41b-034b-43c0-9f82-7199929860e3" providerId="ADAL" clId="{2EEAD1EA-8DC7-4317-A0D8-0C99B06407DC}" dt="2021-05-14T09:30:11.100" v="743" actId="47"/>
        <pc:sldMkLst>
          <pc:docMk/>
          <pc:sldMk cId="2515518080" sldId="4496"/>
        </pc:sldMkLst>
      </pc:sldChg>
      <pc:sldChg chg="modSp mod">
        <pc:chgData name="Jothi Rengarajan" userId="f17fa41b-034b-43c0-9f82-7199929860e3" providerId="ADAL" clId="{2EEAD1EA-8DC7-4317-A0D8-0C99B06407DC}" dt="2021-05-17T02:10:55.582" v="1486" actId="20577"/>
        <pc:sldMkLst>
          <pc:docMk/>
          <pc:sldMk cId="3776152694" sldId="4497"/>
        </pc:sldMkLst>
        <pc:spChg chg="mod">
          <ac:chgData name="Jothi Rengarajan" userId="f17fa41b-034b-43c0-9f82-7199929860e3" providerId="ADAL" clId="{2EEAD1EA-8DC7-4317-A0D8-0C99B06407DC}" dt="2021-05-17T02:10:55.582" v="1486" actId="20577"/>
          <ac:spMkLst>
            <pc:docMk/>
            <pc:sldMk cId="3776152694" sldId="4497"/>
            <ac:spMk id="2" creationId="{00000000-0000-0000-0000-000000000000}"/>
          </ac:spMkLst>
        </pc:spChg>
        <pc:spChg chg="mod">
          <ac:chgData name="Jothi Rengarajan" userId="f17fa41b-034b-43c0-9f82-7199929860e3" providerId="ADAL" clId="{2EEAD1EA-8DC7-4317-A0D8-0C99B06407DC}" dt="2021-05-14T09:24:00.047" v="466" actId="20577"/>
          <ac:spMkLst>
            <pc:docMk/>
            <pc:sldMk cId="3776152694" sldId="4497"/>
            <ac:spMk id="7" creationId="{00000000-0000-0000-0000-000000000000}"/>
          </ac:spMkLst>
        </pc:spChg>
        <pc:graphicFrameChg chg="mod">
          <ac:chgData name="Jothi Rengarajan" userId="f17fa41b-034b-43c0-9f82-7199929860e3" providerId="ADAL" clId="{2EEAD1EA-8DC7-4317-A0D8-0C99B06407DC}" dt="2021-05-14T13:12:59.885" v="1219" actId="1035"/>
          <ac:graphicFrameMkLst>
            <pc:docMk/>
            <pc:sldMk cId="3776152694" sldId="4497"/>
            <ac:graphicFrameMk id="3" creationId="{00000000-0000-0000-0000-000000000000}"/>
          </ac:graphicFrameMkLst>
        </pc:graphicFrameChg>
        <pc:graphicFrameChg chg="mod">
          <ac:chgData name="Jothi Rengarajan" userId="f17fa41b-034b-43c0-9f82-7199929860e3" providerId="ADAL" clId="{2EEAD1EA-8DC7-4317-A0D8-0C99B06407DC}" dt="2021-05-14T13:13:04.936" v="1223" actId="1035"/>
          <ac:graphicFrameMkLst>
            <pc:docMk/>
            <pc:sldMk cId="3776152694" sldId="4497"/>
            <ac:graphicFrameMk id="67" creationId="{E63667F2-3DA7-49B8-8B1E-C74BECD0B797}"/>
          </ac:graphicFrameMkLst>
        </pc:graphicFrameChg>
      </pc:sldChg>
      <pc:sldChg chg="addSp modSp mod">
        <pc:chgData name="Jothi Rengarajan" userId="f17fa41b-034b-43c0-9f82-7199929860e3" providerId="ADAL" clId="{2EEAD1EA-8DC7-4317-A0D8-0C99B06407DC}" dt="2021-05-17T02:00:43.717" v="1466" actId="1038"/>
        <pc:sldMkLst>
          <pc:docMk/>
          <pc:sldMk cId="4077780815" sldId="4498"/>
        </pc:sldMkLst>
        <pc:spChg chg="mod">
          <ac:chgData name="Jothi Rengarajan" userId="f17fa41b-034b-43c0-9f82-7199929860e3" providerId="ADAL" clId="{2EEAD1EA-8DC7-4317-A0D8-0C99B06407DC}" dt="2021-05-17T02:00:21.847" v="1441" actId="20577"/>
          <ac:spMkLst>
            <pc:docMk/>
            <pc:sldMk cId="4077780815" sldId="4498"/>
            <ac:spMk id="2" creationId="{00000000-0000-0000-0000-000000000000}"/>
          </ac:spMkLst>
        </pc:spChg>
        <pc:spChg chg="add mod">
          <ac:chgData name="Jothi Rengarajan" userId="f17fa41b-034b-43c0-9f82-7199929860e3" providerId="ADAL" clId="{2EEAD1EA-8DC7-4317-A0D8-0C99B06407DC}" dt="2021-05-17T02:00:43.717" v="1466" actId="1038"/>
          <ac:spMkLst>
            <pc:docMk/>
            <pc:sldMk cId="4077780815" sldId="4498"/>
            <ac:spMk id="6" creationId="{4F0B9361-1FFA-4AAF-A292-F74CADCE2518}"/>
          </ac:spMkLst>
        </pc:spChg>
        <pc:graphicFrameChg chg="add mod">
          <ac:chgData name="Jothi Rengarajan" userId="f17fa41b-034b-43c0-9f82-7199929860e3" providerId="ADAL" clId="{2EEAD1EA-8DC7-4317-A0D8-0C99B06407DC}" dt="2021-05-17T02:00:35.304" v="1453" actId="20577"/>
          <ac:graphicFrameMkLst>
            <pc:docMk/>
            <pc:sldMk cId="4077780815" sldId="4498"/>
            <ac:graphicFrameMk id="5" creationId="{999CDEEA-6898-4CB5-A101-DA33FEEE076B}"/>
          </ac:graphicFrameMkLst>
        </pc:graphicFrameChg>
      </pc:sldChg>
      <pc:sldChg chg="addSp modSp mod">
        <pc:chgData name="Jothi Rengarajan" userId="f17fa41b-034b-43c0-9f82-7199929860e3" providerId="ADAL" clId="{2EEAD1EA-8DC7-4317-A0D8-0C99B06407DC}" dt="2021-05-17T01:59:20.915" v="1422" actId="20577"/>
        <pc:sldMkLst>
          <pc:docMk/>
          <pc:sldMk cId="1681272760" sldId="4500"/>
        </pc:sldMkLst>
        <pc:spChg chg="mod">
          <ac:chgData name="Jothi Rengarajan" userId="f17fa41b-034b-43c0-9f82-7199929860e3" providerId="ADAL" clId="{2EEAD1EA-8DC7-4317-A0D8-0C99B06407DC}" dt="2021-05-17T01:57:30.518" v="1373" actId="14100"/>
          <ac:spMkLst>
            <pc:docMk/>
            <pc:sldMk cId="1681272760" sldId="4500"/>
            <ac:spMk id="2" creationId="{00000000-0000-0000-0000-000000000000}"/>
          </ac:spMkLst>
        </pc:spChg>
        <pc:spChg chg="add mod">
          <ac:chgData name="Jothi Rengarajan" userId="f17fa41b-034b-43c0-9f82-7199929860e3" providerId="ADAL" clId="{2EEAD1EA-8DC7-4317-A0D8-0C99B06407DC}" dt="2021-05-17T01:55:57.943" v="1311"/>
          <ac:spMkLst>
            <pc:docMk/>
            <pc:sldMk cId="1681272760" sldId="4500"/>
            <ac:spMk id="7" creationId="{738944C0-A135-459A-8F51-595ED9BDA79C}"/>
          </ac:spMkLst>
        </pc:spChg>
        <pc:spChg chg="add mod">
          <ac:chgData name="Jothi Rengarajan" userId="f17fa41b-034b-43c0-9f82-7199929860e3" providerId="ADAL" clId="{2EEAD1EA-8DC7-4317-A0D8-0C99B06407DC}" dt="2021-05-17T01:55:57.943" v="1311"/>
          <ac:spMkLst>
            <pc:docMk/>
            <pc:sldMk cId="1681272760" sldId="4500"/>
            <ac:spMk id="8" creationId="{8C3C3B42-05C6-4D1C-8E1B-4C699BCFDABF}"/>
          </ac:spMkLst>
        </pc:spChg>
        <pc:spChg chg="add mod">
          <ac:chgData name="Jothi Rengarajan" userId="f17fa41b-034b-43c0-9f82-7199929860e3" providerId="ADAL" clId="{2EEAD1EA-8DC7-4317-A0D8-0C99B06407DC}" dt="2021-05-17T01:57:04.922" v="1355" actId="20577"/>
          <ac:spMkLst>
            <pc:docMk/>
            <pc:sldMk cId="1681272760" sldId="4500"/>
            <ac:spMk id="10" creationId="{7B9F5B82-AC6D-4A38-AF64-1A7381D6EA54}"/>
          </ac:spMkLst>
        </pc:spChg>
        <pc:spChg chg="add mod">
          <ac:chgData name="Jothi Rengarajan" userId="f17fa41b-034b-43c0-9f82-7199929860e3" providerId="ADAL" clId="{2EEAD1EA-8DC7-4317-A0D8-0C99B06407DC}" dt="2021-05-17T01:57:15.242" v="1356"/>
          <ac:spMkLst>
            <pc:docMk/>
            <pc:sldMk cId="1681272760" sldId="4500"/>
            <ac:spMk id="11" creationId="{BCB13340-5994-4898-A27B-7B27D7CE8B11}"/>
          </ac:spMkLst>
        </pc:spChg>
        <pc:grpChg chg="add mod">
          <ac:chgData name="Jothi Rengarajan" userId="f17fa41b-034b-43c0-9f82-7199929860e3" providerId="ADAL" clId="{2EEAD1EA-8DC7-4317-A0D8-0C99B06407DC}" dt="2021-05-17T01:55:57.943" v="1311"/>
          <ac:grpSpMkLst>
            <pc:docMk/>
            <pc:sldMk cId="1681272760" sldId="4500"/>
            <ac:grpSpMk id="6" creationId="{98EED867-8424-4D22-BA01-675444C8BEF6}"/>
          </ac:grpSpMkLst>
        </pc:grpChg>
        <pc:graphicFrameChg chg="add mod">
          <ac:chgData name="Jothi Rengarajan" userId="f17fa41b-034b-43c0-9f82-7199929860e3" providerId="ADAL" clId="{2EEAD1EA-8DC7-4317-A0D8-0C99B06407DC}" dt="2021-05-17T01:57:52.405" v="1375" actId="12100"/>
          <ac:graphicFrameMkLst>
            <pc:docMk/>
            <pc:sldMk cId="1681272760" sldId="4500"/>
            <ac:graphicFrameMk id="5" creationId="{C03980FD-95A8-4E7E-AA5E-559ABE6E3CF2}"/>
          </ac:graphicFrameMkLst>
        </pc:graphicFrameChg>
        <pc:graphicFrameChg chg="add mod">
          <ac:chgData name="Jothi Rengarajan" userId="f17fa41b-034b-43c0-9f82-7199929860e3" providerId="ADAL" clId="{2EEAD1EA-8DC7-4317-A0D8-0C99B06407DC}" dt="2021-05-17T01:59:20.915" v="1422" actId="20577"/>
          <ac:graphicFrameMkLst>
            <pc:docMk/>
            <pc:sldMk cId="1681272760" sldId="4500"/>
            <ac:graphicFrameMk id="9" creationId="{7B0B329F-E042-4E8A-92A1-6E02C1155DAD}"/>
          </ac:graphicFrameMkLst>
        </pc:graphicFrameChg>
      </pc:sldChg>
      <pc:sldChg chg="modSp mod">
        <pc:chgData name="Jothi Rengarajan" userId="f17fa41b-034b-43c0-9f82-7199929860e3" providerId="ADAL" clId="{2EEAD1EA-8DC7-4317-A0D8-0C99B06407DC}" dt="2021-05-17T02:11:17.793" v="1490" actId="20577"/>
        <pc:sldMkLst>
          <pc:docMk/>
          <pc:sldMk cId="531423320" sldId="4501"/>
        </pc:sldMkLst>
        <pc:spChg chg="mod">
          <ac:chgData name="Jothi Rengarajan" userId="f17fa41b-034b-43c0-9f82-7199929860e3" providerId="ADAL" clId="{2EEAD1EA-8DC7-4317-A0D8-0C99B06407DC}" dt="2021-05-17T02:11:17.793" v="1490" actId="20577"/>
          <ac:spMkLst>
            <pc:docMk/>
            <pc:sldMk cId="531423320" sldId="4501"/>
            <ac:spMk id="2" creationId="{00000000-0000-0000-0000-000000000000}"/>
          </ac:spMkLst>
        </pc:spChg>
        <pc:spChg chg="mod">
          <ac:chgData name="Jothi Rengarajan" userId="f17fa41b-034b-43c0-9f82-7199929860e3" providerId="ADAL" clId="{2EEAD1EA-8DC7-4317-A0D8-0C99B06407DC}" dt="2021-05-14T09:29:50.480" v="742" actId="20577"/>
          <ac:spMkLst>
            <pc:docMk/>
            <pc:sldMk cId="531423320" sldId="4501"/>
            <ac:spMk id="8" creationId="{00000000-0000-0000-0000-000000000000}"/>
          </ac:spMkLst>
        </pc:spChg>
        <pc:graphicFrameChg chg="mod">
          <ac:chgData name="Jothi Rengarajan" userId="f17fa41b-034b-43c0-9f82-7199929860e3" providerId="ADAL" clId="{2EEAD1EA-8DC7-4317-A0D8-0C99B06407DC}" dt="2021-05-14T13:12:48.933" v="1215" actId="20577"/>
          <ac:graphicFrameMkLst>
            <pc:docMk/>
            <pc:sldMk cId="531423320" sldId="4501"/>
            <ac:graphicFrameMk id="6" creationId="{00000000-0000-0000-0000-000000000000}"/>
          </ac:graphicFrameMkLst>
        </pc:graphicFrameChg>
        <pc:graphicFrameChg chg="mod">
          <ac:chgData name="Jothi Rengarajan" userId="f17fa41b-034b-43c0-9f82-7199929860e3" providerId="ADAL" clId="{2EEAD1EA-8DC7-4317-A0D8-0C99B06407DC}" dt="2021-05-14T13:09:58.714" v="1184" actId="12100"/>
          <ac:graphicFrameMkLst>
            <pc:docMk/>
            <pc:sldMk cId="531423320" sldId="4501"/>
            <ac:graphicFrameMk id="7" creationId="{00000000-0000-0000-0000-000000000000}"/>
          </ac:graphicFrameMkLst>
        </pc:graphicFrameChg>
      </pc:sldChg>
      <pc:sldChg chg="modSp mod modShow">
        <pc:chgData name="Jothi Rengarajan" userId="f17fa41b-034b-43c0-9f82-7199929860e3" providerId="ADAL" clId="{2EEAD1EA-8DC7-4317-A0D8-0C99B06407DC}" dt="2021-05-14T09:29:14.414" v="712" actId="729"/>
        <pc:sldMkLst>
          <pc:docMk/>
          <pc:sldMk cId="187934603" sldId="4502"/>
        </pc:sldMkLst>
        <pc:graphicFrameChg chg="mod">
          <ac:chgData name="Jothi Rengarajan" userId="f17fa41b-034b-43c0-9f82-7199929860e3" providerId="ADAL" clId="{2EEAD1EA-8DC7-4317-A0D8-0C99B06407DC}" dt="2021-05-14T09:29:06.579" v="711" actId="20577"/>
          <ac:graphicFrameMkLst>
            <pc:docMk/>
            <pc:sldMk cId="187934603" sldId="4502"/>
            <ac:graphicFrameMk id="6" creationId="{00000000-0000-0000-0000-000000000000}"/>
          </ac:graphicFrameMkLst>
        </pc:graphicFrameChg>
        <pc:graphicFrameChg chg="mod">
          <ac:chgData name="Jothi Rengarajan" userId="f17fa41b-034b-43c0-9f82-7199929860e3" providerId="ADAL" clId="{2EEAD1EA-8DC7-4317-A0D8-0C99B06407DC}" dt="2021-05-14T09:27:47.191" v="651" actId="20577"/>
          <ac:graphicFrameMkLst>
            <pc:docMk/>
            <pc:sldMk cId="187934603" sldId="4502"/>
            <ac:graphicFrameMk id="7" creationId="{00000000-0000-0000-0000-000000000000}"/>
          </ac:graphicFrameMkLst>
        </pc:graphicFrameChg>
      </pc:sldChg>
      <pc:sldChg chg="modSp mod addCm modCm">
        <pc:chgData name="Jothi Rengarajan" userId="f17fa41b-034b-43c0-9f82-7199929860e3" providerId="ADAL" clId="{2EEAD1EA-8DC7-4317-A0D8-0C99B06407DC}" dt="2021-05-17T02:11:36.857" v="1492" actId="20577"/>
        <pc:sldMkLst>
          <pc:docMk/>
          <pc:sldMk cId="1356961957" sldId="4503"/>
        </pc:sldMkLst>
        <pc:spChg chg="mod">
          <ac:chgData name="Jothi Rengarajan" userId="f17fa41b-034b-43c0-9f82-7199929860e3" providerId="ADAL" clId="{2EEAD1EA-8DC7-4317-A0D8-0C99B06407DC}" dt="2021-05-17T02:11:36.857" v="1492" actId="20577"/>
          <ac:spMkLst>
            <pc:docMk/>
            <pc:sldMk cId="1356961957" sldId="4503"/>
            <ac:spMk id="2" creationId="{00000000-0000-0000-0000-000000000000}"/>
          </ac:spMkLst>
        </pc:spChg>
        <pc:graphicFrameChg chg="mod">
          <ac:chgData name="Jothi Rengarajan" userId="f17fa41b-034b-43c0-9f82-7199929860e3" providerId="ADAL" clId="{2EEAD1EA-8DC7-4317-A0D8-0C99B06407DC}" dt="2021-05-14T12:43:03.012" v="1074" actId="20577"/>
          <ac:graphicFrameMkLst>
            <pc:docMk/>
            <pc:sldMk cId="1356961957" sldId="4503"/>
            <ac:graphicFrameMk id="4" creationId="{00000000-0000-0000-0000-000000000000}"/>
          </ac:graphicFrameMkLst>
        </pc:graphicFrameChg>
        <pc:graphicFrameChg chg="mod">
          <ac:chgData name="Jothi Rengarajan" userId="f17fa41b-034b-43c0-9f82-7199929860e3" providerId="ADAL" clId="{2EEAD1EA-8DC7-4317-A0D8-0C99B06407DC}" dt="2021-05-17T02:06:06.578" v="1474" actId="20577"/>
          <ac:graphicFrameMkLst>
            <pc:docMk/>
            <pc:sldMk cId="1356961957" sldId="4503"/>
            <ac:graphicFrameMk id="7" creationId="{00000000-0000-0000-0000-000000000000}"/>
          </ac:graphicFrameMkLst>
        </pc:graphicFrameChg>
      </pc:sldChg>
      <pc:sldChg chg="modSp mod addCm modCm">
        <pc:chgData name="Jothi Rengarajan" userId="f17fa41b-034b-43c0-9f82-7199929860e3" providerId="ADAL" clId="{2EEAD1EA-8DC7-4317-A0D8-0C99B06407DC}" dt="2021-05-17T02:12:08.916" v="1509" actId="20577"/>
        <pc:sldMkLst>
          <pc:docMk/>
          <pc:sldMk cId="2169778326" sldId="4504"/>
        </pc:sldMkLst>
        <pc:spChg chg="mod">
          <ac:chgData name="Jothi Rengarajan" userId="f17fa41b-034b-43c0-9f82-7199929860e3" providerId="ADAL" clId="{2EEAD1EA-8DC7-4317-A0D8-0C99B06407DC}" dt="2021-05-17T02:12:08.916" v="1509" actId="20577"/>
          <ac:spMkLst>
            <pc:docMk/>
            <pc:sldMk cId="2169778326" sldId="4504"/>
            <ac:spMk id="2" creationId="{00000000-0000-0000-0000-000000000000}"/>
          </ac:spMkLst>
        </pc:spChg>
        <pc:spChg chg="mod">
          <ac:chgData name="Jothi Rengarajan" userId="f17fa41b-034b-43c0-9f82-7199929860e3" providerId="ADAL" clId="{2EEAD1EA-8DC7-4317-A0D8-0C99B06407DC}" dt="2021-05-14T12:37:14.743" v="778" actId="20577"/>
          <ac:spMkLst>
            <pc:docMk/>
            <pc:sldMk cId="2169778326" sldId="4504"/>
            <ac:spMk id="8" creationId="{00000000-0000-0000-0000-000000000000}"/>
          </ac:spMkLst>
        </pc:spChg>
        <pc:graphicFrameChg chg="mod">
          <ac:chgData name="Jothi Rengarajan" userId="f17fa41b-034b-43c0-9f82-7199929860e3" providerId="ADAL" clId="{2EEAD1EA-8DC7-4317-A0D8-0C99B06407DC}" dt="2021-05-14T13:11:19.867" v="1193" actId="12100"/>
          <ac:graphicFrameMkLst>
            <pc:docMk/>
            <pc:sldMk cId="2169778326" sldId="4504"/>
            <ac:graphicFrameMk id="6" creationId="{00000000-0000-0000-0000-000000000000}"/>
          </ac:graphicFrameMkLst>
        </pc:graphicFrameChg>
        <pc:graphicFrameChg chg="mod">
          <ac:chgData name="Jothi Rengarajan" userId="f17fa41b-034b-43c0-9f82-7199929860e3" providerId="ADAL" clId="{2EEAD1EA-8DC7-4317-A0D8-0C99B06407DC}" dt="2021-05-17T02:09:21.444" v="1483" actId="20577"/>
          <ac:graphicFrameMkLst>
            <pc:docMk/>
            <pc:sldMk cId="2169778326" sldId="4504"/>
            <ac:graphicFrameMk id="7" creationId="{00000000-0000-0000-0000-000000000000}"/>
          </ac:graphicFrameMkLst>
        </pc:graphicFrameChg>
      </pc:sldChg>
      <pc:sldChg chg="modSp mod">
        <pc:chgData name="Jothi Rengarajan" userId="f17fa41b-034b-43c0-9f82-7199929860e3" providerId="ADAL" clId="{2EEAD1EA-8DC7-4317-A0D8-0C99B06407DC}" dt="2021-05-17T02:12:20.131" v="1511" actId="14100"/>
        <pc:sldMkLst>
          <pc:docMk/>
          <pc:sldMk cId="2242740398" sldId="4505"/>
        </pc:sldMkLst>
        <pc:spChg chg="mod">
          <ac:chgData name="Jothi Rengarajan" userId="f17fa41b-034b-43c0-9f82-7199929860e3" providerId="ADAL" clId="{2EEAD1EA-8DC7-4317-A0D8-0C99B06407DC}" dt="2021-05-17T02:12:20.131" v="1511" actId="14100"/>
          <ac:spMkLst>
            <pc:docMk/>
            <pc:sldMk cId="2242740398" sldId="4505"/>
            <ac:spMk id="2" creationId="{00000000-0000-0000-0000-000000000000}"/>
          </ac:spMkLst>
        </pc:spChg>
        <pc:spChg chg="mod">
          <ac:chgData name="Jothi Rengarajan" userId="f17fa41b-034b-43c0-9f82-7199929860e3" providerId="ADAL" clId="{2EEAD1EA-8DC7-4317-A0D8-0C99B06407DC}" dt="2021-05-14T12:40:49.991" v="1018" actId="20577"/>
          <ac:spMkLst>
            <pc:docMk/>
            <pc:sldMk cId="2242740398" sldId="4505"/>
            <ac:spMk id="8" creationId="{00000000-0000-0000-0000-000000000000}"/>
          </ac:spMkLst>
        </pc:spChg>
        <pc:graphicFrameChg chg="mod">
          <ac:chgData name="Jothi Rengarajan" userId="f17fa41b-034b-43c0-9f82-7199929860e3" providerId="ADAL" clId="{2EEAD1EA-8DC7-4317-A0D8-0C99B06407DC}" dt="2021-05-14T12:40:37.528" v="1010" actId="20577"/>
          <ac:graphicFrameMkLst>
            <pc:docMk/>
            <pc:sldMk cId="2242740398" sldId="4505"/>
            <ac:graphicFrameMk id="6" creationId="{00000000-0000-0000-0000-000000000000}"/>
          </ac:graphicFrameMkLst>
        </pc:graphicFrameChg>
        <pc:graphicFrameChg chg="mod">
          <ac:chgData name="Jothi Rengarajan" userId="f17fa41b-034b-43c0-9f82-7199929860e3" providerId="ADAL" clId="{2EEAD1EA-8DC7-4317-A0D8-0C99B06407DC}" dt="2021-05-14T13:11:38.616" v="1194" actId="12100"/>
          <ac:graphicFrameMkLst>
            <pc:docMk/>
            <pc:sldMk cId="2242740398" sldId="4505"/>
            <ac:graphicFrameMk id="7" creationId="{00000000-0000-0000-0000-000000000000}"/>
          </ac:graphicFrameMkLst>
        </pc:graphicFrameChg>
      </pc:sldChg>
      <pc:sldChg chg="modSp mod">
        <pc:chgData name="Jothi Rengarajan" userId="f17fa41b-034b-43c0-9f82-7199929860e3" providerId="ADAL" clId="{2EEAD1EA-8DC7-4317-A0D8-0C99B06407DC}" dt="2021-05-17T02:11:59.694" v="1508" actId="1035"/>
        <pc:sldMkLst>
          <pc:docMk/>
          <pc:sldMk cId="2026867055" sldId="4506"/>
        </pc:sldMkLst>
        <pc:spChg chg="mod">
          <ac:chgData name="Jothi Rengarajan" userId="f17fa41b-034b-43c0-9f82-7199929860e3" providerId="ADAL" clId="{2EEAD1EA-8DC7-4317-A0D8-0C99B06407DC}" dt="2021-05-17T02:11:59.694" v="1508" actId="1035"/>
          <ac:spMkLst>
            <pc:docMk/>
            <pc:sldMk cId="2026867055" sldId="4506"/>
            <ac:spMk id="2" creationId="{00000000-0000-0000-0000-000000000000}"/>
          </ac:spMkLst>
        </pc:spChg>
      </pc:sldChg>
      <pc:sldChg chg="modSp mod">
        <pc:chgData name="Jothi Rengarajan" userId="f17fa41b-034b-43c0-9f82-7199929860e3" providerId="ADAL" clId="{2EEAD1EA-8DC7-4317-A0D8-0C99B06407DC}" dt="2021-05-14T13:18:12.781" v="1301" actId="20577"/>
        <pc:sldMkLst>
          <pc:docMk/>
          <pc:sldMk cId="2557532891" sldId="4507"/>
        </pc:sldMkLst>
        <pc:spChg chg="mod">
          <ac:chgData name="Jothi Rengarajan" userId="f17fa41b-034b-43c0-9f82-7199929860e3" providerId="ADAL" clId="{2EEAD1EA-8DC7-4317-A0D8-0C99B06407DC}" dt="2021-05-14T13:18:12.781" v="1301" actId="20577"/>
          <ac:spMkLst>
            <pc:docMk/>
            <pc:sldMk cId="2557532891" sldId="4507"/>
            <ac:spMk id="2" creationId="{00000000-0000-0000-0000-000000000000}"/>
          </ac:spMkLst>
        </pc:spChg>
      </pc:sldChg>
      <pc:sldChg chg="modSp mod ord">
        <pc:chgData name="Jothi Rengarajan" userId="f17fa41b-034b-43c0-9f82-7199929860e3" providerId="ADAL" clId="{2EEAD1EA-8DC7-4317-A0D8-0C99B06407DC}" dt="2021-05-14T13:17:43.311" v="1295" actId="20577"/>
        <pc:sldMkLst>
          <pc:docMk/>
          <pc:sldMk cId="1175065035" sldId="4510"/>
        </pc:sldMkLst>
        <pc:spChg chg="mod">
          <ac:chgData name="Jothi Rengarajan" userId="f17fa41b-034b-43c0-9f82-7199929860e3" providerId="ADAL" clId="{2EEAD1EA-8DC7-4317-A0D8-0C99B06407DC}" dt="2021-05-14T13:17:43.311" v="1295" actId="20577"/>
          <ac:spMkLst>
            <pc:docMk/>
            <pc:sldMk cId="1175065035" sldId="4510"/>
            <ac:spMk id="2" creationId="{00000000-0000-0000-0000-000000000000}"/>
          </ac:spMkLst>
        </pc:spChg>
        <pc:graphicFrameChg chg="mod modGraphic">
          <ac:chgData name="Jothi Rengarajan" userId="f17fa41b-034b-43c0-9f82-7199929860e3" providerId="ADAL" clId="{2EEAD1EA-8DC7-4317-A0D8-0C99B06407DC}" dt="2021-05-14T13:17:16.576" v="1270" actId="14100"/>
          <ac:graphicFrameMkLst>
            <pc:docMk/>
            <pc:sldMk cId="1175065035" sldId="4510"/>
            <ac:graphicFrameMk id="5" creationId="{00000000-0000-0000-0000-000000000000}"/>
          </ac:graphicFrameMkLst>
        </pc:graphicFrameChg>
      </pc:sldChg>
      <pc:sldChg chg="modSp mod">
        <pc:chgData name="Jothi Rengarajan" userId="f17fa41b-034b-43c0-9f82-7199929860e3" providerId="ADAL" clId="{2EEAD1EA-8DC7-4317-A0D8-0C99B06407DC}" dt="2021-05-14T13:07:55.001" v="1156" actId="1035"/>
        <pc:sldMkLst>
          <pc:docMk/>
          <pc:sldMk cId="1460281134" sldId="4520"/>
        </pc:sldMkLst>
        <pc:spChg chg="mod">
          <ac:chgData name="Jothi Rengarajan" userId="f17fa41b-034b-43c0-9f82-7199929860e3" providerId="ADAL" clId="{2EEAD1EA-8DC7-4317-A0D8-0C99B06407DC}" dt="2021-05-14T09:23:45.133" v="456" actId="20577"/>
          <ac:spMkLst>
            <pc:docMk/>
            <pc:sldMk cId="1460281134" sldId="4520"/>
            <ac:spMk id="8" creationId="{00000000-0000-0000-0000-000000000000}"/>
          </ac:spMkLst>
        </pc:spChg>
        <pc:graphicFrameChg chg="mod">
          <ac:chgData name="Jothi Rengarajan" userId="f17fa41b-034b-43c0-9f82-7199929860e3" providerId="ADAL" clId="{2EEAD1EA-8DC7-4317-A0D8-0C99B06407DC}" dt="2021-05-14T13:07:55.001" v="1156" actId="1035"/>
          <ac:graphicFrameMkLst>
            <pc:docMk/>
            <pc:sldMk cId="1460281134" sldId="4520"/>
            <ac:graphicFrameMk id="6" creationId="{00000000-0000-0000-0000-000000000000}"/>
          </ac:graphicFrameMkLst>
        </pc:graphicFrameChg>
        <pc:graphicFrameChg chg="mod">
          <ac:chgData name="Jothi Rengarajan" userId="f17fa41b-034b-43c0-9f82-7199929860e3" providerId="ADAL" clId="{2EEAD1EA-8DC7-4317-A0D8-0C99B06407DC}" dt="2021-05-14T13:07:45.739" v="1154" actId="1038"/>
          <ac:graphicFrameMkLst>
            <pc:docMk/>
            <pc:sldMk cId="1460281134" sldId="4520"/>
            <ac:graphicFrameMk id="7" creationId="{00000000-0000-0000-0000-000000000000}"/>
          </ac:graphicFrameMkLst>
        </pc:graphicFrameChg>
      </pc:sldChg>
      <pc:sldChg chg="mod modShow">
        <pc:chgData name="Jothi Rengarajan" userId="f17fa41b-034b-43c0-9f82-7199929860e3" providerId="ADAL" clId="{2EEAD1EA-8DC7-4317-A0D8-0C99B06407DC}" dt="2021-05-14T09:31:03.995" v="744" actId="729"/>
        <pc:sldMkLst>
          <pc:docMk/>
          <pc:sldMk cId="1186392222" sldId="4521"/>
        </pc:sldMkLst>
      </pc:sldChg>
    </pc:docChg>
  </pc:docChgLst>
  <pc:docChgLst>
    <pc:chgData name="Sudhakar Chavali" userId="S::sudhakar.chavali@aspiresys.com::86634ce7-41f6-4558-9468-223fedff1d12" providerId="AD" clId="Web-{D5AD2481-BFEA-4CB1-BBB5-1D36089DC28E}"/>
    <pc:docChg chg="modSld">
      <pc:chgData name="Sudhakar Chavali" userId="S::sudhakar.chavali@aspiresys.com::86634ce7-41f6-4558-9468-223fedff1d12" providerId="AD" clId="Web-{D5AD2481-BFEA-4CB1-BBB5-1D36089DC28E}" dt="2021-05-12T12:01:06.237" v="285" actId="20577"/>
      <pc:docMkLst>
        <pc:docMk/>
      </pc:docMkLst>
      <pc:sldChg chg="addSp delSp modSp">
        <pc:chgData name="Sudhakar Chavali" userId="S::sudhakar.chavali@aspiresys.com::86634ce7-41f6-4558-9468-223fedff1d12" providerId="AD" clId="Web-{D5AD2481-BFEA-4CB1-BBB5-1D36089DC28E}" dt="2021-05-12T12:01:06.237" v="285" actId="20577"/>
        <pc:sldMkLst>
          <pc:docMk/>
          <pc:sldMk cId="3573873266" sldId="4499"/>
        </pc:sldMkLst>
        <pc:spChg chg="add mod">
          <ac:chgData name="Sudhakar Chavali" userId="S::sudhakar.chavali@aspiresys.com::86634ce7-41f6-4558-9468-223fedff1d12" providerId="AD" clId="Web-{D5AD2481-BFEA-4CB1-BBB5-1D36089DC28E}" dt="2021-05-12T11:55:19.026" v="216" actId="20577"/>
          <ac:spMkLst>
            <pc:docMk/>
            <pc:sldMk cId="3573873266" sldId="4499"/>
            <ac:spMk id="4" creationId="{4D947676-CDFD-4C20-8D10-3BAC5A23EB69}"/>
          </ac:spMkLst>
        </pc:spChg>
        <pc:spChg chg="add del">
          <ac:chgData name="Sudhakar Chavali" userId="S::sudhakar.chavali@aspiresys.com::86634ce7-41f6-4558-9468-223fedff1d12" providerId="AD" clId="Web-{D5AD2481-BFEA-4CB1-BBB5-1D36089DC28E}" dt="2021-05-12T11:38:55.597" v="10"/>
          <ac:spMkLst>
            <pc:docMk/>
            <pc:sldMk cId="3573873266" sldId="4499"/>
            <ac:spMk id="6" creationId="{67E6E550-A499-4D17-A079-232939F4B3AE}"/>
          </ac:spMkLst>
        </pc:spChg>
        <pc:spChg chg="add mod">
          <ac:chgData name="Sudhakar Chavali" userId="S::sudhakar.chavali@aspiresys.com::86634ce7-41f6-4558-9468-223fedff1d12" providerId="AD" clId="Web-{D5AD2481-BFEA-4CB1-BBB5-1D36089DC28E}" dt="2021-05-12T12:01:06.237" v="285" actId="20577"/>
          <ac:spMkLst>
            <pc:docMk/>
            <pc:sldMk cId="3573873266" sldId="4499"/>
            <ac:spMk id="7" creationId="{0A2633C1-5431-4508-9C62-6A7D5914C1BA}"/>
          </ac:spMkLst>
        </pc:spChg>
      </pc:sldChg>
    </pc:docChg>
  </pc:docChgLst>
  <pc:docChgLst>
    <pc:chgData name="Jothi Rengarajan" userId="S::jothi.rengarajan@aspiresys.com::f17fa41b-034b-43c0-9f82-7199929860e3" providerId="AD" clId="Web-{708F7766-47C1-4B20-BB92-94CF9592F3F7}"/>
    <pc:docChg chg="delSld modSld sldOrd">
      <pc:chgData name="Jothi Rengarajan" userId="S::jothi.rengarajan@aspiresys.com::f17fa41b-034b-43c0-9f82-7199929860e3" providerId="AD" clId="Web-{708F7766-47C1-4B20-BB92-94CF9592F3F7}" dt="2021-05-12T13:45:03.342" v="758" actId="20577"/>
      <pc:docMkLst>
        <pc:docMk/>
      </pc:docMkLst>
      <pc:sldChg chg="modSp">
        <pc:chgData name="Jothi Rengarajan" userId="S::jothi.rengarajan@aspiresys.com::f17fa41b-034b-43c0-9f82-7199929860e3" providerId="AD" clId="Web-{708F7766-47C1-4B20-BB92-94CF9592F3F7}" dt="2021-05-12T13:44:33.450" v="745" actId="20577"/>
        <pc:sldMkLst>
          <pc:docMk/>
          <pc:sldMk cId="872860223" sldId="4479"/>
        </pc:sldMkLst>
        <pc:spChg chg="mod">
          <ac:chgData name="Jothi Rengarajan" userId="S::jothi.rengarajan@aspiresys.com::f17fa41b-034b-43c0-9f82-7199929860e3" providerId="AD" clId="Web-{708F7766-47C1-4B20-BB92-94CF9592F3F7}" dt="2021-05-12T13:44:33.450" v="745" actId="20577"/>
          <ac:spMkLst>
            <pc:docMk/>
            <pc:sldMk cId="872860223" sldId="4479"/>
            <ac:spMk id="3" creationId="{DBF55740-C618-4865-925B-4330FC2915B2}"/>
          </ac:spMkLst>
        </pc:spChg>
      </pc:sldChg>
      <pc:sldChg chg="addSp delSp modSp">
        <pc:chgData name="Jothi Rengarajan" userId="S::jothi.rengarajan@aspiresys.com::f17fa41b-034b-43c0-9f82-7199929860e3" providerId="AD" clId="Web-{708F7766-47C1-4B20-BB92-94CF9592F3F7}" dt="2021-05-12T13:42:37.432" v="696" actId="20577"/>
        <pc:sldMkLst>
          <pc:docMk/>
          <pc:sldMk cId="1655234789" sldId="4480"/>
        </pc:sldMkLst>
        <pc:spChg chg="del mod">
          <ac:chgData name="Jothi Rengarajan" userId="S::jothi.rengarajan@aspiresys.com::f17fa41b-034b-43c0-9f82-7199929860e3" providerId="AD" clId="Web-{708F7766-47C1-4B20-BB92-94CF9592F3F7}" dt="2021-05-12T13:40:57.774" v="657"/>
          <ac:spMkLst>
            <pc:docMk/>
            <pc:sldMk cId="1655234789" sldId="4480"/>
            <ac:spMk id="4" creationId="{6DB1417E-E9A8-4463-A85B-B02119E3D3E0}"/>
          </ac:spMkLst>
        </pc:spChg>
        <pc:spChg chg="mod">
          <ac:chgData name="Jothi Rengarajan" userId="S::jothi.rengarajan@aspiresys.com::f17fa41b-034b-43c0-9f82-7199929860e3" providerId="AD" clId="Web-{708F7766-47C1-4B20-BB92-94CF9592F3F7}" dt="2021-05-12T13:41:02.727" v="658" actId="1076"/>
          <ac:spMkLst>
            <pc:docMk/>
            <pc:sldMk cId="1655234789" sldId="4480"/>
            <ac:spMk id="10" creationId="{4034FF1A-2019-4D2A-8434-BBA9FB8012B1}"/>
          </ac:spMkLst>
        </pc:spChg>
        <pc:graphicFrameChg chg="add modGraphic">
          <ac:chgData name="Jothi Rengarajan" userId="S::jothi.rengarajan@aspiresys.com::f17fa41b-034b-43c0-9f82-7199929860e3" providerId="AD" clId="Web-{708F7766-47C1-4B20-BB92-94CF9592F3F7}" dt="2021-05-12T13:42:37.432" v="696" actId="20577"/>
          <ac:graphicFrameMkLst>
            <pc:docMk/>
            <pc:sldMk cId="1655234789" sldId="4480"/>
            <ac:graphicFrameMk id="3" creationId="{A7D34143-BAE2-440D-997C-5B1CE13DFBC1}"/>
          </ac:graphicFrameMkLst>
        </pc:graphicFrameChg>
      </pc:sldChg>
      <pc:sldChg chg="addSp delSp modSp">
        <pc:chgData name="Jothi Rengarajan" userId="S::jothi.rengarajan@aspiresys.com::f17fa41b-034b-43c0-9f82-7199929860e3" providerId="AD" clId="Web-{708F7766-47C1-4B20-BB92-94CF9592F3F7}" dt="2021-05-12T13:45:03.342" v="758" actId="20577"/>
        <pc:sldMkLst>
          <pc:docMk/>
          <pc:sldMk cId="1419067989" sldId="4481"/>
        </pc:sldMkLst>
        <pc:spChg chg="del mod">
          <ac:chgData name="Jothi Rengarajan" userId="S::jothi.rengarajan@aspiresys.com::f17fa41b-034b-43c0-9f82-7199929860e3" providerId="AD" clId="Web-{708F7766-47C1-4B20-BB92-94CF9592F3F7}" dt="2021-05-12T13:31:47.403" v="602"/>
          <ac:spMkLst>
            <pc:docMk/>
            <pc:sldMk cId="1419067989" sldId="4481"/>
            <ac:spMk id="4" creationId="{6DB1417E-E9A8-4463-A85B-B02119E3D3E0}"/>
          </ac:spMkLst>
        </pc:spChg>
        <pc:graphicFrameChg chg="add mod modGraphic">
          <ac:chgData name="Jothi Rengarajan" userId="S::jothi.rengarajan@aspiresys.com::f17fa41b-034b-43c0-9f82-7199929860e3" providerId="AD" clId="Web-{708F7766-47C1-4B20-BB92-94CF9592F3F7}" dt="2021-05-12T13:45:03.342" v="758" actId="20577"/>
          <ac:graphicFrameMkLst>
            <pc:docMk/>
            <pc:sldMk cId="1419067989" sldId="4481"/>
            <ac:graphicFrameMk id="3" creationId="{CF403AD5-FFE2-4D49-9B10-85DC22AAE4B6}"/>
          </ac:graphicFrameMkLst>
        </pc:graphicFrameChg>
      </pc:sldChg>
      <pc:sldChg chg="addSp delSp modSp">
        <pc:chgData name="Jothi Rengarajan" userId="S::jothi.rengarajan@aspiresys.com::f17fa41b-034b-43c0-9f82-7199929860e3" providerId="AD" clId="Web-{708F7766-47C1-4B20-BB92-94CF9592F3F7}" dt="2021-05-12T13:39:52.413" v="647" actId="1076"/>
        <pc:sldMkLst>
          <pc:docMk/>
          <pc:sldMk cId="3776152694" sldId="4497"/>
        </pc:sldMkLst>
        <pc:spChg chg="del mod">
          <ac:chgData name="Jothi Rengarajan" userId="S::jothi.rengarajan@aspiresys.com::f17fa41b-034b-43c0-9f82-7199929860e3" providerId="AD" clId="Web-{708F7766-47C1-4B20-BB92-94CF9592F3F7}" dt="2021-05-12T13:25:19.238" v="478"/>
          <ac:spMkLst>
            <pc:docMk/>
            <pc:sldMk cId="3776152694" sldId="4497"/>
            <ac:spMk id="3" creationId="{A3CBC3D0-646F-4A7E-A950-C05C902E53C2}"/>
          </ac:spMkLst>
        </pc:spChg>
        <pc:spChg chg="mod">
          <ac:chgData name="Jothi Rengarajan" userId="S::jothi.rengarajan@aspiresys.com::f17fa41b-034b-43c0-9f82-7199929860e3" providerId="AD" clId="Web-{708F7766-47C1-4B20-BB92-94CF9592F3F7}" dt="2021-05-12T13:39:52.413" v="647" actId="1076"/>
          <ac:spMkLst>
            <pc:docMk/>
            <pc:sldMk cId="3776152694" sldId="4497"/>
            <ac:spMk id="4" creationId="{82006474-72C3-42AB-91EA-101887D3D528}"/>
          </ac:spMkLst>
        </pc:spChg>
        <pc:graphicFrameChg chg="add del mod modGraphic">
          <ac:chgData name="Jothi Rengarajan" userId="S::jothi.rengarajan@aspiresys.com::f17fa41b-034b-43c0-9f82-7199929860e3" providerId="AD" clId="Web-{708F7766-47C1-4B20-BB92-94CF9592F3F7}" dt="2021-05-12T13:25:16.441" v="477"/>
          <ac:graphicFrameMkLst>
            <pc:docMk/>
            <pc:sldMk cId="3776152694" sldId="4497"/>
            <ac:graphicFrameMk id="5" creationId="{3280E727-1466-4C5E-A4C7-5EE0CCBD21F6}"/>
          </ac:graphicFrameMkLst>
        </pc:graphicFrameChg>
        <pc:graphicFrameChg chg="add mod modGraphic">
          <ac:chgData name="Jothi Rengarajan" userId="S::jothi.rengarajan@aspiresys.com::f17fa41b-034b-43c0-9f82-7199929860e3" providerId="AD" clId="Web-{708F7766-47C1-4B20-BB92-94CF9592F3F7}" dt="2021-05-12T13:39:36.788" v="644" actId="1076"/>
          <ac:graphicFrameMkLst>
            <pc:docMk/>
            <pc:sldMk cId="3776152694" sldId="4497"/>
            <ac:graphicFrameMk id="67" creationId="{E63667F2-3DA7-49B8-8B1E-C74BECD0B797}"/>
          </ac:graphicFrameMkLst>
        </pc:graphicFrameChg>
      </pc:sldChg>
      <pc:sldChg chg="del">
        <pc:chgData name="Jothi Rengarajan" userId="S::jothi.rengarajan@aspiresys.com::f17fa41b-034b-43c0-9f82-7199929860e3" providerId="AD" clId="Web-{708F7766-47C1-4B20-BB92-94CF9592F3F7}" dt="2021-05-12T13:36:51.378" v="634"/>
        <pc:sldMkLst>
          <pc:docMk/>
          <pc:sldMk cId="3573873266" sldId="4499"/>
        </pc:sldMkLst>
      </pc:sldChg>
      <pc:sldChg chg="modSp ord">
        <pc:chgData name="Jothi Rengarajan" userId="S::jothi.rengarajan@aspiresys.com::f17fa41b-034b-43c0-9f82-7199929860e3" providerId="AD" clId="Web-{708F7766-47C1-4B20-BB92-94CF9592F3F7}" dt="2021-05-12T13:20:37.888" v="391" actId="20577"/>
        <pc:sldMkLst>
          <pc:docMk/>
          <pc:sldMk cId="531423320" sldId="4501"/>
        </pc:sldMkLst>
        <pc:spChg chg="mod">
          <ac:chgData name="Jothi Rengarajan" userId="S::jothi.rengarajan@aspiresys.com::f17fa41b-034b-43c0-9f82-7199929860e3" providerId="AD" clId="Web-{708F7766-47C1-4B20-BB92-94CF9592F3F7}" dt="2021-05-12T13:20:37.888" v="391" actId="20577"/>
          <ac:spMkLst>
            <pc:docMk/>
            <pc:sldMk cId="531423320" sldId="4501"/>
            <ac:spMk id="3" creationId="{FDE9431E-C76C-4299-8658-06E424BE77CA}"/>
          </ac:spMkLst>
        </pc:spChg>
        <pc:spChg chg="mod">
          <ac:chgData name="Jothi Rengarajan" userId="S::jothi.rengarajan@aspiresys.com::f17fa41b-034b-43c0-9f82-7199929860e3" providerId="AD" clId="Web-{708F7766-47C1-4B20-BB92-94CF9592F3F7}" dt="2021-05-12T13:19:34.855" v="349" actId="20577"/>
          <ac:spMkLst>
            <pc:docMk/>
            <pc:sldMk cId="531423320" sldId="4501"/>
            <ac:spMk id="4" creationId="{8DA4A271-5444-4680-AFC6-706A1FF77BCF}"/>
          </ac:spMkLst>
        </pc:spChg>
      </pc:sldChg>
      <pc:sldChg chg="addSp modSp">
        <pc:chgData name="Jothi Rengarajan" userId="S::jothi.rengarajan@aspiresys.com::f17fa41b-034b-43c0-9f82-7199929860e3" providerId="AD" clId="Web-{708F7766-47C1-4B20-BB92-94CF9592F3F7}" dt="2021-05-12T13:23:41.283" v="468" actId="14100"/>
        <pc:sldMkLst>
          <pc:docMk/>
          <pc:sldMk cId="1356961957" sldId="4503"/>
        </pc:sldMkLst>
        <pc:spChg chg="mod">
          <ac:chgData name="Jothi Rengarajan" userId="S::jothi.rengarajan@aspiresys.com::f17fa41b-034b-43c0-9f82-7199929860e3" providerId="AD" clId="Web-{708F7766-47C1-4B20-BB92-94CF9592F3F7}" dt="2021-05-12T13:15:10.428" v="235" actId="20577"/>
          <ac:spMkLst>
            <pc:docMk/>
            <pc:sldMk cId="1356961957" sldId="4503"/>
            <ac:spMk id="2" creationId="{00000000-0000-0000-0000-000000000000}"/>
          </ac:spMkLst>
        </pc:spChg>
        <pc:spChg chg="mod">
          <ac:chgData name="Jothi Rengarajan" userId="S::jothi.rengarajan@aspiresys.com::f17fa41b-034b-43c0-9f82-7199929860e3" providerId="AD" clId="Web-{708F7766-47C1-4B20-BB92-94CF9592F3F7}" dt="2021-05-12T13:23:41.283" v="468" actId="14100"/>
          <ac:spMkLst>
            <pc:docMk/>
            <pc:sldMk cId="1356961957" sldId="4503"/>
            <ac:spMk id="3" creationId="{9B4B933D-9BC7-4433-8E82-462A011A9CCE}"/>
          </ac:spMkLst>
        </pc:spChg>
        <pc:spChg chg="add mod">
          <ac:chgData name="Jothi Rengarajan" userId="S::jothi.rengarajan@aspiresys.com::f17fa41b-034b-43c0-9f82-7199929860e3" providerId="AD" clId="Web-{708F7766-47C1-4B20-BB92-94CF9592F3F7}" dt="2021-05-12T13:18:13.526" v="319" actId="20577"/>
          <ac:spMkLst>
            <pc:docMk/>
            <pc:sldMk cId="1356961957" sldId="4503"/>
            <ac:spMk id="5" creationId="{233E008E-D754-4E6E-B98D-0D895BCE9123}"/>
          </ac:spMkLst>
        </pc:spChg>
      </pc:sldChg>
    </pc:docChg>
  </pc:docChgLst>
  <pc:docChgLst>
    <pc:chgData name="Sudhakar Chavali" userId="S::sudhakar.chavali@aspiresys.com::86634ce7-41f6-4558-9468-223fedff1d12" providerId="AD" clId="Web-{D72ADB7D-8B31-4C32-B65D-A27BF5E02B06}"/>
    <pc:docChg chg="modSld">
      <pc:chgData name="Sudhakar Chavali" userId="S::sudhakar.chavali@aspiresys.com::86634ce7-41f6-4558-9468-223fedff1d12" providerId="AD" clId="Web-{D72ADB7D-8B31-4C32-B65D-A27BF5E02B06}" dt="2021-05-12T06:07:28.407" v="4" actId="20577"/>
      <pc:docMkLst>
        <pc:docMk/>
      </pc:docMkLst>
      <pc:sldChg chg="modSp">
        <pc:chgData name="Sudhakar Chavali" userId="S::sudhakar.chavali@aspiresys.com::86634ce7-41f6-4558-9468-223fedff1d12" providerId="AD" clId="Web-{D72ADB7D-8B31-4C32-B65D-A27BF5E02B06}" dt="2021-05-12T06:07:28.407" v="4" actId="20577"/>
        <pc:sldMkLst>
          <pc:docMk/>
          <pc:sldMk cId="872860223" sldId="4479"/>
        </pc:sldMkLst>
        <pc:spChg chg="mod">
          <ac:chgData name="Sudhakar Chavali" userId="S::sudhakar.chavali@aspiresys.com::86634ce7-41f6-4558-9468-223fedff1d12" providerId="AD" clId="Web-{D72ADB7D-8B31-4C32-B65D-A27BF5E02B06}" dt="2021-05-12T06:07:28.407" v="4" actId="20577"/>
          <ac:spMkLst>
            <pc:docMk/>
            <pc:sldMk cId="872860223" sldId="4479"/>
            <ac:spMk id="4" creationId="{1541007A-62CB-40BB-A557-4B777007407D}"/>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23713C-AFD9-4171-B943-3DCA86FC3113}" type="doc">
      <dgm:prSet loTypeId="urn:microsoft.com/office/officeart/2005/8/layout/lProcess2" loCatId="list" qsTypeId="urn:microsoft.com/office/officeart/2005/8/quickstyle/simple1" qsCatId="simple" csTypeId="urn:microsoft.com/office/officeart/2005/8/colors/colorful3" csCatId="colorful" phldr="1"/>
      <dgm:spPr/>
      <dgm:t>
        <a:bodyPr/>
        <a:lstStyle/>
        <a:p>
          <a:endParaRPr lang="en-US"/>
        </a:p>
      </dgm:t>
    </dgm:pt>
    <dgm:pt modelId="{B6F6B599-71B4-4EF2-B199-C3C0621C31DD}">
      <dgm:prSet phldrT="[Text]"/>
      <dgm:spPr/>
      <dgm:t>
        <a:bodyPr/>
        <a:lstStyle/>
        <a:p>
          <a:r>
            <a:rPr lang="en-US"/>
            <a:t>Privileged access, secrets management &amp; network isolation</a:t>
          </a:r>
        </a:p>
      </dgm:t>
    </dgm:pt>
    <dgm:pt modelId="{5C02F61E-5A16-4881-85F4-B86A41532635}" type="parTrans" cxnId="{1B100FFE-4883-429E-B6A5-30F44AB0FF82}">
      <dgm:prSet/>
      <dgm:spPr/>
      <dgm:t>
        <a:bodyPr/>
        <a:lstStyle/>
        <a:p>
          <a:endParaRPr lang="en-US"/>
        </a:p>
      </dgm:t>
    </dgm:pt>
    <dgm:pt modelId="{9B19A77F-386E-429A-8BDB-A1DF8E482B3B}" type="sibTrans" cxnId="{1B100FFE-4883-429E-B6A5-30F44AB0FF82}">
      <dgm:prSet/>
      <dgm:spPr/>
      <dgm:t>
        <a:bodyPr/>
        <a:lstStyle/>
        <a:p>
          <a:endParaRPr lang="en-US"/>
        </a:p>
      </dgm:t>
    </dgm:pt>
    <dgm:pt modelId="{EFFC0CFF-3E80-40BE-9EA9-2A9FA6041344}">
      <dgm:prSet phldrT="[Text]"/>
      <dgm:spPr/>
      <dgm:t>
        <a:bodyPr/>
        <a:lstStyle/>
        <a:p>
          <a:r>
            <a:rPr lang="en-IN">
              <a:latin typeface="Calibri"/>
              <a:cs typeface="Calibri"/>
            </a:rPr>
            <a:t>Application, Infrastructure and Data Protection </a:t>
          </a:r>
          <a:endParaRPr lang="en-US"/>
        </a:p>
      </dgm:t>
    </dgm:pt>
    <dgm:pt modelId="{1A744FDB-6B73-49C1-A21D-5370C2CF6227}" type="parTrans" cxnId="{BFEB581A-41FE-4854-B957-7E509AC60F69}">
      <dgm:prSet/>
      <dgm:spPr/>
      <dgm:t>
        <a:bodyPr/>
        <a:lstStyle/>
        <a:p>
          <a:endParaRPr lang="en-US"/>
        </a:p>
      </dgm:t>
    </dgm:pt>
    <dgm:pt modelId="{75700CA1-C3E8-4FEE-8D34-218936E7873E}" type="sibTrans" cxnId="{BFEB581A-41FE-4854-B957-7E509AC60F69}">
      <dgm:prSet/>
      <dgm:spPr/>
      <dgm:t>
        <a:bodyPr/>
        <a:lstStyle/>
        <a:p>
          <a:endParaRPr lang="en-US"/>
        </a:p>
      </dgm:t>
    </dgm:pt>
    <dgm:pt modelId="{7244C96A-64BB-4795-A8B1-119C54E9D0E1}">
      <dgm:prSet phldrT="[Text]"/>
      <dgm:spPr/>
      <dgm:t>
        <a:bodyPr/>
        <a:lstStyle/>
        <a:p>
          <a:r>
            <a:rPr lang="en-US"/>
            <a:t>Azure Application Gateway WAF</a:t>
          </a:r>
        </a:p>
      </dgm:t>
    </dgm:pt>
    <dgm:pt modelId="{B1C02423-C9E9-4C8C-89C6-F8CAA22F16B7}" type="parTrans" cxnId="{66A0502E-63D1-46C6-8B2C-E928A724F964}">
      <dgm:prSet/>
      <dgm:spPr/>
      <dgm:t>
        <a:bodyPr/>
        <a:lstStyle/>
        <a:p>
          <a:endParaRPr lang="en-US"/>
        </a:p>
      </dgm:t>
    </dgm:pt>
    <dgm:pt modelId="{0A750C8C-23B0-4E7B-BB16-27A18E8B5014}" type="sibTrans" cxnId="{66A0502E-63D1-46C6-8B2C-E928A724F964}">
      <dgm:prSet/>
      <dgm:spPr/>
      <dgm:t>
        <a:bodyPr/>
        <a:lstStyle/>
        <a:p>
          <a:endParaRPr lang="en-US"/>
        </a:p>
      </dgm:t>
    </dgm:pt>
    <dgm:pt modelId="{C0BABB27-C0D7-4D00-83E6-1769C0042103}">
      <dgm:prSet/>
      <dgm:spPr/>
      <dgm:t>
        <a:bodyPr/>
        <a:lstStyle/>
        <a:p>
          <a:r>
            <a:rPr lang="en-US"/>
            <a:t>Azure </a:t>
          </a:r>
          <a:r>
            <a:rPr lang="en-US" err="1"/>
            <a:t>KeyVault</a:t>
          </a:r>
          <a:endParaRPr lang="en-US"/>
        </a:p>
      </dgm:t>
    </dgm:pt>
    <dgm:pt modelId="{0A8C1A0D-9094-4C0E-9C8F-60D0301DC8E4}" type="parTrans" cxnId="{5E8778D2-590E-4060-91B0-3B170A8DE2A7}">
      <dgm:prSet/>
      <dgm:spPr/>
      <dgm:t>
        <a:bodyPr/>
        <a:lstStyle/>
        <a:p>
          <a:endParaRPr lang="en-US"/>
        </a:p>
      </dgm:t>
    </dgm:pt>
    <dgm:pt modelId="{9E034C39-5D6C-4066-A91E-A02214F45536}" type="sibTrans" cxnId="{5E8778D2-590E-4060-91B0-3B170A8DE2A7}">
      <dgm:prSet/>
      <dgm:spPr/>
      <dgm:t>
        <a:bodyPr/>
        <a:lstStyle/>
        <a:p>
          <a:endParaRPr lang="en-US"/>
        </a:p>
      </dgm:t>
    </dgm:pt>
    <dgm:pt modelId="{1613D993-3D40-48C3-AE54-DA20BB0CA265}">
      <dgm:prSet/>
      <dgm:spPr/>
      <dgm:t>
        <a:bodyPr/>
        <a:lstStyle/>
        <a:p>
          <a:r>
            <a:rPr lang="en-US">
              <a:cs typeface="Segoe UI"/>
            </a:rPr>
            <a:t>JIT Access</a:t>
          </a:r>
          <a:endParaRPr lang="en-US"/>
        </a:p>
      </dgm:t>
    </dgm:pt>
    <dgm:pt modelId="{8A1FAA81-5E0B-42E2-BD56-6AA88061CD3C}" type="parTrans" cxnId="{CA21A909-F808-4F53-9553-D354A5446744}">
      <dgm:prSet/>
      <dgm:spPr/>
      <dgm:t>
        <a:bodyPr/>
        <a:lstStyle/>
        <a:p>
          <a:endParaRPr lang="en-US"/>
        </a:p>
      </dgm:t>
    </dgm:pt>
    <dgm:pt modelId="{9ABA4C03-E45D-4BEC-8FC8-72D53032C38A}" type="sibTrans" cxnId="{CA21A909-F808-4F53-9553-D354A5446744}">
      <dgm:prSet/>
      <dgm:spPr/>
      <dgm:t>
        <a:bodyPr/>
        <a:lstStyle/>
        <a:p>
          <a:endParaRPr lang="en-US"/>
        </a:p>
      </dgm:t>
    </dgm:pt>
    <dgm:pt modelId="{02DE49B0-156E-465E-926B-54C9AF3A84C3}">
      <dgm:prSet/>
      <dgm:spPr/>
      <dgm:t>
        <a:bodyPr/>
        <a:lstStyle/>
        <a:p>
          <a:r>
            <a:rPr lang="en-US">
              <a:cs typeface="Segoe UI"/>
            </a:rPr>
            <a:t>AKS Azure RBAC</a:t>
          </a:r>
          <a:endParaRPr lang="en-US"/>
        </a:p>
      </dgm:t>
    </dgm:pt>
    <dgm:pt modelId="{D914B994-CED6-4557-AD06-FD658CE37641}" type="parTrans" cxnId="{06FB445B-EACF-45EE-971B-C50E2EA50597}">
      <dgm:prSet/>
      <dgm:spPr/>
      <dgm:t>
        <a:bodyPr/>
        <a:lstStyle/>
        <a:p>
          <a:endParaRPr lang="en-US"/>
        </a:p>
      </dgm:t>
    </dgm:pt>
    <dgm:pt modelId="{AE734FDF-48A6-4CAF-A564-FD61EB9A1113}" type="sibTrans" cxnId="{06FB445B-EACF-45EE-971B-C50E2EA50597}">
      <dgm:prSet/>
      <dgm:spPr/>
      <dgm:t>
        <a:bodyPr/>
        <a:lstStyle/>
        <a:p>
          <a:endParaRPr lang="en-US"/>
        </a:p>
      </dgm:t>
    </dgm:pt>
    <dgm:pt modelId="{ABF92229-308A-47F1-8C4E-2E194C5E975B}">
      <dgm:prSet/>
      <dgm:spPr/>
      <dgm:t>
        <a:bodyPr/>
        <a:lstStyle/>
        <a:p>
          <a:r>
            <a:rPr lang="en-US" err="1"/>
            <a:t>Hashicorp</a:t>
          </a:r>
          <a:r>
            <a:rPr lang="en-US"/>
            <a:t> Vault</a:t>
          </a:r>
          <a:endParaRPr lang="en-US">
            <a:cs typeface="Segoe UI"/>
          </a:endParaRPr>
        </a:p>
      </dgm:t>
    </dgm:pt>
    <dgm:pt modelId="{51CB4C9C-4402-4B49-A43A-774B830EFAFE}" type="parTrans" cxnId="{664E52D2-6534-4FC2-8024-B1CB4690D973}">
      <dgm:prSet/>
      <dgm:spPr/>
      <dgm:t>
        <a:bodyPr/>
        <a:lstStyle/>
        <a:p>
          <a:endParaRPr lang="en-US"/>
        </a:p>
      </dgm:t>
    </dgm:pt>
    <dgm:pt modelId="{F899C2E9-050F-40DE-B30A-18A9DDE2B792}" type="sibTrans" cxnId="{664E52D2-6534-4FC2-8024-B1CB4690D973}">
      <dgm:prSet/>
      <dgm:spPr/>
      <dgm:t>
        <a:bodyPr/>
        <a:lstStyle/>
        <a:p>
          <a:endParaRPr lang="en-US"/>
        </a:p>
      </dgm:t>
    </dgm:pt>
    <dgm:pt modelId="{84553CF7-320A-4FB9-85DF-7D16D74A2004}">
      <dgm:prSet/>
      <dgm:spPr/>
      <dgm:t>
        <a:bodyPr/>
        <a:lstStyle/>
        <a:p>
          <a:r>
            <a:rPr lang="en-US">
              <a:cs typeface="Segoe UI"/>
            </a:rPr>
            <a:t>Azure Firewall</a:t>
          </a:r>
        </a:p>
      </dgm:t>
    </dgm:pt>
    <dgm:pt modelId="{FB1CB2A5-81F3-440C-9509-0A79F5A6D18B}" type="parTrans" cxnId="{AE7EF712-48EB-4E2A-B4AE-14710143EFBB}">
      <dgm:prSet/>
      <dgm:spPr/>
      <dgm:t>
        <a:bodyPr/>
        <a:lstStyle/>
        <a:p>
          <a:endParaRPr lang="en-US"/>
        </a:p>
      </dgm:t>
    </dgm:pt>
    <dgm:pt modelId="{CBC9565C-402E-478D-B3BA-16A14E979A32}" type="sibTrans" cxnId="{AE7EF712-48EB-4E2A-B4AE-14710143EFBB}">
      <dgm:prSet/>
      <dgm:spPr/>
      <dgm:t>
        <a:bodyPr/>
        <a:lstStyle/>
        <a:p>
          <a:endParaRPr lang="en-US"/>
        </a:p>
      </dgm:t>
    </dgm:pt>
    <dgm:pt modelId="{89A5110D-9DF7-4979-ACB6-76B680D62AE2}">
      <dgm:prSet/>
      <dgm:spPr/>
      <dgm:t>
        <a:bodyPr/>
        <a:lstStyle/>
        <a:p>
          <a:r>
            <a:rPr lang="en-US">
              <a:cs typeface="Segoe UI"/>
            </a:rPr>
            <a:t>Azure Policy</a:t>
          </a:r>
          <a:endParaRPr lang="en-US"/>
        </a:p>
      </dgm:t>
    </dgm:pt>
    <dgm:pt modelId="{872B43ED-E585-4CCB-B313-22064C830CDB}" type="parTrans" cxnId="{DEA03256-BFFA-4193-A466-EFCBBE9B468D}">
      <dgm:prSet/>
      <dgm:spPr/>
      <dgm:t>
        <a:bodyPr/>
        <a:lstStyle/>
        <a:p>
          <a:endParaRPr lang="en-US"/>
        </a:p>
      </dgm:t>
    </dgm:pt>
    <dgm:pt modelId="{F2458A2F-2973-44E4-9BF1-309AF440E1A5}" type="sibTrans" cxnId="{DEA03256-BFFA-4193-A466-EFCBBE9B468D}">
      <dgm:prSet/>
      <dgm:spPr/>
      <dgm:t>
        <a:bodyPr/>
        <a:lstStyle/>
        <a:p>
          <a:endParaRPr lang="en-US"/>
        </a:p>
      </dgm:t>
    </dgm:pt>
    <dgm:pt modelId="{11881CD4-0DC1-4236-85B5-D2B08AB2A848}">
      <dgm:prSet/>
      <dgm:spPr/>
      <dgm:t>
        <a:bodyPr/>
        <a:lstStyle/>
        <a:p>
          <a:r>
            <a:rPr lang="en-US">
              <a:cs typeface="Segoe UI"/>
            </a:rPr>
            <a:t>ASE</a:t>
          </a:r>
          <a:endParaRPr lang="en-US"/>
        </a:p>
      </dgm:t>
    </dgm:pt>
    <dgm:pt modelId="{CDE0F7D1-0C4C-44B0-AF32-C928850FFA44}" type="parTrans" cxnId="{0E5CF622-6DBF-4366-934B-414D6A1A609D}">
      <dgm:prSet/>
      <dgm:spPr/>
      <dgm:t>
        <a:bodyPr/>
        <a:lstStyle/>
        <a:p>
          <a:endParaRPr lang="en-US"/>
        </a:p>
      </dgm:t>
    </dgm:pt>
    <dgm:pt modelId="{FC5161A0-292B-4A77-A57A-BE43E2C3B5C3}" type="sibTrans" cxnId="{0E5CF622-6DBF-4366-934B-414D6A1A609D}">
      <dgm:prSet/>
      <dgm:spPr/>
      <dgm:t>
        <a:bodyPr/>
        <a:lstStyle/>
        <a:p>
          <a:endParaRPr lang="en-US"/>
        </a:p>
      </dgm:t>
    </dgm:pt>
    <dgm:pt modelId="{36AAA01E-DDB1-4C71-BDF0-915ABD760CF4}">
      <dgm:prSet/>
      <dgm:spPr/>
      <dgm:t>
        <a:bodyPr/>
        <a:lstStyle/>
        <a:p>
          <a:r>
            <a:rPr lang="en-US">
              <a:cs typeface="Segoe UI"/>
            </a:rPr>
            <a:t>Cloudflare WAF &amp; </a:t>
          </a:r>
          <a:r>
            <a:rPr lang="en-US" err="1">
              <a:cs typeface="Segoe UI"/>
            </a:rPr>
            <a:t>DDoSProtection</a:t>
          </a:r>
          <a:endParaRPr lang="en-US">
            <a:cs typeface="Segoe UI"/>
          </a:endParaRPr>
        </a:p>
      </dgm:t>
    </dgm:pt>
    <dgm:pt modelId="{160BFCBD-EE9A-47F2-AE44-3CB42E924704}" type="parTrans" cxnId="{350514EF-AD0B-4B6B-BE1C-BC17B957388C}">
      <dgm:prSet/>
      <dgm:spPr/>
      <dgm:t>
        <a:bodyPr/>
        <a:lstStyle/>
        <a:p>
          <a:endParaRPr lang="en-US"/>
        </a:p>
      </dgm:t>
    </dgm:pt>
    <dgm:pt modelId="{D2842A70-14A4-4748-9442-29AED3C467B9}" type="sibTrans" cxnId="{350514EF-AD0B-4B6B-BE1C-BC17B957388C}">
      <dgm:prSet/>
      <dgm:spPr/>
      <dgm:t>
        <a:bodyPr/>
        <a:lstStyle/>
        <a:p>
          <a:endParaRPr lang="en-US"/>
        </a:p>
      </dgm:t>
    </dgm:pt>
    <dgm:pt modelId="{EE499A23-5EAE-456C-8AE1-69928A5FA0BB}">
      <dgm:prSet/>
      <dgm:spPr/>
      <dgm:t>
        <a:bodyPr/>
        <a:lstStyle/>
        <a:p>
          <a:r>
            <a:rPr lang="en-US" err="1"/>
            <a:t>Jscrambler</a:t>
          </a:r>
          <a:endParaRPr lang="en-US">
            <a:cs typeface="Segoe UI"/>
          </a:endParaRPr>
        </a:p>
      </dgm:t>
    </dgm:pt>
    <dgm:pt modelId="{0B62562A-E99F-4C80-AB6F-3EC6542AE2DE}" type="parTrans" cxnId="{ACD7EC66-D357-4E79-B4CC-2FA49E3780DE}">
      <dgm:prSet/>
      <dgm:spPr/>
      <dgm:t>
        <a:bodyPr/>
        <a:lstStyle/>
        <a:p>
          <a:endParaRPr lang="en-US"/>
        </a:p>
      </dgm:t>
    </dgm:pt>
    <dgm:pt modelId="{46BF1370-7F44-4EB4-A18A-6BB8395666BD}" type="sibTrans" cxnId="{ACD7EC66-D357-4E79-B4CC-2FA49E3780DE}">
      <dgm:prSet/>
      <dgm:spPr/>
      <dgm:t>
        <a:bodyPr/>
        <a:lstStyle/>
        <a:p>
          <a:endParaRPr lang="en-US"/>
        </a:p>
      </dgm:t>
    </dgm:pt>
    <dgm:pt modelId="{90B9511B-33A4-496D-A7DF-D4308A77659D}">
      <dgm:prSet/>
      <dgm:spPr/>
      <dgm:t>
        <a:bodyPr/>
        <a:lstStyle/>
        <a:p>
          <a:r>
            <a:rPr lang="en-US" err="1"/>
            <a:t>Hdiv</a:t>
          </a:r>
          <a:endParaRPr lang="en-US">
            <a:cs typeface="Segoe UI"/>
          </a:endParaRPr>
        </a:p>
      </dgm:t>
    </dgm:pt>
    <dgm:pt modelId="{A13B2039-8701-4FA4-8C86-EFE6F61AEB9A}" type="parTrans" cxnId="{D30D5E81-7BB1-410F-910B-633F873AF865}">
      <dgm:prSet/>
      <dgm:spPr/>
      <dgm:t>
        <a:bodyPr/>
        <a:lstStyle/>
        <a:p>
          <a:endParaRPr lang="en-US"/>
        </a:p>
      </dgm:t>
    </dgm:pt>
    <dgm:pt modelId="{BB275A50-1EE6-4754-95AC-80F7009D5684}" type="sibTrans" cxnId="{D30D5E81-7BB1-410F-910B-633F873AF865}">
      <dgm:prSet/>
      <dgm:spPr/>
      <dgm:t>
        <a:bodyPr/>
        <a:lstStyle/>
        <a:p>
          <a:endParaRPr lang="en-US"/>
        </a:p>
      </dgm:t>
    </dgm:pt>
    <dgm:pt modelId="{4481154D-3152-4240-A105-E05F6B75B958}">
      <dgm:prSet/>
      <dgm:spPr/>
      <dgm:t>
        <a:bodyPr/>
        <a:lstStyle/>
        <a:p>
          <a:r>
            <a:rPr lang="en-IN"/>
            <a:t>Vulnerability Scanning</a:t>
          </a:r>
          <a:endParaRPr lang="en-US">
            <a:cs typeface="Segoe UI"/>
          </a:endParaRPr>
        </a:p>
      </dgm:t>
    </dgm:pt>
    <dgm:pt modelId="{0DC4D902-82FE-4762-B50C-9E3545C66B48}" type="parTrans" cxnId="{1B4ADDED-3E19-4F2C-8294-86F6F0732CF3}">
      <dgm:prSet/>
      <dgm:spPr/>
      <dgm:t>
        <a:bodyPr/>
        <a:lstStyle/>
        <a:p>
          <a:endParaRPr lang="en-US"/>
        </a:p>
      </dgm:t>
    </dgm:pt>
    <dgm:pt modelId="{B4DDBE1C-547B-41C6-9048-6A3F385AC65B}" type="sibTrans" cxnId="{1B4ADDED-3E19-4F2C-8294-86F6F0732CF3}">
      <dgm:prSet/>
      <dgm:spPr/>
      <dgm:t>
        <a:bodyPr/>
        <a:lstStyle/>
        <a:p>
          <a:endParaRPr lang="en-US"/>
        </a:p>
      </dgm:t>
    </dgm:pt>
    <dgm:pt modelId="{1D6F4CAE-D53A-4FEC-A32A-11EE986D6558}">
      <dgm:prSet/>
      <dgm:spPr/>
      <dgm:t>
        <a:bodyPr/>
        <a:lstStyle/>
        <a:p>
          <a:r>
            <a:rPr lang="en-US"/>
            <a:t>Azure Defender</a:t>
          </a:r>
          <a:endParaRPr lang="en-US">
            <a:cs typeface="Segoe UI"/>
          </a:endParaRPr>
        </a:p>
      </dgm:t>
    </dgm:pt>
    <dgm:pt modelId="{E15B98B5-06E3-46ED-9C0F-80C03F15B5CF}" type="parTrans" cxnId="{A36C9BA6-6F35-487B-B924-D9120B593BC9}">
      <dgm:prSet/>
      <dgm:spPr/>
      <dgm:t>
        <a:bodyPr/>
        <a:lstStyle/>
        <a:p>
          <a:endParaRPr lang="en-US"/>
        </a:p>
      </dgm:t>
    </dgm:pt>
    <dgm:pt modelId="{D12B2EFA-8B4D-489C-8175-405DFF44A859}" type="sibTrans" cxnId="{A36C9BA6-6F35-487B-B924-D9120B593BC9}">
      <dgm:prSet/>
      <dgm:spPr/>
      <dgm:t>
        <a:bodyPr/>
        <a:lstStyle/>
        <a:p>
          <a:endParaRPr lang="en-US"/>
        </a:p>
      </dgm:t>
    </dgm:pt>
    <dgm:pt modelId="{2E13D9CC-ECC4-4C7A-AC84-74CD1BCBF904}">
      <dgm:prSet/>
      <dgm:spPr/>
      <dgm:t>
        <a:bodyPr/>
        <a:lstStyle/>
        <a:p>
          <a:r>
            <a:rPr lang="en-US"/>
            <a:t>Qualys</a:t>
          </a:r>
        </a:p>
      </dgm:t>
    </dgm:pt>
    <dgm:pt modelId="{2EC00D68-3BF6-4287-8549-1E43DD084326}" type="parTrans" cxnId="{7C121A40-DD9A-4735-8450-98E2B7F2723F}">
      <dgm:prSet/>
      <dgm:spPr/>
      <dgm:t>
        <a:bodyPr/>
        <a:lstStyle/>
        <a:p>
          <a:endParaRPr lang="en-US"/>
        </a:p>
      </dgm:t>
    </dgm:pt>
    <dgm:pt modelId="{F72AB48D-405F-4CAB-8B30-F11555ED5A39}" type="sibTrans" cxnId="{7C121A40-DD9A-4735-8450-98E2B7F2723F}">
      <dgm:prSet/>
      <dgm:spPr/>
      <dgm:t>
        <a:bodyPr/>
        <a:lstStyle/>
        <a:p>
          <a:endParaRPr lang="en-US"/>
        </a:p>
      </dgm:t>
    </dgm:pt>
    <dgm:pt modelId="{EBE54E27-70C4-4C7F-9A5C-C8B0A66900AE}">
      <dgm:prSet/>
      <dgm:spPr/>
      <dgm:t>
        <a:bodyPr/>
        <a:lstStyle/>
        <a:p>
          <a:r>
            <a:rPr lang="en-IN"/>
            <a:t>Continuous monitoring &amp; Incident Response</a:t>
          </a:r>
          <a:endParaRPr lang="en-US"/>
        </a:p>
      </dgm:t>
    </dgm:pt>
    <dgm:pt modelId="{7D19BBF6-3D4C-42AC-93DF-22C2826A3B8B}" type="parTrans" cxnId="{EFA7BB54-3551-475F-8908-04DB62C3BB0F}">
      <dgm:prSet/>
      <dgm:spPr/>
      <dgm:t>
        <a:bodyPr/>
        <a:lstStyle/>
        <a:p>
          <a:endParaRPr lang="en-US"/>
        </a:p>
      </dgm:t>
    </dgm:pt>
    <dgm:pt modelId="{E090A80B-9F99-4878-ADB6-6431CB90A3A1}" type="sibTrans" cxnId="{EFA7BB54-3551-475F-8908-04DB62C3BB0F}">
      <dgm:prSet/>
      <dgm:spPr/>
      <dgm:t>
        <a:bodyPr/>
        <a:lstStyle/>
        <a:p>
          <a:endParaRPr lang="en-US"/>
        </a:p>
      </dgm:t>
    </dgm:pt>
    <dgm:pt modelId="{8466C54E-2705-4E1A-97EC-60AD33171AE7}">
      <dgm:prSet/>
      <dgm:spPr/>
      <dgm:t>
        <a:bodyPr/>
        <a:lstStyle/>
        <a:p>
          <a:r>
            <a:rPr lang="en-US"/>
            <a:t>Azure Monitor</a:t>
          </a:r>
        </a:p>
      </dgm:t>
    </dgm:pt>
    <dgm:pt modelId="{1969BF27-1CF1-4EBF-9CBD-DA12ECA79AF2}" type="parTrans" cxnId="{E0FBA524-550F-42FC-95CA-1BB7037B92DC}">
      <dgm:prSet/>
      <dgm:spPr/>
      <dgm:t>
        <a:bodyPr/>
        <a:lstStyle/>
        <a:p>
          <a:endParaRPr lang="en-US"/>
        </a:p>
      </dgm:t>
    </dgm:pt>
    <dgm:pt modelId="{35B46A42-E0EF-4025-914C-7B963B332739}" type="sibTrans" cxnId="{E0FBA524-550F-42FC-95CA-1BB7037B92DC}">
      <dgm:prSet/>
      <dgm:spPr/>
      <dgm:t>
        <a:bodyPr/>
        <a:lstStyle/>
        <a:p>
          <a:endParaRPr lang="en-US"/>
        </a:p>
      </dgm:t>
    </dgm:pt>
    <dgm:pt modelId="{7343C552-6051-4275-9334-B04C975FD478}">
      <dgm:prSet/>
      <dgm:spPr/>
      <dgm:t>
        <a:bodyPr/>
        <a:lstStyle/>
        <a:p>
          <a:r>
            <a:rPr lang="en-US"/>
            <a:t>Azure Security Center</a:t>
          </a:r>
        </a:p>
      </dgm:t>
    </dgm:pt>
    <dgm:pt modelId="{3C49EB1C-7943-4768-9CA5-66211465B2A1}" type="parTrans" cxnId="{752F742F-7CB8-47DC-AB4D-C48FE045F3EE}">
      <dgm:prSet/>
      <dgm:spPr/>
      <dgm:t>
        <a:bodyPr/>
        <a:lstStyle/>
        <a:p>
          <a:endParaRPr lang="en-US"/>
        </a:p>
      </dgm:t>
    </dgm:pt>
    <dgm:pt modelId="{DE5204FB-498D-4D80-AD22-37A588C21671}" type="sibTrans" cxnId="{752F742F-7CB8-47DC-AB4D-C48FE045F3EE}">
      <dgm:prSet/>
      <dgm:spPr/>
      <dgm:t>
        <a:bodyPr/>
        <a:lstStyle/>
        <a:p>
          <a:endParaRPr lang="en-US"/>
        </a:p>
      </dgm:t>
    </dgm:pt>
    <dgm:pt modelId="{FA47D22A-F829-445A-A36E-BD7D91A01CF5}">
      <dgm:prSet/>
      <dgm:spPr/>
      <dgm:t>
        <a:bodyPr/>
        <a:lstStyle/>
        <a:p>
          <a:r>
            <a:rPr lang="en-US"/>
            <a:t>Azure Sentinel</a:t>
          </a:r>
        </a:p>
      </dgm:t>
    </dgm:pt>
    <dgm:pt modelId="{F969599F-BF0A-4137-BD78-298EE9C9C855}" type="parTrans" cxnId="{2D819B8E-45AD-404B-B91A-536DF2C0DE96}">
      <dgm:prSet/>
      <dgm:spPr/>
      <dgm:t>
        <a:bodyPr/>
        <a:lstStyle/>
        <a:p>
          <a:endParaRPr lang="en-US"/>
        </a:p>
      </dgm:t>
    </dgm:pt>
    <dgm:pt modelId="{32AC81A0-1260-47DD-B1BD-AA992CCB1E60}" type="sibTrans" cxnId="{2D819B8E-45AD-404B-B91A-536DF2C0DE96}">
      <dgm:prSet/>
      <dgm:spPr/>
      <dgm:t>
        <a:bodyPr/>
        <a:lstStyle/>
        <a:p>
          <a:endParaRPr lang="en-US"/>
        </a:p>
      </dgm:t>
    </dgm:pt>
    <dgm:pt modelId="{C3DDFDD2-62E1-4528-88E2-662FBD69FDF9}">
      <dgm:prSet/>
      <dgm:spPr/>
      <dgm:t>
        <a:bodyPr/>
        <a:lstStyle/>
        <a:p>
          <a:r>
            <a:rPr lang="en-US"/>
            <a:t>Nessus</a:t>
          </a:r>
        </a:p>
      </dgm:t>
    </dgm:pt>
    <dgm:pt modelId="{9E479A7D-315F-4CEB-9AA7-6D1A206430C5}" type="parTrans" cxnId="{D6BDD1DE-E627-4C98-8EBC-741A9904EA5D}">
      <dgm:prSet/>
      <dgm:spPr/>
      <dgm:t>
        <a:bodyPr/>
        <a:lstStyle/>
        <a:p>
          <a:endParaRPr lang="en-US"/>
        </a:p>
      </dgm:t>
    </dgm:pt>
    <dgm:pt modelId="{980AFC55-4279-4858-B0CF-4B5C6EB508CD}" type="sibTrans" cxnId="{D6BDD1DE-E627-4C98-8EBC-741A9904EA5D}">
      <dgm:prSet/>
      <dgm:spPr/>
      <dgm:t>
        <a:bodyPr/>
        <a:lstStyle/>
        <a:p>
          <a:endParaRPr lang="en-US"/>
        </a:p>
      </dgm:t>
    </dgm:pt>
    <dgm:pt modelId="{B563867E-BA93-4019-BD30-9CD88C6E495C}">
      <dgm:prSet/>
      <dgm:spPr/>
      <dgm:t>
        <a:bodyPr/>
        <a:lstStyle/>
        <a:p>
          <a:r>
            <a:rPr lang="en-US"/>
            <a:t>Rapid7</a:t>
          </a:r>
        </a:p>
      </dgm:t>
    </dgm:pt>
    <dgm:pt modelId="{477D3A39-A6F7-4F06-8E75-4B77A7F6A078}" type="parTrans" cxnId="{4266F4E9-F97A-4E94-B5A5-43A0865F2C21}">
      <dgm:prSet/>
      <dgm:spPr/>
      <dgm:t>
        <a:bodyPr/>
        <a:lstStyle/>
        <a:p>
          <a:endParaRPr lang="en-US"/>
        </a:p>
      </dgm:t>
    </dgm:pt>
    <dgm:pt modelId="{4BBBDD62-6CA0-460F-A2E1-754C78F3EAF1}" type="sibTrans" cxnId="{4266F4E9-F97A-4E94-B5A5-43A0865F2C21}">
      <dgm:prSet/>
      <dgm:spPr/>
      <dgm:t>
        <a:bodyPr/>
        <a:lstStyle/>
        <a:p>
          <a:endParaRPr lang="en-US"/>
        </a:p>
      </dgm:t>
    </dgm:pt>
    <dgm:pt modelId="{E4801E47-BFC4-494A-8582-05CFDDF1FD89}" type="pres">
      <dgm:prSet presAssocID="{4B23713C-AFD9-4171-B943-3DCA86FC3113}" presName="theList" presStyleCnt="0">
        <dgm:presLayoutVars>
          <dgm:dir/>
          <dgm:animLvl val="lvl"/>
          <dgm:resizeHandles val="exact"/>
        </dgm:presLayoutVars>
      </dgm:prSet>
      <dgm:spPr/>
    </dgm:pt>
    <dgm:pt modelId="{9D639319-E7FB-4BCE-A8C7-6C0BBC8220A6}" type="pres">
      <dgm:prSet presAssocID="{B6F6B599-71B4-4EF2-B199-C3C0621C31DD}" presName="compNode" presStyleCnt="0"/>
      <dgm:spPr/>
    </dgm:pt>
    <dgm:pt modelId="{F446CB34-FE98-4FE4-B3B7-7694B22721DC}" type="pres">
      <dgm:prSet presAssocID="{B6F6B599-71B4-4EF2-B199-C3C0621C31DD}" presName="aNode" presStyleLbl="bgShp" presStyleIdx="0" presStyleCnt="4"/>
      <dgm:spPr/>
    </dgm:pt>
    <dgm:pt modelId="{812B57DB-9724-4A3F-9453-B4CB0517433F}" type="pres">
      <dgm:prSet presAssocID="{B6F6B599-71B4-4EF2-B199-C3C0621C31DD}" presName="textNode" presStyleLbl="bgShp" presStyleIdx="0" presStyleCnt="4"/>
      <dgm:spPr/>
    </dgm:pt>
    <dgm:pt modelId="{EF7E8EE0-1217-496D-B834-12DB3790C055}" type="pres">
      <dgm:prSet presAssocID="{B6F6B599-71B4-4EF2-B199-C3C0621C31DD}" presName="compChildNode" presStyleCnt="0"/>
      <dgm:spPr/>
    </dgm:pt>
    <dgm:pt modelId="{34E1CC72-6AC7-440B-968F-002F2B36CB6C}" type="pres">
      <dgm:prSet presAssocID="{B6F6B599-71B4-4EF2-B199-C3C0621C31DD}" presName="theInnerList" presStyleCnt="0"/>
      <dgm:spPr/>
    </dgm:pt>
    <dgm:pt modelId="{955649A4-A1DE-42B2-B133-7D03A33B6DE4}" type="pres">
      <dgm:prSet presAssocID="{C0BABB27-C0D7-4D00-83E6-1769C0042103}" presName="childNode" presStyleLbl="node1" presStyleIdx="0" presStyleCnt="18">
        <dgm:presLayoutVars>
          <dgm:bulletEnabled val="1"/>
        </dgm:presLayoutVars>
      </dgm:prSet>
      <dgm:spPr/>
    </dgm:pt>
    <dgm:pt modelId="{310FB2D6-379C-493F-BD8A-9DC41D3A6389}" type="pres">
      <dgm:prSet presAssocID="{C0BABB27-C0D7-4D00-83E6-1769C0042103}" presName="aSpace2" presStyleCnt="0"/>
      <dgm:spPr/>
    </dgm:pt>
    <dgm:pt modelId="{B66A4224-C9D9-4455-B443-C5C154BB4E0D}" type="pres">
      <dgm:prSet presAssocID="{1613D993-3D40-48C3-AE54-DA20BB0CA265}" presName="childNode" presStyleLbl="node1" presStyleIdx="1" presStyleCnt="18">
        <dgm:presLayoutVars>
          <dgm:bulletEnabled val="1"/>
        </dgm:presLayoutVars>
      </dgm:prSet>
      <dgm:spPr/>
    </dgm:pt>
    <dgm:pt modelId="{CC794001-B8A3-4AD8-A0F5-CC642410B058}" type="pres">
      <dgm:prSet presAssocID="{1613D993-3D40-48C3-AE54-DA20BB0CA265}" presName="aSpace2" presStyleCnt="0"/>
      <dgm:spPr/>
    </dgm:pt>
    <dgm:pt modelId="{0771C796-D0CF-4C02-9326-B3006978195D}" type="pres">
      <dgm:prSet presAssocID="{02DE49B0-156E-465E-926B-54C9AF3A84C3}" presName="childNode" presStyleLbl="node1" presStyleIdx="2" presStyleCnt="18">
        <dgm:presLayoutVars>
          <dgm:bulletEnabled val="1"/>
        </dgm:presLayoutVars>
      </dgm:prSet>
      <dgm:spPr/>
    </dgm:pt>
    <dgm:pt modelId="{DC1E8F1F-980C-4557-B073-FD1BD4AD877E}" type="pres">
      <dgm:prSet presAssocID="{02DE49B0-156E-465E-926B-54C9AF3A84C3}" presName="aSpace2" presStyleCnt="0"/>
      <dgm:spPr/>
    </dgm:pt>
    <dgm:pt modelId="{B77E7A94-2925-468E-9790-8EE96C66448E}" type="pres">
      <dgm:prSet presAssocID="{ABF92229-308A-47F1-8C4E-2E194C5E975B}" presName="childNode" presStyleLbl="node1" presStyleIdx="3" presStyleCnt="18">
        <dgm:presLayoutVars>
          <dgm:bulletEnabled val="1"/>
        </dgm:presLayoutVars>
      </dgm:prSet>
      <dgm:spPr/>
    </dgm:pt>
    <dgm:pt modelId="{CC0DC915-9A1B-4183-864F-D18F4C504B4B}" type="pres">
      <dgm:prSet presAssocID="{B6F6B599-71B4-4EF2-B199-C3C0621C31DD}" presName="aSpace" presStyleCnt="0"/>
      <dgm:spPr/>
    </dgm:pt>
    <dgm:pt modelId="{07165B0B-709C-4965-B38E-A3B61CB233D8}" type="pres">
      <dgm:prSet presAssocID="{EFFC0CFF-3E80-40BE-9EA9-2A9FA6041344}" presName="compNode" presStyleCnt="0"/>
      <dgm:spPr/>
    </dgm:pt>
    <dgm:pt modelId="{323BD091-2807-451B-959A-5E4C1748EB34}" type="pres">
      <dgm:prSet presAssocID="{EFFC0CFF-3E80-40BE-9EA9-2A9FA6041344}" presName="aNode" presStyleLbl="bgShp" presStyleIdx="1" presStyleCnt="4"/>
      <dgm:spPr/>
    </dgm:pt>
    <dgm:pt modelId="{0E3598AD-9F66-4B67-BEFF-6D5FF203F40A}" type="pres">
      <dgm:prSet presAssocID="{EFFC0CFF-3E80-40BE-9EA9-2A9FA6041344}" presName="textNode" presStyleLbl="bgShp" presStyleIdx="1" presStyleCnt="4"/>
      <dgm:spPr/>
    </dgm:pt>
    <dgm:pt modelId="{AA474AAD-B0F2-4E29-9848-E8A75CAF99E5}" type="pres">
      <dgm:prSet presAssocID="{EFFC0CFF-3E80-40BE-9EA9-2A9FA6041344}" presName="compChildNode" presStyleCnt="0"/>
      <dgm:spPr/>
    </dgm:pt>
    <dgm:pt modelId="{8528ACB6-42AA-4413-ADCD-F887AEE70780}" type="pres">
      <dgm:prSet presAssocID="{EFFC0CFF-3E80-40BE-9EA9-2A9FA6041344}" presName="theInnerList" presStyleCnt="0"/>
      <dgm:spPr/>
    </dgm:pt>
    <dgm:pt modelId="{68E2A7E0-C302-4B3C-847D-BF0FD9BF24D3}" type="pres">
      <dgm:prSet presAssocID="{7244C96A-64BB-4795-A8B1-119C54E9D0E1}" presName="childNode" presStyleLbl="node1" presStyleIdx="4" presStyleCnt="18">
        <dgm:presLayoutVars>
          <dgm:bulletEnabled val="1"/>
        </dgm:presLayoutVars>
      </dgm:prSet>
      <dgm:spPr/>
    </dgm:pt>
    <dgm:pt modelId="{AE73F789-1124-4E0F-9280-F80752BBC668}" type="pres">
      <dgm:prSet presAssocID="{7244C96A-64BB-4795-A8B1-119C54E9D0E1}" presName="aSpace2" presStyleCnt="0"/>
      <dgm:spPr/>
    </dgm:pt>
    <dgm:pt modelId="{B25BB084-9001-469E-9D20-30903ED7FC4C}" type="pres">
      <dgm:prSet presAssocID="{84553CF7-320A-4FB9-85DF-7D16D74A2004}" presName="childNode" presStyleLbl="node1" presStyleIdx="5" presStyleCnt="18">
        <dgm:presLayoutVars>
          <dgm:bulletEnabled val="1"/>
        </dgm:presLayoutVars>
      </dgm:prSet>
      <dgm:spPr/>
    </dgm:pt>
    <dgm:pt modelId="{94461B77-6EE5-48B9-8F57-D1AA76F7D729}" type="pres">
      <dgm:prSet presAssocID="{84553CF7-320A-4FB9-85DF-7D16D74A2004}" presName="aSpace2" presStyleCnt="0"/>
      <dgm:spPr/>
    </dgm:pt>
    <dgm:pt modelId="{E1843C76-E1E9-45C0-92EF-38C91282C3D8}" type="pres">
      <dgm:prSet presAssocID="{89A5110D-9DF7-4979-ACB6-76B680D62AE2}" presName="childNode" presStyleLbl="node1" presStyleIdx="6" presStyleCnt="18">
        <dgm:presLayoutVars>
          <dgm:bulletEnabled val="1"/>
        </dgm:presLayoutVars>
      </dgm:prSet>
      <dgm:spPr/>
    </dgm:pt>
    <dgm:pt modelId="{56A65BC4-5FB6-467B-B3A5-22D5A6B9633C}" type="pres">
      <dgm:prSet presAssocID="{89A5110D-9DF7-4979-ACB6-76B680D62AE2}" presName="aSpace2" presStyleCnt="0"/>
      <dgm:spPr/>
    </dgm:pt>
    <dgm:pt modelId="{265DBF38-27F9-4273-9735-2FD1B60E28A7}" type="pres">
      <dgm:prSet presAssocID="{11881CD4-0DC1-4236-85B5-D2B08AB2A848}" presName="childNode" presStyleLbl="node1" presStyleIdx="7" presStyleCnt="18">
        <dgm:presLayoutVars>
          <dgm:bulletEnabled val="1"/>
        </dgm:presLayoutVars>
      </dgm:prSet>
      <dgm:spPr/>
    </dgm:pt>
    <dgm:pt modelId="{8D246456-F40E-4B93-83A2-8D4086ACD841}" type="pres">
      <dgm:prSet presAssocID="{11881CD4-0DC1-4236-85B5-D2B08AB2A848}" presName="aSpace2" presStyleCnt="0"/>
      <dgm:spPr/>
    </dgm:pt>
    <dgm:pt modelId="{63D219D2-784D-4EC3-8502-4F0CA15C29DD}" type="pres">
      <dgm:prSet presAssocID="{36AAA01E-DDB1-4C71-BDF0-915ABD760CF4}" presName="childNode" presStyleLbl="node1" presStyleIdx="8" presStyleCnt="18">
        <dgm:presLayoutVars>
          <dgm:bulletEnabled val="1"/>
        </dgm:presLayoutVars>
      </dgm:prSet>
      <dgm:spPr/>
    </dgm:pt>
    <dgm:pt modelId="{01972E9F-1D39-46B0-B192-88CC31367786}" type="pres">
      <dgm:prSet presAssocID="{36AAA01E-DDB1-4C71-BDF0-915ABD760CF4}" presName="aSpace2" presStyleCnt="0"/>
      <dgm:spPr/>
    </dgm:pt>
    <dgm:pt modelId="{B2917DDA-5721-4D2A-BBFA-E26F2DE14C6F}" type="pres">
      <dgm:prSet presAssocID="{EE499A23-5EAE-456C-8AE1-69928A5FA0BB}" presName="childNode" presStyleLbl="node1" presStyleIdx="9" presStyleCnt="18">
        <dgm:presLayoutVars>
          <dgm:bulletEnabled val="1"/>
        </dgm:presLayoutVars>
      </dgm:prSet>
      <dgm:spPr/>
    </dgm:pt>
    <dgm:pt modelId="{786E8EDD-8D58-44A7-A9E7-7D47AA484E72}" type="pres">
      <dgm:prSet presAssocID="{EE499A23-5EAE-456C-8AE1-69928A5FA0BB}" presName="aSpace2" presStyleCnt="0"/>
      <dgm:spPr/>
    </dgm:pt>
    <dgm:pt modelId="{82076843-F1C3-46CB-8A17-23E0099BD520}" type="pres">
      <dgm:prSet presAssocID="{90B9511B-33A4-496D-A7DF-D4308A77659D}" presName="childNode" presStyleLbl="node1" presStyleIdx="10" presStyleCnt="18">
        <dgm:presLayoutVars>
          <dgm:bulletEnabled val="1"/>
        </dgm:presLayoutVars>
      </dgm:prSet>
      <dgm:spPr/>
    </dgm:pt>
    <dgm:pt modelId="{D54E116C-6A5B-4A19-BD86-4B0B8AE309BD}" type="pres">
      <dgm:prSet presAssocID="{EFFC0CFF-3E80-40BE-9EA9-2A9FA6041344}" presName="aSpace" presStyleCnt="0"/>
      <dgm:spPr/>
    </dgm:pt>
    <dgm:pt modelId="{D0FA91DA-A559-4A90-9FAC-2693B8265EA8}" type="pres">
      <dgm:prSet presAssocID="{4481154D-3152-4240-A105-E05F6B75B958}" presName="compNode" presStyleCnt="0"/>
      <dgm:spPr/>
    </dgm:pt>
    <dgm:pt modelId="{781427A0-0F1C-4448-B5D0-FAFB6DE14F90}" type="pres">
      <dgm:prSet presAssocID="{4481154D-3152-4240-A105-E05F6B75B958}" presName="aNode" presStyleLbl="bgShp" presStyleIdx="2" presStyleCnt="4"/>
      <dgm:spPr/>
    </dgm:pt>
    <dgm:pt modelId="{62E44ED3-0DA4-4EE2-9295-C6A35667886B}" type="pres">
      <dgm:prSet presAssocID="{4481154D-3152-4240-A105-E05F6B75B958}" presName="textNode" presStyleLbl="bgShp" presStyleIdx="2" presStyleCnt="4"/>
      <dgm:spPr/>
    </dgm:pt>
    <dgm:pt modelId="{7AAA857D-52BA-4778-815A-E8D79DF9A7EA}" type="pres">
      <dgm:prSet presAssocID="{4481154D-3152-4240-A105-E05F6B75B958}" presName="compChildNode" presStyleCnt="0"/>
      <dgm:spPr/>
    </dgm:pt>
    <dgm:pt modelId="{6E609351-D405-4E96-B829-786FA9B22EE0}" type="pres">
      <dgm:prSet presAssocID="{4481154D-3152-4240-A105-E05F6B75B958}" presName="theInnerList" presStyleCnt="0"/>
      <dgm:spPr/>
    </dgm:pt>
    <dgm:pt modelId="{05CB1D8A-0CBC-46DD-95A9-A53D901DB72B}" type="pres">
      <dgm:prSet presAssocID="{1D6F4CAE-D53A-4FEC-A32A-11EE986D6558}" presName="childNode" presStyleLbl="node1" presStyleIdx="11" presStyleCnt="18">
        <dgm:presLayoutVars>
          <dgm:bulletEnabled val="1"/>
        </dgm:presLayoutVars>
      </dgm:prSet>
      <dgm:spPr/>
    </dgm:pt>
    <dgm:pt modelId="{6DB3256F-6596-42F5-B85A-F2BD222EAC16}" type="pres">
      <dgm:prSet presAssocID="{1D6F4CAE-D53A-4FEC-A32A-11EE986D6558}" presName="aSpace2" presStyleCnt="0"/>
      <dgm:spPr/>
    </dgm:pt>
    <dgm:pt modelId="{1E464789-E15C-45DA-A267-B3B66E060533}" type="pres">
      <dgm:prSet presAssocID="{2E13D9CC-ECC4-4C7A-AC84-74CD1BCBF904}" presName="childNode" presStyleLbl="node1" presStyleIdx="12" presStyleCnt="18">
        <dgm:presLayoutVars>
          <dgm:bulletEnabled val="1"/>
        </dgm:presLayoutVars>
      </dgm:prSet>
      <dgm:spPr/>
    </dgm:pt>
    <dgm:pt modelId="{6687DAC8-8B9B-4164-ACE0-9248657F0B8E}" type="pres">
      <dgm:prSet presAssocID="{2E13D9CC-ECC4-4C7A-AC84-74CD1BCBF904}" presName="aSpace2" presStyleCnt="0"/>
      <dgm:spPr/>
    </dgm:pt>
    <dgm:pt modelId="{623767CF-FA82-49B9-AE64-27C6C39B3DA2}" type="pres">
      <dgm:prSet presAssocID="{C3DDFDD2-62E1-4528-88E2-662FBD69FDF9}" presName="childNode" presStyleLbl="node1" presStyleIdx="13" presStyleCnt="18">
        <dgm:presLayoutVars>
          <dgm:bulletEnabled val="1"/>
        </dgm:presLayoutVars>
      </dgm:prSet>
      <dgm:spPr/>
    </dgm:pt>
    <dgm:pt modelId="{58592E00-AFD2-4449-94D1-32F21B42140F}" type="pres">
      <dgm:prSet presAssocID="{C3DDFDD2-62E1-4528-88E2-662FBD69FDF9}" presName="aSpace2" presStyleCnt="0"/>
      <dgm:spPr/>
    </dgm:pt>
    <dgm:pt modelId="{20CC7913-2425-4E0D-B4E1-A53030551462}" type="pres">
      <dgm:prSet presAssocID="{B563867E-BA93-4019-BD30-9CD88C6E495C}" presName="childNode" presStyleLbl="node1" presStyleIdx="14" presStyleCnt="18">
        <dgm:presLayoutVars>
          <dgm:bulletEnabled val="1"/>
        </dgm:presLayoutVars>
      </dgm:prSet>
      <dgm:spPr/>
    </dgm:pt>
    <dgm:pt modelId="{F3CAA952-E334-4E7F-9EDB-D87A5E016C91}" type="pres">
      <dgm:prSet presAssocID="{4481154D-3152-4240-A105-E05F6B75B958}" presName="aSpace" presStyleCnt="0"/>
      <dgm:spPr/>
    </dgm:pt>
    <dgm:pt modelId="{F4AB1575-4923-40B4-82C1-2A60AC77A89F}" type="pres">
      <dgm:prSet presAssocID="{EBE54E27-70C4-4C7F-9A5C-C8B0A66900AE}" presName="compNode" presStyleCnt="0"/>
      <dgm:spPr/>
    </dgm:pt>
    <dgm:pt modelId="{F0F054A9-D314-4F96-92F6-D359A4F57D11}" type="pres">
      <dgm:prSet presAssocID="{EBE54E27-70C4-4C7F-9A5C-C8B0A66900AE}" presName="aNode" presStyleLbl="bgShp" presStyleIdx="3" presStyleCnt="4"/>
      <dgm:spPr/>
    </dgm:pt>
    <dgm:pt modelId="{E6DB1230-4770-41EA-8377-9B8C93B7C827}" type="pres">
      <dgm:prSet presAssocID="{EBE54E27-70C4-4C7F-9A5C-C8B0A66900AE}" presName="textNode" presStyleLbl="bgShp" presStyleIdx="3" presStyleCnt="4"/>
      <dgm:spPr/>
    </dgm:pt>
    <dgm:pt modelId="{18C59F13-9479-4FDB-8F49-CAF493D7B94C}" type="pres">
      <dgm:prSet presAssocID="{EBE54E27-70C4-4C7F-9A5C-C8B0A66900AE}" presName="compChildNode" presStyleCnt="0"/>
      <dgm:spPr/>
    </dgm:pt>
    <dgm:pt modelId="{19067F9C-CD81-4B91-8E4D-2A24DB9B6BA9}" type="pres">
      <dgm:prSet presAssocID="{EBE54E27-70C4-4C7F-9A5C-C8B0A66900AE}" presName="theInnerList" presStyleCnt="0"/>
      <dgm:spPr/>
    </dgm:pt>
    <dgm:pt modelId="{0BD005AA-E3EA-4809-BD3C-E71D4BE2639E}" type="pres">
      <dgm:prSet presAssocID="{8466C54E-2705-4E1A-97EC-60AD33171AE7}" presName="childNode" presStyleLbl="node1" presStyleIdx="15" presStyleCnt="18">
        <dgm:presLayoutVars>
          <dgm:bulletEnabled val="1"/>
        </dgm:presLayoutVars>
      </dgm:prSet>
      <dgm:spPr/>
    </dgm:pt>
    <dgm:pt modelId="{F4E69AED-F01A-4D9C-BD22-FB7B389AA14F}" type="pres">
      <dgm:prSet presAssocID="{8466C54E-2705-4E1A-97EC-60AD33171AE7}" presName="aSpace2" presStyleCnt="0"/>
      <dgm:spPr/>
    </dgm:pt>
    <dgm:pt modelId="{1E5D8FFF-796F-41A2-ABA4-5A0D9C247486}" type="pres">
      <dgm:prSet presAssocID="{7343C552-6051-4275-9334-B04C975FD478}" presName="childNode" presStyleLbl="node1" presStyleIdx="16" presStyleCnt="18">
        <dgm:presLayoutVars>
          <dgm:bulletEnabled val="1"/>
        </dgm:presLayoutVars>
      </dgm:prSet>
      <dgm:spPr/>
    </dgm:pt>
    <dgm:pt modelId="{6C49FA80-10F6-4FFE-AC99-FBF7337528E7}" type="pres">
      <dgm:prSet presAssocID="{7343C552-6051-4275-9334-B04C975FD478}" presName="aSpace2" presStyleCnt="0"/>
      <dgm:spPr/>
    </dgm:pt>
    <dgm:pt modelId="{02037A6D-EAD8-4231-981A-75DA68D81D14}" type="pres">
      <dgm:prSet presAssocID="{FA47D22A-F829-445A-A36E-BD7D91A01CF5}" presName="childNode" presStyleLbl="node1" presStyleIdx="17" presStyleCnt="18">
        <dgm:presLayoutVars>
          <dgm:bulletEnabled val="1"/>
        </dgm:presLayoutVars>
      </dgm:prSet>
      <dgm:spPr/>
    </dgm:pt>
  </dgm:ptLst>
  <dgm:cxnLst>
    <dgm:cxn modelId="{DE68F006-43C3-45AD-8CA5-5253E9523B59}" type="presOf" srcId="{7343C552-6051-4275-9334-B04C975FD478}" destId="{1E5D8FFF-796F-41A2-ABA4-5A0D9C247486}" srcOrd="0" destOrd="0" presId="urn:microsoft.com/office/officeart/2005/8/layout/lProcess2"/>
    <dgm:cxn modelId="{CA21A909-F808-4F53-9553-D354A5446744}" srcId="{B6F6B599-71B4-4EF2-B199-C3C0621C31DD}" destId="{1613D993-3D40-48C3-AE54-DA20BB0CA265}" srcOrd="1" destOrd="0" parTransId="{8A1FAA81-5E0B-42E2-BD56-6AA88061CD3C}" sibTransId="{9ABA4C03-E45D-4BEC-8FC8-72D53032C38A}"/>
    <dgm:cxn modelId="{746BB90D-4765-40C8-8C67-BA866CD330CD}" type="presOf" srcId="{EFFC0CFF-3E80-40BE-9EA9-2A9FA6041344}" destId="{323BD091-2807-451B-959A-5E4C1748EB34}" srcOrd="0" destOrd="0" presId="urn:microsoft.com/office/officeart/2005/8/layout/lProcess2"/>
    <dgm:cxn modelId="{AE7EF712-48EB-4E2A-B4AE-14710143EFBB}" srcId="{EFFC0CFF-3E80-40BE-9EA9-2A9FA6041344}" destId="{84553CF7-320A-4FB9-85DF-7D16D74A2004}" srcOrd="1" destOrd="0" parTransId="{FB1CB2A5-81F3-440C-9509-0A79F5A6D18B}" sibTransId="{CBC9565C-402E-478D-B3BA-16A14E979A32}"/>
    <dgm:cxn modelId="{BFEB581A-41FE-4854-B957-7E509AC60F69}" srcId="{4B23713C-AFD9-4171-B943-3DCA86FC3113}" destId="{EFFC0CFF-3E80-40BE-9EA9-2A9FA6041344}" srcOrd="1" destOrd="0" parTransId="{1A744FDB-6B73-49C1-A21D-5370C2CF6227}" sibTransId="{75700CA1-C3E8-4FEE-8D34-218936E7873E}"/>
    <dgm:cxn modelId="{0A376121-7411-4F84-8106-F48881E0D712}" type="presOf" srcId="{89A5110D-9DF7-4979-ACB6-76B680D62AE2}" destId="{E1843C76-E1E9-45C0-92EF-38C91282C3D8}" srcOrd="0" destOrd="0" presId="urn:microsoft.com/office/officeart/2005/8/layout/lProcess2"/>
    <dgm:cxn modelId="{0E5CF622-6DBF-4366-934B-414D6A1A609D}" srcId="{EFFC0CFF-3E80-40BE-9EA9-2A9FA6041344}" destId="{11881CD4-0DC1-4236-85B5-D2B08AB2A848}" srcOrd="3" destOrd="0" parTransId="{CDE0F7D1-0C4C-44B0-AF32-C928850FFA44}" sibTransId="{FC5161A0-292B-4A77-A57A-BE43E2C3B5C3}"/>
    <dgm:cxn modelId="{E0FBA524-550F-42FC-95CA-1BB7037B92DC}" srcId="{EBE54E27-70C4-4C7F-9A5C-C8B0A66900AE}" destId="{8466C54E-2705-4E1A-97EC-60AD33171AE7}" srcOrd="0" destOrd="0" parTransId="{1969BF27-1CF1-4EBF-9CBD-DA12ECA79AF2}" sibTransId="{35B46A42-E0EF-4025-914C-7B963B332739}"/>
    <dgm:cxn modelId="{FD74AC2D-B553-4431-9EE0-E4C102367455}" type="presOf" srcId="{1613D993-3D40-48C3-AE54-DA20BB0CA265}" destId="{B66A4224-C9D9-4455-B443-C5C154BB4E0D}" srcOrd="0" destOrd="0" presId="urn:microsoft.com/office/officeart/2005/8/layout/lProcess2"/>
    <dgm:cxn modelId="{66A0502E-63D1-46C6-8B2C-E928A724F964}" srcId="{EFFC0CFF-3E80-40BE-9EA9-2A9FA6041344}" destId="{7244C96A-64BB-4795-A8B1-119C54E9D0E1}" srcOrd="0" destOrd="0" parTransId="{B1C02423-C9E9-4C8C-89C6-F8CAA22F16B7}" sibTransId="{0A750C8C-23B0-4E7B-BB16-27A18E8B5014}"/>
    <dgm:cxn modelId="{752F742F-7CB8-47DC-AB4D-C48FE045F3EE}" srcId="{EBE54E27-70C4-4C7F-9A5C-C8B0A66900AE}" destId="{7343C552-6051-4275-9334-B04C975FD478}" srcOrd="1" destOrd="0" parTransId="{3C49EB1C-7943-4768-9CA5-66211465B2A1}" sibTransId="{DE5204FB-498D-4D80-AD22-37A588C21671}"/>
    <dgm:cxn modelId="{895CBC32-6A09-4177-8EE2-AC5C55786671}" type="presOf" srcId="{4481154D-3152-4240-A105-E05F6B75B958}" destId="{62E44ED3-0DA4-4EE2-9295-C6A35667886B}" srcOrd="1" destOrd="0" presId="urn:microsoft.com/office/officeart/2005/8/layout/lProcess2"/>
    <dgm:cxn modelId="{17CF0034-50FD-44AA-8CF0-50BAC9BAEDDD}" type="presOf" srcId="{C0BABB27-C0D7-4D00-83E6-1769C0042103}" destId="{955649A4-A1DE-42B2-B133-7D03A33B6DE4}" srcOrd="0" destOrd="0" presId="urn:microsoft.com/office/officeart/2005/8/layout/lProcess2"/>
    <dgm:cxn modelId="{B8D0A739-206C-4F7B-8512-42FA82088444}" type="presOf" srcId="{4481154D-3152-4240-A105-E05F6B75B958}" destId="{781427A0-0F1C-4448-B5D0-FAFB6DE14F90}" srcOrd="0" destOrd="0" presId="urn:microsoft.com/office/officeart/2005/8/layout/lProcess2"/>
    <dgm:cxn modelId="{E3737A3E-DC5B-4CA5-B856-B86C6097DADA}" type="presOf" srcId="{B6F6B599-71B4-4EF2-B199-C3C0621C31DD}" destId="{812B57DB-9724-4A3F-9453-B4CB0517433F}" srcOrd="1" destOrd="0" presId="urn:microsoft.com/office/officeart/2005/8/layout/lProcess2"/>
    <dgm:cxn modelId="{7C121A40-DD9A-4735-8450-98E2B7F2723F}" srcId="{4481154D-3152-4240-A105-E05F6B75B958}" destId="{2E13D9CC-ECC4-4C7A-AC84-74CD1BCBF904}" srcOrd="1" destOrd="0" parTransId="{2EC00D68-3BF6-4287-8549-1E43DD084326}" sibTransId="{F72AB48D-405F-4CAB-8B30-F11555ED5A39}"/>
    <dgm:cxn modelId="{06FB445B-EACF-45EE-971B-C50E2EA50597}" srcId="{B6F6B599-71B4-4EF2-B199-C3C0621C31DD}" destId="{02DE49B0-156E-465E-926B-54C9AF3A84C3}" srcOrd="2" destOrd="0" parTransId="{D914B994-CED6-4557-AD06-FD658CE37641}" sibTransId="{AE734FDF-48A6-4CAF-A564-FD61EB9A1113}"/>
    <dgm:cxn modelId="{D703BA43-57FF-464C-9A9D-906880741D32}" type="presOf" srcId="{EFFC0CFF-3E80-40BE-9EA9-2A9FA6041344}" destId="{0E3598AD-9F66-4B67-BEFF-6D5FF203F40A}" srcOrd="1" destOrd="0" presId="urn:microsoft.com/office/officeart/2005/8/layout/lProcess2"/>
    <dgm:cxn modelId="{4139AB46-3A31-42AF-A0C1-753AA852B9EE}" type="presOf" srcId="{EE499A23-5EAE-456C-8AE1-69928A5FA0BB}" destId="{B2917DDA-5721-4D2A-BBFA-E26F2DE14C6F}" srcOrd="0" destOrd="0" presId="urn:microsoft.com/office/officeart/2005/8/layout/lProcess2"/>
    <dgm:cxn modelId="{ACD7EC66-D357-4E79-B4CC-2FA49E3780DE}" srcId="{EFFC0CFF-3E80-40BE-9EA9-2A9FA6041344}" destId="{EE499A23-5EAE-456C-8AE1-69928A5FA0BB}" srcOrd="5" destOrd="0" parTransId="{0B62562A-E99F-4C80-AB6F-3EC6542AE2DE}" sibTransId="{46BF1370-7F44-4EB4-A18A-6BB8395666BD}"/>
    <dgm:cxn modelId="{E4F54E4C-3105-4C3C-B382-EBB7341FE74A}" type="presOf" srcId="{36AAA01E-DDB1-4C71-BDF0-915ABD760CF4}" destId="{63D219D2-784D-4EC3-8502-4F0CA15C29DD}" srcOrd="0" destOrd="0" presId="urn:microsoft.com/office/officeart/2005/8/layout/lProcess2"/>
    <dgm:cxn modelId="{EFA7BB54-3551-475F-8908-04DB62C3BB0F}" srcId="{4B23713C-AFD9-4171-B943-3DCA86FC3113}" destId="{EBE54E27-70C4-4C7F-9A5C-C8B0A66900AE}" srcOrd="3" destOrd="0" parTransId="{7D19BBF6-3D4C-42AC-93DF-22C2826A3B8B}" sibTransId="{E090A80B-9F99-4878-ADB6-6431CB90A3A1}"/>
    <dgm:cxn modelId="{DEA03256-BFFA-4193-A466-EFCBBE9B468D}" srcId="{EFFC0CFF-3E80-40BE-9EA9-2A9FA6041344}" destId="{89A5110D-9DF7-4979-ACB6-76B680D62AE2}" srcOrd="2" destOrd="0" parTransId="{872B43ED-E585-4CCB-B313-22064C830CDB}" sibTransId="{F2458A2F-2973-44E4-9BF1-309AF440E1A5}"/>
    <dgm:cxn modelId="{8D3C0C80-AFFB-4DC5-B00C-B74502618AF8}" type="presOf" srcId="{C3DDFDD2-62E1-4528-88E2-662FBD69FDF9}" destId="{623767CF-FA82-49B9-AE64-27C6C39B3DA2}" srcOrd="0" destOrd="0" presId="urn:microsoft.com/office/officeart/2005/8/layout/lProcess2"/>
    <dgm:cxn modelId="{D30D5E81-7BB1-410F-910B-633F873AF865}" srcId="{EFFC0CFF-3E80-40BE-9EA9-2A9FA6041344}" destId="{90B9511B-33A4-496D-A7DF-D4308A77659D}" srcOrd="6" destOrd="0" parTransId="{A13B2039-8701-4FA4-8C86-EFE6F61AEB9A}" sibTransId="{BB275A50-1EE6-4754-95AC-80F7009D5684}"/>
    <dgm:cxn modelId="{C9B0C18B-700D-4A26-8660-8EA66F68973E}" type="presOf" srcId="{8466C54E-2705-4E1A-97EC-60AD33171AE7}" destId="{0BD005AA-E3EA-4809-BD3C-E71D4BE2639E}" srcOrd="0" destOrd="0" presId="urn:microsoft.com/office/officeart/2005/8/layout/lProcess2"/>
    <dgm:cxn modelId="{2D819B8E-45AD-404B-B91A-536DF2C0DE96}" srcId="{EBE54E27-70C4-4C7F-9A5C-C8B0A66900AE}" destId="{FA47D22A-F829-445A-A36E-BD7D91A01CF5}" srcOrd="2" destOrd="0" parTransId="{F969599F-BF0A-4137-BD78-298EE9C9C855}" sibTransId="{32AC81A0-1260-47DD-B1BD-AA992CCB1E60}"/>
    <dgm:cxn modelId="{A849399C-26DC-46B8-A7FD-68A550C7D4B0}" type="presOf" srcId="{11881CD4-0DC1-4236-85B5-D2B08AB2A848}" destId="{265DBF38-27F9-4273-9735-2FD1B60E28A7}" srcOrd="0" destOrd="0" presId="urn:microsoft.com/office/officeart/2005/8/layout/lProcess2"/>
    <dgm:cxn modelId="{40BEBDA2-7886-4C92-9C84-E6CC5AAB58DE}" type="presOf" srcId="{02DE49B0-156E-465E-926B-54C9AF3A84C3}" destId="{0771C796-D0CF-4C02-9326-B3006978195D}" srcOrd="0" destOrd="0" presId="urn:microsoft.com/office/officeart/2005/8/layout/lProcess2"/>
    <dgm:cxn modelId="{A36C9BA6-6F35-487B-B924-D9120B593BC9}" srcId="{4481154D-3152-4240-A105-E05F6B75B958}" destId="{1D6F4CAE-D53A-4FEC-A32A-11EE986D6558}" srcOrd="0" destOrd="0" parTransId="{E15B98B5-06E3-46ED-9C0F-80C03F15B5CF}" sibTransId="{D12B2EFA-8B4D-489C-8175-405DFF44A859}"/>
    <dgm:cxn modelId="{BA8C9CAE-957B-459A-B178-E56867497426}" type="presOf" srcId="{4B23713C-AFD9-4171-B943-3DCA86FC3113}" destId="{E4801E47-BFC4-494A-8582-05CFDDF1FD89}" srcOrd="0" destOrd="0" presId="urn:microsoft.com/office/officeart/2005/8/layout/lProcess2"/>
    <dgm:cxn modelId="{617671B7-8C79-4548-941E-66D0102A4321}" type="presOf" srcId="{EBE54E27-70C4-4C7F-9A5C-C8B0A66900AE}" destId="{E6DB1230-4770-41EA-8377-9B8C93B7C827}" srcOrd="1" destOrd="0" presId="urn:microsoft.com/office/officeart/2005/8/layout/lProcess2"/>
    <dgm:cxn modelId="{B5F9EABF-66D0-449C-9503-2A38930FC078}" type="presOf" srcId="{B563867E-BA93-4019-BD30-9CD88C6E495C}" destId="{20CC7913-2425-4E0D-B4E1-A53030551462}" srcOrd="0" destOrd="0" presId="urn:microsoft.com/office/officeart/2005/8/layout/lProcess2"/>
    <dgm:cxn modelId="{2CC93CCD-A8D8-4544-BAF0-ADBEF3FF79F2}" type="presOf" srcId="{ABF92229-308A-47F1-8C4E-2E194C5E975B}" destId="{B77E7A94-2925-468E-9790-8EE96C66448E}" srcOrd="0" destOrd="0" presId="urn:microsoft.com/office/officeart/2005/8/layout/lProcess2"/>
    <dgm:cxn modelId="{664E52D2-6534-4FC2-8024-B1CB4690D973}" srcId="{B6F6B599-71B4-4EF2-B199-C3C0621C31DD}" destId="{ABF92229-308A-47F1-8C4E-2E194C5E975B}" srcOrd="3" destOrd="0" parTransId="{51CB4C9C-4402-4B49-A43A-774B830EFAFE}" sibTransId="{F899C2E9-050F-40DE-B30A-18A9DDE2B792}"/>
    <dgm:cxn modelId="{5E8778D2-590E-4060-91B0-3B170A8DE2A7}" srcId="{B6F6B599-71B4-4EF2-B199-C3C0621C31DD}" destId="{C0BABB27-C0D7-4D00-83E6-1769C0042103}" srcOrd="0" destOrd="0" parTransId="{0A8C1A0D-9094-4C0E-9C8F-60D0301DC8E4}" sibTransId="{9E034C39-5D6C-4066-A91E-A02214F45536}"/>
    <dgm:cxn modelId="{59C063D4-C80D-4925-A171-455581BBA02D}" type="presOf" srcId="{EBE54E27-70C4-4C7F-9A5C-C8B0A66900AE}" destId="{F0F054A9-D314-4F96-92F6-D359A4F57D11}" srcOrd="0" destOrd="0" presId="urn:microsoft.com/office/officeart/2005/8/layout/lProcess2"/>
    <dgm:cxn modelId="{63A336D8-54FA-43DC-9E5B-9E153CA82C02}" type="presOf" srcId="{84553CF7-320A-4FB9-85DF-7D16D74A2004}" destId="{B25BB084-9001-469E-9D20-30903ED7FC4C}" srcOrd="0" destOrd="0" presId="urn:microsoft.com/office/officeart/2005/8/layout/lProcess2"/>
    <dgm:cxn modelId="{D6BDD1DE-E627-4C98-8EBC-741A9904EA5D}" srcId="{4481154D-3152-4240-A105-E05F6B75B958}" destId="{C3DDFDD2-62E1-4528-88E2-662FBD69FDF9}" srcOrd="2" destOrd="0" parTransId="{9E479A7D-315F-4CEB-9AA7-6D1A206430C5}" sibTransId="{980AFC55-4279-4858-B0CF-4B5C6EB508CD}"/>
    <dgm:cxn modelId="{C6C69DE4-CAD3-4104-AB8C-DA19216CFFB1}" type="presOf" srcId="{2E13D9CC-ECC4-4C7A-AC84-74CD1BCBF904}" destId="{1E464789-E15C-45DA-A267-B3B66E060533}" srcOrd="0" destOrd="0" presId="urn:microsoft.com/office/officeart/2005/8/layout/lProcess2"/>
    <dgm:cxn modelId="{4266F4E9-F97A-4E94-B5A5-43A0865F2C21}" srcId="{4481154D-3152-4240-A105-E05F6B75B958}" destId="{B563867E-BA93-4019-BD30-9CD88C6E495C}" srcOrd="3" destOrd="0" parTransId="{477D3A39-A6F7-4F06-8E75-4B77A7F6A078}" sibTransId="{4BBBDD62-6CA0-460F-A2E1-754C78F3EAF1}"/>
    <dgm:cxn modelId="{35631FEB-0E31-495D-B123-8F7376AE8BF4}" type="presOf" srcId="{FA47D22A-F829-445A-A36E-BD7D91A01CF5}" destId="{02037A6D-EAD8-4231-981A-75DA68D81D14}" srcOrd="0" destOrd="0" presId="urn:microsoft.com/office/officeart/2005/8/layout/lProcess2"/>
    <dgm:cxn modelId="{1B4ADDED-3E19-4F2C-8294-86F6F0732CF3}" srcId="{4B23713C-AFD9-4171-B943-3DCA86FC3113}" destId="{4481154D-3152-4240-A105-E05F6B75B958}" srcOrd="2" destOrd="0" parTransId="{0DC4D902-82FE-4762-B50C-9E3545C66B48}" sibTransId="{B4DDBE1C-547B-41C6-9048-6A3F385AC65B}"/>
    <dgm:cxn modelId="{9F94C9EE-52A6-4ABD-90EB-CD5B5F39B9DB}" type="presOf" srcId="{7244C96A-64BB-4795-A8B1-119C54E9D0E1}" destId="{68E2A7E0-C302-4B3C-847D-BF0FD9BF24D3}" srcOrd="0" destOrd="0" presId="urn:microsoft.com/office/officeart/2005/8/layout/lProcess2"/>
    <dgm:cxn modelId="{350514EF-AD0B-4B6B-BE1C-BC17B957388C}" srcId="{EFFC0CFF-3E80-40BE-9EA9-2A9FA6041344}" destId="{36AAA01E-DDB1-4C71-BDF0-915ABD760CF4}" srcOrd="4" destOrd="0" parTransId="{160BFCBD-EE9A-47F2-AE44-3CB42E924704}" sibTransId="{D2842A70-14A4-4748-9442-29AED3C467B9}"/>
    <dgm:cxn modelId="{BA698CF6-BF3D-4ED0-B94D-27D78BA52985}" type="presOf" srcId="{1D6F4CAE-D53A-4FEC-A32A-11EE986D6558}" destId="{05CB1D8A-0CBC-46DD-95A9-A53D901DB72B}" srcOrd="0" destOrd="0" presId="urn:microsoft.com/office/officeart/2005/8/layout/lProcess2"/>
    <dgm:cxn modelId="{DA5975F9-5D24-4337-B7D5-3AD83FC5FFF8}" type="presOf" srcId="{90B9511B-33A4-496D-A7DF-D4308A77659D}" destId="{82076843-F1C3-46CB-8A17-23E0099BD520}" srcOrd="0" destOrd="0" presId="urn:microsoft.com/office/officeart/2005/8/layout/lProcess2"/>
    <dgm:cxn modelId="{8BEBC9FA-FBFE-4FC5-B725-41DEB768A752}" type="presOf" srcId="{B6F6B599-71B4-4EF2-B199-C3C0621C31DD}" destId="{F446CB34-FE98-4FE4-B3B7-7694B22721DC}" srcOrd="0" destOrd="0" presId="urn:microsoft.com/office/officeart/2005/8/layout/lProcess2"/>
    <dgm:cxn modelId="{1B100FFE-4883-429E-B6A5-30F44AB0FF82}" srcId="{4B23713C-AFD9-4171-B943-3DCA86FC3113}" destId="{B6F6B599-71B4-4EF2-B199-C3C0621C31DD}" srcOrd="0" destOrd="0" parTransId="{5C02F61E-5A16-4881-85F4-B86A41532635}" sibTransId="{9B19A77F-386E-429A-8BDB-A1DF8E482B3B}"/>
    <dgm:cxn modelId="{30C5246C-FE22-4358-9AD9-7BA90A38C15E}" type="presParOf" srcId="{E4801E47-BFC4-494A-8582-05CFDDF1FD89}" destId="{9D639319-E7FB-4BCE-A8C7-6C0BBC8220A6}" srcOrd="0" destOrd="0" presId="urn:microsoft.com/office/officeart/2005/8/layout/lProcess2"/>
    <dgm:cxn modelId="{384A1950-8B57-4BA6-AFE9-12A4A0D4465D}" type="presParOf" srcId="{9D639319-E7FB-4BCE-A8C7-6C0BBC8220A6}" destId="{F446CB34-FE98-4FE4-B3B7-7694B22721DC}" srcOrd="0" destOrd="0" presId="urn:microsoft.com/office/officeart/2005/8/layout/lProcess2"/>
    <dgm:cxn modelId="{A121CF8D-952E-450E-B6AE-EC0F2278C367}" type="presParOf" srcId="{9D639319-E7FB-4BCE-A8C7-6C0BBC8220A6}" destId="{812B57DB-9724-4A3F-9453-B4CB0517433F}" srcOrd="1" destOrd="0" presId="urn:microsoft.com/office/officeart/2005/8/layout/lProcess2"/>
    <dgm:cxn modelId="{262DD0E0-FA34-439D-8B94-D06E69154EC7}" type="presParOf" srcId="{9D639319-E7FB-4BCE-A8C7-6C0BBC8220A6}" destId="{EF7E8EE0-1217-496D-B834-12DB3790C055}" srcOrd="2" destOrd="0" presId="urn:microsoft.com/office/officeart/2005/8/layout/lProcess2"/>
    <dgm:cxn modelId="{63BE2177-4EB6-48A3-82B9-DBA63BA834F8}" type="presParOf" srcId="{EF7E8EE0-1217-496D-B834-12DB3790C055}" destId="{34E1CC72-6AC7-440B-968F-002F2B36CB6C}" srcOrd="0" destOrd="0" presId="urn:microsoft.com/office/officeart/2005/8/layout/lProcess2"/>
    <dgm:cxn modelId="{3CB62946-2794-455A-A71C-83BE2223810B}" type="presParOf" srcId="{34E1CC72-6AC7-440B-968F-002F2B36CB6C}" destId="{955649A4-A1DE-42B2-B133-7D03A33B6DE4}" srcOrd="0" destOrd="0" presId="urn:microsoft.com/office/officeart/2005/8/layout/lProcess2"/>
    <dgm:cxn modelId="{DEA89EB1-EFDC-4740-87F4-857EF8E5BE07}" type="presParOf" srcId="{34E1CC72-6AC7-440B-968F-002F2B36CB6C}" destId="{310FB2D6-379C-493F-BD8A-9DC41D3A6389}" srcOrd="1" destOrd="0" presId="urn:microsoft.com/office/officeart/2005/8/layout/lProcess2"/>
    <dgm:cxn modelId="{95B51479-5597-440C-8B30-73A156B7D564}" type="presParOf" srcId="{34E1CC72-6AC7-440B-968F-002F2B36CB6C}" destId="{B66A4224-C9D9-4455-B443-C5C154BB4E0D}" srcOrd="2" destOrd="0" presId="urn:microsoft.com/office/officeart/2005/8/layout/lProcess2"/>
    <dgm:cxn modelId="{9C004D01-5A6F-4234-A1CA-4384CEE3EF2F}" type="presParOf" srcId="{34E1CC72-6AC7-440B-968F-002F2B36CB6C}" destId="{CC794001-B8A3-4AD8-A0F5-CC642410B058}" srcOrd="3" destOrd="0" presId="urn:microsoft.com/office/officeart/2005/8/layout/lProcess2"/>
    <dgm:cxn modelId="{0EAB04F0-904D-4321-A0E9-C2FCFBEAC4D2}" type="presParOf" srcId="{34E1CC72-6AC7-440B-968F-002F2B36CB6C}" destId="{0771C796-D0CF-4C02-9326-B3006978195D}" srcOrd="4" destOrd="0" presId="urn:microsoft.com/office/officeart/2005/8/layout/lProcess2"/>
    <dgm:cxn modelId="{C5714286-D793-4B76-823A-09E847B99EA1}" type="presParOf" srcId="{34E1CC72-6AC7-440B-968F-002F2B36CB6C}" destId="{DC1E8F1F-980C-4557-B073-FD1BD4AD877E}" srcOrd="5" destOrd="0" presId="urn:microsoft.com/office/officeart/2005/8/layout/lProcess2"/>
    <dgm:cxn modelId="{8869EEE7-3F8F-4E31-AF5C-AC40DFB1D3A5}" type="presParOf" srcId="{34E1CC72-6AC7-440B-968F-002F2B36CB6C}" destId="{B77E7A94-2925-468E-9790-8EE96C66448E}" srcOrd="6" destOrd="0" presId="urn:microsoft.com/office/officeart/2005/8/layout/lProcess2"/>
    <dgm:cxn modelId="{70097408-0E59-4E67-88F5-257E075C810C}" type="presParOf" srcId="{E4801E47-BFC4-494A-8582-05CFDDF1FD89}" destId="{CC0DC915-9A1B-4183-864F-D18F4C504B4B}" srcOrd="1" destOrd="0" presId="urn:microsoft.com/office/officeart/2005/8/layout/lProcess2"/>
    <dgm:cxn modelId="{63B1021E-62D2-4204-BBF2-C5C067AD13A5}" type="presParOf" srcId="{E4801E47-BFC4-494A-8582-05CFDDF1FD89}" destId="{07165B0B-709C-4965-B38E-A3B61CB233D8}" srcOrd="2" destOrd="0" presId="urn:microsoft.com/office/officeart/2005/8/layout/lProcess2"/>
    <dgm:cxn modelId="{97A4D9C7-CE93-4B16-BD52-4273B9253B16}" type="presParOf" srcId="{07165B0B-709C-4965-B38E-A3B61CB233D8}" destId="{323BD091-2807-451B-959A-5E4C1748EB34}" srcOrd="0" destOrd="0" presId="urn:microsoft.com/office/officeart/2005/8/layout/lProcess2"/>
    <dgm:cxn modelId="{82266642-6E9D-4F72-8118-812845B471D1}" type="presParOf" srcId="{07165B0B-709C-4965-B38E-A3B61CB233D8}" destId="{0E3598AD-9F66-4B67-BEFF-6D5FF203F40A}" srcOrd="1" destOrd="0" presId="urn:microsoft.com/office/officeart/2005/8/layout/lProcess2"/>
    <dgm:cxn modelId="{A9449B11-A6D3-4B51-B2A7-F4BE3D70708B}" type="presParOf" srcId="{07165B0B-709C-4965-B38E-A3B61CB233D8}" destId="{AA474AAD-B0F2-4E29-9848-E8A75CAF99E5}" srcOrd="2" destOrd="0" presId="urn:microsoft.com/office/officeart/2005/8/layout/lProcess2"/>
    <dgm:cxn modelId="{793E3FC9-D843-4E78-9CD3-C07F744C0CFE}" type="presParOf" srcId="{AA474AAD-B0F2-4E29-9848-E8A75CAF99E5}" destId="{8528ACB6-42AA-4413-ADCD-F887AEE70780}" srcOrd="0" destOrd="0" presId="urn:microsoft.com/office/officeart/2005/8/layout/lProcess2"/>
    <dgm:cxn modelId="{97BBD560-3264-4815-9E38-B653C60CFB6A}" type="presParOf" srcId="{8528ACB6-42AA-4413-ADCD-F887AEE70780}" destId="{68E2A7E0-C302-4B3C-847D-BF0FD9BF24D3}" srcOrd="0" destOrd="0" presId="urn:microsoft.com/office/officeart/2005/8/layout/lProcess2"/>
    <dgm:cxn modelId="{849A2E0A-33D2-481B-8294-FBEB8A03C61F}" type="presParOf" srcId="{8528ACB6-42AA-4413-ADCD-F887AEE70780}" destId="{AE73F789-1124-4E0F-9280-F80752BBC668}" srcOrd="1" destOrd="0" presId="urn:microsoft.com/office/officeart/2005/8/layout/lProcess2"/>
    <dgm:cxn modelId="{A6F99EE8-F7BD-4956-AD57-F016E8884F66}" type="presParOf" srcId="{8528ACB6-42AA-4413-ADCD-F887AEE70780}" destId="{B25BB084-9001-469E-9D20-30903ED7FC4C}" srcOrd="2" destOrd="0" presId="urn:microsoft.com/office/officeart/2005/8/layout/lProcess2"/>
    <dgm:cxn modelId="{63CE1A95-512C-4447-80D1-DCBB0FDBC85C}" type="presParOf" srcId="{8528ACB6-42AA-4413-ADCD-F887AEE70780}" destId="{94461B77-6EE5-48B9-8F57-D1AA76F7D729}" srcOrd="3" destOrd="0" presId="urn:microsoft.com/office/officeart/2005/8/layout/lProcess2"/>
    <dgm:cxn modelId="{F625EA4F-7965-4525-9D26-8DED65843E8E}" type="presParOf" srcId="{8528ACB6-42AA-4413-ADCD-F887AEE70780}" destId="{E1843C76-E1E9-45C0-92EF-38C91282C3D8}" srcOrd="4" destOrd="0" presId="urn:microsoft.com/office/officeart/2005/8/layout/lProcess2"/>
    <dgm:cxn modelId="{A6E91B81-5C8C-4F5F-AEFE-923B1E700EB2}" type="presParOf" srcId="{8528ACB6-42AA-4413-ADCD-F887AEE70780}" destId="{56A65BC4-5FB6-467B-B3A5-22D5A6B9633C}" srcOrd="5" destOrd="0" presId="urn:microsoft.com/office/officeart/2005/8/layout/lProcess2"/>
    <dgm:cxn modelId="{896AE11B-EBB2-4767-BFA3-632F82CE7EDE}" type="presParOf" srcId="{8528ACB6-42AA-4413-ADCD-F887AEE70780}" destId="{265DBF38-27F9-4273-9735-2FD1B60E28A7}" srcOrd="6" destOrd="0" presId="urn:microsoft.com/office/officeart/2005/8/layout/lProcess2"/>
    <dgm:cxn modelId="{CD5AF968-351C-4DA2-BDAE-0761327E3118}" type="presParOf" srcId="{8528ACB6-42AA-4413-ADCD-F887AEE70780}" destId="{8D246456-F40E-4B93-83A2-8D4086ACD841}" srcOrd="7" destOrd="0" presId="urn:microsoft.com/office/officeart/2005/8/layout/lProcess2"/>
    <dgm:cxn modelId="{4DE2A7A8-4279-41CC-93DF-F9E7EBD5F927}" type="presParOf" srcId="{8528ACB6-42AA-4413-ADCD-F887AEE70780}" destId="{63D219D2-784D-4EC3-8502-4F0CA15C29DD}" srcOrd="8" destOrd="0" presId="urn:microsoft.com/office/officeart/2005/8/layout/lProcess2"/>
    <dgm:cxn modelId="{DCE5E657-98AF-4C33-85D1-CAA2CD384421}" type="presParOf" srcId="{8528ACB6-42AA-4413-ADCD-F887AEE70780}" destId="{01972E9F-1D39-46B0-B192-88CC31367786}" srcOrd="9" destOrd="0" presId="urn:microsoft.com/office/officeart/2005/8/layout/lProcess2"/>
    <dgm:cxn modelId="{CB8B2D96-4D74-4A6E-80B0-8AAECE752230}" type="presParOf" srcId="{8528ACB6-42AA-4413-ADCD-F887AEE70780}" destId="{B2917DDA-5721-4D2A-BBFA-E26F2DE14C6F}" srcOrd="10" destOrd="0" presId="urn:microsoft.com/office/officeart/2005/8/layout/lProcess2"/>
    <dgm:cxn modelId="{CB450E05-D016-40BB-8A2D-F83F14ACC296}" type="presParOf" srcId="{8528ACB6-42AA-4413-ADCD-F887AEE70780}" destId="{786E8EDD-8D58-44A7-A9E7-7D47AA484E72}" srcOrd="11" destOrd="0" presId="urn:microsoft.com/office/officeart/2005/8/layout/lProcess2"/>
    <dgm:cxn modelId="{AD2DAEC7-4D01-4283-B705-489462C79507}" type="presParOf" srcId="{8528ACB6-42AA-4413-ADCD-F887AEE70780}" destId="{82076843-F1C3-46CB-8A17-23E0099BD520}" srcOrd="12" destOrd="0" presId="urn:microsoft.com/office/officeart/2005/8/layout/lProcess2"/>
    <dgm:cxn modelId="{520F6C1B-4533-4004-8AFC-3661FE861BAF}" type="presParOf" srcId="{E4801E47-BFC4-494A-8582-05CFDDF1FD89}" destId="{D54E116C-6A5B-4A19-BD86-4B0B8AE309BD}" srcOrd="3" destOrd="0" presId="urn:microsoft.com/office/officeart/2005/8/layout/lProcess2"/>
    <dgm:cxn modelId="{C73745A2-17DE-4F1F-93BA-08C360E7500B}" type="presParOf" srcId="{E4801E47-BFC4-494A-8582-05CFDDF1FD89}" destId="{D0FA91DA-A559-4A90-9FAC-2693B8265EA8}" srcOrd="4" destOrd="0" presId="urn:microsoft.com/office/officeart/2005/8/layout/lProcess2"/>
    <dgm:cxn modelId="{FA20E54A-F7AE-452C-946E-C03671401AC4}" type="presParOf" srcId="{D0FA91DA-A559-4A90-9FAC-2693B8265EA8}" destId="{781427A0-0F1C-4448-B5D0-FAFB6DE14F90}" srcOrd="0" destOrd="0" presId="urn:microsoft.com/office/officeart/2005/8/layout/lProcess2"/>
    <dgm:cxn modelId="{66651898-AC39-41BF-BACD-BBCB5E0929AE}" type="presParOf" srcId="{D0FA91DA-A559-4A90-9FAC-2693B8265EA8}" destId="{62E44ED3-0DA4-4EE2-9295-C6A35667886B}" srcOrd="1" destOrd="0" presId="urn:microsoft.com/office/officeart/2005/8/layout/lProcess2"/>
    <dgm:cxn modelId="{A18720F5-433B-4036-A935-271EA14DE7AE}" type="presParOf" srcId="{D0FA91DA-A559-4A90-9FAC-2693B8265EA8}" destId="{7AAA857D-52BA-4778-815A-E8D79DF9A7EA}" srcOrd="2" destOrd="0" presId="urn:microsoft.com/office/officeart/2005/8/layout/lProcess2"/>
    <dgm:cxn modelId="{4BF720AA-B995-4011-BF18-6E7F8272C3E9}" type="presParOf" srcId="{7AAA857D-52BA-4778-815A-E8D79DF9A7EA}" destId="{6E609351-D405-4E96-B829-786FA9B22EE0}" srcOrd="0" destOrd="0" presId="urn:microsoft.com/office/officeart/2005/8/layout/lProcess2"/>
    <dgm:cxn modelId="{17660B07-9544-4A7A-88AD-F3EF3143977E}" type="presParOf" srcId="{6E609351-D405-4E96-B829-786FA9B22EE0}" destId="{05CB1D8A-0CBC-46DD-95A9-A53D901DB72B}" srcOrd="0" destOrd="0" presId="urn:microsoft.com/office/officeart/2005/8/layout/lProcess2"/>
    <dgm:cxn modelId="{0D8E56EB-5340-48A7-AA67-825A91200FC4}" type="presParOf" srcId="{6E609351-D405-4E96-B829-786FA9B22EE0}" destId="{6DB3256F-6596-42F5-B85A-F2BD222EAC16}" srcOrd="1" destOrd="0" presId="urn:microsoft.com/office/officeart/2005/8/layout/lProcess2"/>
    <dgm:cxn modelId="{61C19289-3DE0-4D04-8E18-E3A62FDD824C}" type="presParOf" srcId="{6E609351-D405-4E96-B829-786FA9B22EE0}" destId="{1E464789-E15C-45DA-A267-B3B66E060533}" srcOrd="2" destOrd="0" presId="urn:microsoft.com/office/officeart/2005/8/layout/lProcess2"/>
    <dgm:cxn modelId="{4E0FE5F5-98E4-4F89-9B0D-DDDEF24E40D9}" type="presParOf" srcId="{6E609351-D405-4E96-B829-786FA9B22EE0}" destId="{6687DAC8-8B9B-4164-ACE0-9248657F0B8E}" srcOrd="3" destOrd="0" presId="urn:microsoft.com/office/officeart/2005/8/layout/lProcess2"/>
    <dgm:cxn modelId="{A46406A1-BDE1-4DDC-9B67-DE8E2196CE03}" type="presParOf" srcId="{6E609351-D405-4E96-B829-786FA9B22EE0}" destId="{623767CF-FA82-49B9-AE64-27C6C39B3DA2}" srcOrd="4" destOrd="0" presId="urn:microsoft.com/office/officeart/2005/8/layout/lProcess2"/>
    <dgm:cxn modelId="{DDE42540-6929-48D9-BF57-B89C744781A8}" type="presParOf" srcId="{6E609351-D405-4E96-B829-786FA9B22EE0}" destId="{58592E00-AFD2-4449-94D1-32F21B42140F}" srcOrd="5" destOrd="0" presId="urn:microsoft.com/office/officeart/2005/8/layout/lProcess2"/>
    <dgm:cxn modelId="{A8B5886F-BFF0-4385-8ACF-6A8DB4976E4E}" type="presParOf" srcId="{6E609351-D405-4E96-B829-786FA9B22EE0}" destId="{20CC7913-2425-4E0D-B4E1-A53030551462}" srcOrd="6" destOrd="0" presId="urn:microsoft.com/office/officeart/2005/8/layout/lProcess2"/>
    <dgm:cxn modelId="{99AAC64B-0BBA-4456-AAB4-70CC665C3CDA}" type="presParOf" srcId="{E4801E47-BFC4-494A-8582-05CFDDF1FD89}" destId="{F3CAA952-E334-4E7F-9EDB-D87A5E016C91}" srcOrd="5" destOrd="0" presId="urn:microsoft.com/office/officeart/2005/8/layout/lProcess2"/>
    <dgm:cxn modelId="{10024CDE-B352-46F7-81E0-30ADF5BAE4A4}" type="presParOf" srcId="{E4801E47-BFC4-494A-8582-05CFDDF1FD89}" destId="{F4AB1575-4923-40B4-82C1-2A60AC77A89F}" srcOrd="6" destOrd="0" presId="urn:microsoft.com/office/officeart/2005/8/layout/lProcess2"/>
    <dgm:cxn modelId="{DEAD5391-B5D2-459E-B361-08EB565DD4CB}" type="presParOf" srcId="{F4AB1575-4923-40B4-82C1-2A60AC77A89F}" destId="{F0F054A9-D314-4F96-92F6-D359A4F57D11}" srcOrd="0" destOrd="0" presId="urn:microsoft.com/office/officeart/2005/8/layout/lProcess2"/>
    <dgm:cxn modelId="{CD08A4FA-F9FA-4E46-872E-DB03FACD06EE}" type="presParOf" srcId="{F4AB1575-4923-40B4-82C1-2A60AC77A89F}" destId="{E6DB1230-4770-41EA-8377-9B8C93B7C827}" srcOrd="1" destOrd="0" presId="urn:microsoft.com/office/officeart/2005/8/layout/lProcess2"/>
    <dgm:cxn modelId="{31224C9C-BD16-45F4-B0F5-8D3A132B25C8}" type="presParOf" srcId="{F4AB1575-4923-40B4-82C1-2A60AC77A89F}" destId="{18C59F13-9479-4FDB-8F49-CAF493D7B94C}" srcOrd="2" destOrd="0" presId="urn:microsoft.com/office/officeart/2005/8/layout/lProcess2"/>
    <dgm:cxn modelId="{C4E2FD5C-8A2D-4444-9A80-D621CDEDFDC3}" type="presParOf" srcId="{18C59F13-9479-4FDB-8F49-CAF493D7B94C}" destId="{19067F9C-CD81-4B91-8E4D-2A24DB9B6BA9}" srcOrd="0" destOrd="0" presId="urn:microsoft.com/office/officeart/2005/8/layout/lProcess2"/>
    <dgm:cxn modelId="{1772DB2A-3282-4374-9F05-D5E32D968630}" type="presParOf" srcId="{19067F9C-CD81-4B91-8E4D-2A24DB9B6BA9}" destId="{0BD005AA-E3EA-4809-BD3C-E71D4BE2639E}" srcOrd="0" destOrd="0" presId="urn:microsoft.com/office/officeart/2005/8/layout/lProcess2"/>
    <dgm:cxn modelId="{C0BCE76E-614C-4CA2-B907-A97240D9C8AB}" type="presParOf" srcId="{19067F9C-CD81-4B91-8E4D-2A24DB9B6BA9}" destId="{F4E69AED-F01A-4D9C-BD22-FB7B389AA14F}" srcOrd="1" destOrd="0" presId="urn:microsoft.com/office/officeart/2005/8/layout/lProcess2"/>
    <dgm:cxn modelId="{E63C17F6-51E5-45EF-8F5C-24E2770E8E32}" type="presParOf" srcId="{19067F9C-CD81-4B91-8E4D-2A24DB9B6BA9}" destId="{1E5D8FFF-796F-41A2-ABA4-5A0D9C247486}" srcOrd="2" destOrd="0" presId="urn:microsoft.com/office/officeart/2005/8/layout/lProcess2"/>
    <dgm:cxn modelId="{0A6333E6-8A35-4418-B46D-78644724B6AF}" type="presParOf" srcId="{19067F9C-CD81-4B91-8E4D-2A24DB9B6BA9}" destId="{6C49FA80-10F6-4FFE-AC99-FBF7337528E7}" srcOrd="3" destOrd="0" presId="urn:microsoft.com/office/officeart/2005/8/layout/lProcess2"/>
    <dgm:cxn modelId="{64FF9E30-9CB5-4623-B3FC-10B68CCAF21A}" type="presParOf" srcId="{19067F9C-CD81-4B91-8E4D-2A24DB9B6BA9}" destId="{02037A6D-EAD8-4231-981A-75DA68D81D14}" srcOrd="4"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23713C-AFD9-4171-B943-3DCA86FC3113}"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B6F6B599-71B4-4EF2-B199-C3C0621C31DD}">
      <dgm:prSet phldrT="[Text]"/>
      <dgm:spPr/>
      <dgm:t>
        <a:bodyPr/>
        <a:lstStyle/>
        <a:p>
          <a:r>
            <a:rPr lang="en-US"/>
            <a:t>Privileged access, secrets management &amp; network isolation</a:t>
          </a:r>
        </a:p>
      </dgm:t>
    </dgm:pt>
    <dgm:pt modelId="{5C02F61E-5A16-4881-85F4-B86A41532635}" type="parTrans" cxnId="{1B100FFE-4883-429E-B6A5-30F44AB0FF82}">
      <dgm:prSet/>
      <dgm:spPr/>
      <dgm:t>
        <a:bodyPr/>
        <a:lstStyle/>
        <a:p>
          <a:endParaRPr lang="en-US"/>
        </a:p>
      </dgm:t>
    </dgm:pt>
    <dgm:pt modelId="{9B19A77F-386E-429A-8BDB-A1DF8E482B3B}" type="sibTrans" cxnId="{1B100FFE-4883-429E-B6A5-30F44AB0FF82}">
      <dgm:prSet/>
      <dgm:spPr/>
      <dgm:t>
        <a:bodyPr/>
        <a:lstStyle/>
        <a:p>
          <a:endParaRPr lang="en-US"/>
        </a:p>
      </dgm:t>
    </dgm:pt>
    <dgm:pt modelId="{AD9322EC-24E8-49A6-9EA1-A381205DCD7B}">
      <dgm:prSet phldrT="[Text]"/>
      <dgm:spPr/>
      <dgm:t>
        <a:bodyPr/>
        <a:lstStyle/>
        <a:p>
          <a:r>
            <a:rPr lang="en-IN">
              <a:latin typeface="Calibri"/>
              <a:cs typeface="Calibri"/>
            </a:rPr>
            <a:t>Application, Infrastructure and Data Protection </a:t>
          </a:r>
          <a:endParaRPr lang="en-US"/>
        </a:p>
      </dgm:t>
    </dgm:pt>
    <dgm:pt modelId="{7F0C17BD-2261-4466-BF21-5E4A4BFD17DE}" type="parTrans" cxnId="{AE1E76D2-4029-4222-8C0E-B8B9935ED20A}">
      <dgm:prSet/>
      <dgm:spPr/>
      <dgm:t>
        <a:bodyPr/>
        <a:lstStyle/>
        <a:p>
          <a:endParaRPr lang="en-US"/>
        </a:p>
      </dgm:t>
    </dgm:pt>
    <dgm:pt modelId="{3411D84F-4187-48CB-96A2-36D57907F9F5}" type="sibTrans" cxnId="{AE1E76D2-4029-4222-8C0E-B8B9935ED20A}">
      <dgm:prSet/>
      <dgm:spPr/>
      <dgm:t>
        <a:bodyPr/>
        <a:lstStyle/>
        <a:p>
          <a:endParaRPr lang="en-US"/>
        </a:p>
      </dgm:t>
    </dgm:pt>
    <dgm:pt modelId="{7244C96A-64BB-4795-A8B1-119C54E9D0E1}">
      <dgm:prSet phldrT="[Text]"/>
      <dgm:spPr/>
      <dgm:t>
        <a:bodyPr/>
        <a:lstStyle/>
        <a:p>
          <a:pPr rtl="0"/>
          <a:r>
            <a:rPr lang="en-US"/>
            <a:t>Protection from a variety of risks including OWASP’s top 10 vulnerabilities, injections</a:t>
          </a:r>
          <a:r>
            <a:rPr lang="en-US">
              <a:latin typeface="Segoe UI Light"/>
            </a:rPr>
            <a:t> etc..</a:t>
          </a:r>
          <a:r>
            <a:rPr lang="en-US"/>
            <a:t> </a:t>
          </a:r>
          <a:r>
            <a:rPr lang="en-US">
              <a:latin typeface="Segoe UI Light"/>
            </a:rPr>
            <a:t>using</a:t>
          </a:r>
          <a:r>
            <a:rPr lang="en-US"/>
            <a:t> necessary rules in web application firewalls </a:t>
          </a:r>
        </a:p>
      </dgm:t>
    </dgm:pt>
    <dgm:pt modelId="{B1C02423-C9E9-4C8C-89C6-F8CAA22F16B7}" type="parTrans" cxnId="{66A0502E-63D1-46C6-8B2C-E928A724F964}">
      <dgm:prSet/>
      <dgm:spPr/>
      <dgm:t>
        <a:bodyPr/>
        <a:lstStyle/>
        <a:p>
          <a:endParaRPr lang="en-US"/>
        </a:p>
      </dgm:t>
    </dgm:pt>
    <dgm:pt modelId="{0A750C8C-23B0-4E7B-BB16-27A18E8B5014}" type="sibTrans" cxnId="{66A0502E-63D1-46C6-8B2C-E928A724F964}">
      <dgm:prSet/>
      <dgm:spPr/>
      <dgm:t>
        <a:bodyPr/>
        <a:lstStyle/>
        <a:p>
          <a:endParaRPr lang="en-US"/>
        </a:p>
      </dgm:t>
    </dgm:pt>
    <dgm:pt modelId="{C0BABB27-C0D7-4D00-83E6-1769C0042103}">
      <dgm:prSet/>
      <dgm:spPr/>
      <dgm:t>
        <a:bodyPr/>
        <a:lstStyle/>
        <a:p>
          <a:pPr rtl="0"/>
          <a:r>
            <a:rPr lang="en-US">
              <a:latin typeface="Segoe UI Light"/>
            </a:rPr>
            <a:t>Clear seggregation of DMZ</a:t>
          </a:r>
          <a:endParaRPr lang="en-US"/>
        </a:p>
      </dgm:t>
    </dgm:pt>
    <dgm:pt modelId="{0A8C1A0D-9094-4C0E-9C8F-60D0301DC8E4}" type="parTrans" cxnId="{5E8778D2-590E-4060-91B0-3B170A8DE2A7}">
      <dgm:prSet/>
      <dgm:spPr/>
      <dgm:t>
        <a:bodyPr/>
        <a:lstStyle/>
        <a:p>
          <a:endParaRPr lang="en-US"/>
        </a:p>
      </dgm:t>
    </dgm:pt>
    <dgm:pt modelId="{9E034C39-5D6C-4066-A91E-A02214F45536}" type="sibTrans" cxnId="{5E8778D2-590E-4060-91B0-3B170A8DE2A7}">
      <dgm:prSet/>
      <dgm:spPr/>
      <dgm:t>
        <a:bodyPr/>
        <a:lstStyle/>
        <a:p>
          <a:endParaRPr lang="en-US"/>
        </a:p>
      </dgm:t>
    </dgm:pt>
    <dgm:pt modelId="{4481154D-3152-4240-A105-E05F6B75B958}">
      <dgm:prSet/>
      <dgm:spPr/>
      <dgm:t>
        <a:bodyPr/>
        <a:lstStyle/>
        <a:p>
          <a:r>
            <a:rPr lang="en-IN"/>
            <a:t>Vulnerability Scanning</a:t>
          </a:r>
          <a:endParaRPr lang="en-US">
            <a:cs typeface="Segoe UI"/>
          </a:endParaRPr>
        </a:p>
      </dgm:t>
    </dgm:pt>
    <dgm:pt modelId="{0DC4D902-82FE-4762-B50C-9E3545C66B48}" type="parTrans" cxnId="{1B4ADDED-3E19-4F2C-8294-86F6F0732CF3}">
      <dgm:prSet/>
      <dgm:spPr/>
      <dgm:t>
        <a:bodyPr/>
        <a:lstStyle/>
        <a:p>
          <a:endParaRPr lang="en-US"/>
        </a:p>
      </dgm:t>
    </dgm:pt>
    <dgm:pt modelId="{B4DDBE1C-547B-41C6-9048-6A3F385AC65B}" type="sibTrans" cxnId="{1B4ADDED-3E19-4F2C-8294-86F6F0732CF3}">
      <dgm:prSet/>
      <dgm:spPr/>
      <dgm:t>
        <a:bodyPr/>
        <a:lstStyle/>
        <a:p>
          <a:endParaRPr lang="en-US"/>
        </a:p>
      </dgm:t>
    </dgm:pt>
    <dgm:pt modelId="{1D6F4CAE-D53A-4FEC-A32A-11EE986D6558}">
      <dgm:prSet/>
      <dgm:spPr/>
      <dgm:t>
        <a:bodyPr/>
        <a:lstStyle/>
        <a:p>
          <a:r>
            <a:rPr lang="en-US"/>
            <a:t>Regular checks and validations of CIS benchmarks for the servers and images</a:t>
          </a:r>
          <a:endParaRPr lang="en-US">
            <a:cs typeface="Segoe UI"/>
          </a:endParaRPr>
        </a:p>
      </dgm:t>
    </dgm:pt>
    <dgm:pt modelId="{E15B98B5-06E3-46ED-9C0F-80C03F15B5CF}" type="parTrans" cxnId="{A36C9BA6-6F35-487B-B924-D9120B593BC9}">
      <dgm:prSet/>
      <dgm:spPr/>
      <dgm:t>
        <a:bodyPr/>
        <a:lstStyle/>
        <a:p>
          <a:endParaRPr lang="en-US"/>
        </a:p>
      </dgm:t>
    </dgm:pt>
    <dgm:pt modelId="{D12B2EFA-8B4D-489C-8175-405DFF44A859}" type="sibTrans" cxnId="{A36C9BA6-6F35-487B-B924-D9120B593BC9}">
      <dgm:prSet/>
      <dgm:spPr/>
      <dgm:t>
        <a:bodyPr/>
        <a:lstStyle/>
        <a:p>
          <a:endParaRPr lang="en-US"/>
        </a:p>
      </dgm:t>
    </dgm:pt>
    <dgm:pt modelId="{EBE54E27-70C4-4C7F-9A5C-C8B0A66900AE}">
      <dgm:prSet/>
      <dgm:spPr/>
      <dgm:t>
        <a:bodyPr/>
        <a:lstStyle/>
        <a:p>
          <a:r>
            <a:rPr lang="en-IN"/>
            <a:t>Continuous monitoring &amp; Incident Response</a:t>
          </a:r>
          <a:endParaRPr lang="en-US"/>
        </a:p>
      </dgm:t>
    </dgm:pt>
    <dgm:pt modelId="{7D19BBF6-3D4C-42AC-93DF-22C2826A3B8B}" type="parTrans" cxnId="{EFA7BB54-3551-475F-8908-04DB62C3BB0F}">
      <dgm:prSet/>
      <dgm:spPr/>
      <dgm:t>
        <a:bodyPr/>
        <a:lstStyle/>
        <a:p>
          <a:endParaRPr lang="en-US"/>
        </a:p>
      </dgm:t>
    </dgm:pt>
    <dgm:pt modelId="{E090A80B-9F99-4878-ADB6-6431CB90A3A1}" type="sibTrans" cxnId="{EFA7BB54-3551-475F-8908-04DB62C3BB0F}">
      <dgm:prSet/>
      <dgm:spPr/>
      <dgm:t>
        <a:bodyPr/>
        <a:lstStyle/>
        <a:p>
          <a:endParaRPr lang="en-US"/>
        </a:p>
      </dgm:t>
    </dgm:pt>
    <dgm:pt modelId="{8466C54E-2705-4E1A-97EC-60AD33171AE7}">
      <dgm:prSet/>
      <dgm:spPr/>
      <dgm:t>
        <a:bodyPr/>
        <a:lstStyle/>
        <a:p>
          <a:r>
            <a:rPr lang="en-US"/>
            <a:t>logging and monitoring for all computes, network endpoints and services</a:t>
          </a:r>
        </a:p>
      </dgm:t>
    </dgm:pt>
    <dgm:pt modelId="{1969BF27-1CF1-4EBF-9CBD-DA12ECA79AF2}" type="parTrans" cxnId="{E0FBA524-550F-42FC-95CA-1BB7037B92DC}">
      <dgm:prSet/>
      <dgm:spPr/>
      <dgm:t>
        <a:bodyPr/>
        <a:lstStyle/>
        <a:p>
          <a:endParaRPr lang="en-US"/>
        </a:p>
      </dgm:t>
    </dgm:pt>
    <dgm:pt modelId="{35B46A42-E0EF-4025-914C-7B963B332739}" type="sibTrans" cxnId="{E0FBA524-550F-42FC-95CA-1BB7037B92DC}">
      <dgm:prSet/>
      <dgm:spPr/>
      <dgm:t>
        <a:bodyPr/>
        <a:lstStyle/>
        <a:p>
          <a:endParaRPr lang="en-US"/>
        </a:p>
      </dgm:t>
    </dgm:pt>
    <dgm:pt modelId="{419700CD-1BF4-41A3-A0A6-ECE8C8320291}">
      <dgm:prSet/>
      <dgm:spPr/>
      <dgm:t>
        <a:bodyPr/>
        <a:lstStyle/>
        <a:p>
          <a:r>
            <a:rPr lang="en-US"/>
            <a:t>POLP for the users and roles to login the servers </a:t>
          </a:r>
        </a:p>
      </dgm:t>
    </dgm:pt>
    <dgm:pt modelId="{EB4544F1-43F4-4AA7-928F-500CA5A9FE15}" type="parTrans" cxnId="{E3D20A88-2550-4243-9C15-E9AD66643FED}">
      <dgm:prSet/>
      <dgm:spPr/>
      <dgm:t>
        <a:bodyPr/>
        <a:lstStyle/>
        <a:p>
          <a:endParaRPr lang="en-US"/>
        </a:p>
      </dgm:t>
    </dgm:pt>
    <dgm:pt modelId="{6209D290-9E22-4C73-BC53-FEE82FA1D74B}" type="sibTrans" cxnId="{E3D20A88-2550-4243-9C15-E9AD66643FED}">
      <dgm:prSet/>
      <dgm:spPr/>
      <dgm:t>
        <a:bodyPr/>
        <a:lstStyle/>
        <a:p>
          <a:endParaRPr lang="en-US"/>
        </a:p>
      </dgm:t>
    </dgm:pt>
    <dgm:pt modelId="{2E18F657-7527-4497-8B3C-45C92C33C06A}">
      <dgm:prSet/>
      <dgm:spPr/>
      <dgm:t>
        <a:bodyPr/>
        <a:lstStyle/>
        <a:p>
          <a:r>
            <a:rPr lang="en-US"/>
            <a:t>POLP for service access</a:t>
          </a:r>
        </a:p>
      </dgm:t>
    </dgm:pt>
    <dgm:pt modelId="{DE34097C-F805-435A-B6C9-A226A461627F}" type="parTrans" cxnId="{D9D118EE-3B6E-45EB-8D86-05A3745C8116}">
      <dgm:prSet/>
      <dgm:spPr/>
      <dgm:t>
        <a:bodyPr/>
        <a:lstStyle/>
        <a:p>
          <a:endParaRPr lang="en-US"/>
        </a:p>
      </dgm:t>
    </dgm:pt>
    <dgm:pt modelId="{AFE6A6B5-4AE8-4D32-8562-1C402D1C2749}" type="sibTrans" cxnId="{D9D118EE-3B6E-45EB-8D86-05A3745C8116}">
      <dgm:prSet/>
      <dgm:spPr/>
      <dgm:t>
        <a:bodyPr/>
        <a:lstStyle/>
        <a:p>
          <a:endParaRPr lang="en-US"/>
        </a:p>
      </dgm:t>
    </dgm:pt>
    <dgm:pt modelId="{EC1BF19A-DBA0-4ABA-9D17-5030C61495EA}">
      <dgm:prSet/>
      <dgm:spPr/>
      <dgm:t>
        <a:bodyPr/>
        <a:lstStyle/>
        <a:p>
          <a:pPr rtl="0"/>
          <a:r>
            <a:rPr lang="en-US"/>
            <a:t>Vault or secrets manager</a:t>
          </a:r>
          <a:r>
            <a:rPr lang="en-US">
              <a:latin typeface="Segoe UI Light"/>
            </a:rPr>
            <a:t> to store secrets</a:t>
          </a:r>
          <a:endParaRPr lang="en-US"/>
        </a:p>
      </dgm:t>
    </dgm:pt>
    <dgm:pt modelId="{1B7AADDD-13AC-400D-8F30-F68E3821D892}" type="parTrans" cxnId="{9260FBF1-6DC4-4724-AB30-54CA94BFDC86}">
      <dgm:prSet/>
      <dgm:spPr/>
      <dgm:t>
        <a:bodyPr/>
        <a:lstStyle/>
        <a:p>
          <a:endParaRPr lang="en-US"/>
        </a:p>
      </dgm:t>
    </dgm:pt>
    <dgm:pt modelId="{49825813-DC09-48DD-827E-AA882CFCC097}" type="sibTrans" cxnId="{9260FBF1-6DC4-4724-AB30-54CA94BFDC86}">
      <dgm:prSet/>
      <dgm:spPr/>
      <dgm:t>
        <a:bodyPr/>
        <a:lstStyle/>
        <a:p>
          <a:endParaRPr lang="en-US"/>
        </a:p>
      </dgm:t>
    </dgm:pt>
    <dgm:pt modelId="{5748FB26-E620-4FCA-A761-0C52CF7E2392}">
      <dgm:prSet/>
      <dgm:spPr/>
      <dgm:t>
        <a:bodyPr/>
        <a:lstStyle/>
        <a:p>
          <a:r>
            <a:rPr lang="en-US"/>
            <a:t>Periodic Secrets Rotation </a:t>
          </a:r>
        </a:p>
      </dgm:t>
    </dgm:pt>
    <dgm:pt modelId="{451709C1-E72A-40F3-97C5-E26BAEA19E6E}" type="parTrans" cxnId="{8F3CE7D1-0071-47D6-A16E-A2EBC28A4BDF}">
      <dgm:prSet/>
      <dgm:spPr/>
      <dgm:t>
        <a:bodyPr/>
        <a:lstStyle/>
        <a:p>
          <a:endParaRPr lang="en-US"/>
        </a:p>
      </dgm:t>
    </dgm:pt>
    <dgm:pt modelId="{DCC67A64-8338-480F-A30F-6C131DF8F8A2}" type="sibTrans" cxnId="{8F3CE7D1-0071-47D6-A16E-A2EBC28A4BDF}">
      <dgm:prSet/>
      <dgm:spPr/>
      <dgm:t>
        <a:bodyPr/>
        <a:lstStyle/>
        <a:p>
          <a:endParaRPr lang="en-US"/>
        </a:p>
      </dgm:t>
    </dgm:pt>
    <dgm:pt modelId="{74D7EDCD-50A1-4A26-9A75-CE70C6388F9C}">
      <dgm:prSet/>
      <dgm:spPr/>
      <dgm:t>
        <a:bodyPr/>
        <a:lstStyle/>
        <a:p>
          <a:r>
            <a:rPr lang="en-US"/>
            <a:t>Centralized Authentication Control</a:t>
          </a:r>
        </a:p>
      </dgm:t>
    </dgm:pt>
    <dgm:pt modelId="{1F20083F-2BF4-42CC-97B0-347A9EBF5542}" type="parTrans" cxnId="{62298992-4F7A-4462-A401-1EF1FBCCF22B}">
      <dgm:prSet/>
      <dgm:spPr/>
      <dgm:t>
        <a:bodyPr/>
        <a:lstStyle/>
        <a:p>
          <a:endParaRPr lang="en-US"/>
        </a:p>
      </dgm:t>
    </dgm:pt>
    <dgm:pt modelId="{F117BD71-54ED-45C2-ABFB-5EA2028614A5}" type="sibTrans" cxnId="{62298992-4F7A-4462-A401-1EF1FBCCF22B}">
      <dgm:prSet/>
      <dgm:spPr/>
      <dgm:t>
        <a:bodyPr/>
        <a:lstStyle/>
        <a:p>
          <a:endParaRPr lang="en-US"/>
        </a:p>
      </dgm:t>
    </dgm:pt>
    <dgm:pt modelId="{587C610E-FE04-4850-8D7B-3F58C2D752D8}">
      <dgm:prSet/>
      <dgm:spPr/>
      <dgm:t>
        <a:bodyPr/>
        <a:lstStyle/>
        <a:p>
          <a:r>
            <a:rPr lang="en-US">
              <a:latin typeface="Segoe UI Light"/>
            </a:rPr>
            <a:t>Organization</a:t>
          </a:r>
          <a:r>
            <a:rPr lang="en-US"/>
            <a:t> level security governance policies</a:t>
          </a:r>
        </a:p>
      </dgm:t>
    </dgm:pt>
    <dgm:pt modelId="{93C8D39C-0E6F-4203-8836-E1E892C89833}" type="parTrans" cxnId="{1CDC1DB6-EC91-4BD1-BDD8-5C8CBDA6D0C2}">
      <dgm:prSet/>
      <dgm:spPr/>
      <dgm:t>
        <a:bodyPr/>
        <a:lstStyle/>
        <a:p>
          <a:endParaRPr lang="en-US"/>
        </a:p>
      </dgm:t>
    </dgm:pt>
    <dgm:pt modelId="{C1776DAF-2E93-43E9-B7E9-E082BDA8024A}" type="sibTrans" cxnId="{1CDC1DB6-EC91-4BD1-BDD8-5C8CBDA6D0C2}">
      <dgm:prSet/>
      <dgm:spPr/>
      <dgm:t>
        <a:bodyPr/>
        <a:lstStyle/>
        <a:p>
          <a:endParaRPr lang="en-US"/>
        </a:p>
      </dgm:t>
    </dgm:pt>
    <dgm:pt modelId="{95CB04E0-9713-483D-B8CD-117F3D9F17E8}">
      <dgm:prSet/>
      <dgm:spPr/>
      <dgm:t>
        <a:bodyPr/>
        <a:lstStyle/>
        <a:p>
          <a:r>
            <a:rPr lang="en-US"/>
            <a:t>"Deny All" as default policy</a:t>
          </a:r>
        </a:p>
      </dgm:t>
    </dgm:pt>
    <dgm:pt modelId="{D17EED23-07E5-4819-9105-638E02CDD508}" type="parTrans" cxnId="{2D82A369-C787-41C1-8F25-C196CEEEDAA0}">
      <dgm:prSet/>
      <dgm:spPr/>
      <dgm:t>
        <a:bodyPr/>
        <a:lstStyle/>
        <a:p>
          <a:endParaRPr lang="en-US"/>
        </a:p>
      </dgm:t>
    </dgm:pt>
    <dgm:pt modelId="{5D97428C-674B-4525-88C6-32CC3E9D2452}" type="sibTrans" cxnId="{2D82A369-C787-41C1-8F25-C196CEEEDAA0}">
      <dgm:prSet/>
      <dgm:spPr/>
      <dgm:t>
        <a:bodyPr/>
        <a:lstStyle/>
        <a:p>
          <a:endParaRPr lang="en-US"/>
        </a:p>
      </dgm:t>
    </dgm:pt>
    <dgm:pt modelId="{564102AA-7C6B-407C-9186-2319C86AF35B}">
      <dgm:prSet/>
      <dgm:spPr/>
      <dgm:t>
        <a:bodyPr/>
        <a:lstStyle/>
        <a:p>
          <a:r>
            <a:rPr lang="en-US"/>
            <a:t>Mandatory Encryption for disk, drives and any storages</a:t>
          </a:r>
        </a:p>
      </dgm:t>
    </dgm:pt>
    <dgm:pt modelId="{80485203-BD92-4FA3-9EA6-80AA4088E7ED}" type="parTrans" cxnId="{B979126F-CC1B-4A0E-B9E5-4D863060EB4C}">
      <dgm:prSet/>
      <dgm:spPr/>
      <dgm:t>
        <a:bodyPr/>
        <a:lstStyle/>
        <a:p>
          <a:endParaRPr lang="en-US"/>
        </a:p>
      </dgm:t>
    </dgm:pt>
    <dgm:pt modelId="{4C435705-5139-4734-93D8-CA7B4B11986F}" type="sibTrans" cxnId="{B979126F-CC1B-4A0E-B9E5-4D863060EB4C}">
      <dgm:prSet/>
      <dgm:spPr/>
      <dgm:t>
        <a:bodyPr/>
        <a:lstStyle/>
        <a:p>
          <a:endParaRPr lang="en-US"/>
        </a:p>
      </dgm:t>
    </dgm:pt>
    <dgm:pt modelId="{1AC5EABE-7E34-46D8-9073-8FAB205D409C}">
      <dgm:prSet/>
      <dgm:spPr/>
      <dgm:t>
        <a:bodyPr/>
        <a:lstStyle/>
        <a:p>
          <a:r>
            <a:rPr lang="en-US"/>
            <a:t>IDS and IPS enabled firewall with audit for access violations</a:t>
          </a:r>
        </a:p>
      </dgm:t>
    </dgm:pt>
    <dgm:pt modelId="{49614CEE-3F0E-41BC-9AB8-9DB12DD44140}" type="parTrans" cxnId="{957E5A68-DFAF-43CF-89CD-FAB198AD75B2}">
      <dgm:prSet/>
      <dgm:spPr/>
      <dgm:t>
        <a:bodyPr/>
        <a:lstStyle/>
        <a:p>
          <a:endParaRPr lang="en-US"/>
        </a:p>
      </dgm:t>
    </dgm:pt>
    <dgm:pt modelId="{273B5816-D5BF-434E-B242-A31CACCC23AF}" type="sibTrans" cxnId="{957E5A68-DFAF-43CF-89CD-FAB198AD75B2}">
      <dgm:prSet/>
      <dgm:spPr/>
      <dgm:t>
        <a:bodyPr/>
        <a:lstStyle/>
        <a:p>
          <a:endParaRPr lang="en-US"/>
        </a:p>
      </dgm:t>
    </dgm:pt>
    <dgm:pt modelId="{EE9E85DC-36D9-4896-AF05-8535D3397DC1}">
      <dgm:prSet/>
      <dgm:spPr/>
      <dgm:t>
        <a:bodyPr/>
        <a:lstStyle/>
        <a:p>
          <a:r>
            <a:rPr lang="en-US"/>
            <a:t>End-to-end encryption for any application transactions</a:t>
          </a:r>
        </a:p>
      </dgm:t>
    </dgm:pt>
    <dgm:pt modelId="{E2B78FD7-3EFA-467C-9B86-C3226779AE76}" type="parTrans" cxnId="{100FDFFA-7ADC-453E-8830-02518D50DDFE}">
      <dgm:prSet/>
      <dgm:spPr/>
      <dgm:t>
        <a:bodyPr/>
        <a:lstStyle/>
        <a:p>
          <a:endParaRPr lang="en-US"/>
        </a:p>
      </dgm:t>
    </dgm:pt>
    <dgm:pt modelId="{DE2E9832-80FE-43E1-BA71-2ADDD5A93D1C}" type="sibTrans" cxnId="{100FDFFA-7ADC-453E-8830-02518D50DDFE}">
      <dgm:prSet/>
      <dgm:spPr/>
      <dgm:t>
        <a:bodyPr/>
        <a:lstStyle/>
        <a:p>
          <a:endParaRPr lang="en-US"/>
        </a:p>
      </dgm:t>
    </dgm:pt>
    <dgm:pt modelId="{1AFED03E-E635-45F5-9110-3264F22D30B2}">
      <dgm:prSet/>
      <dgm:spPr/>
      <dgm:t>
        <a:bodyPr/>
        <a:lstStyle/>
        <a:p>
          <a:r>
            <a:rPr lang="en-US"/>
            <a:t>Monitoring and Threat Detection model customized to the need</a:t>
          </a:r>
        </a:p>
      </dgm:t>
    </dgm:pt>
    <dgm:pt modelId="{809040FB-5FE9-4F87-8F24-5493F1202814}" type="parTrans" cxnId="{CA323FB8-A538-4DC8-9F94-7FA205C51E95}">
      <dgm:prSet/>
      <dgm:spPr/>
      <dgm:t>
        <a:bodyPr/>
        <a:lstStyle/>
        <a:p>
          <a:endParaRPr lang="en-US"/>
        </a:p>
      </dgm:t>
    </dgm:pt>
    <dgm:pt modelId="{7E9A8F57-CDD8-468A-8CCD-B1121BC21827}" type="sibTrans" cxnId="{CA323FB8-A538-4DC8-9F94-7FA205C51E95}">
      <dgm:prSet/>
      <dgm:spPr/>
      <dgm:t>
        <a:bodyPr/>
        <a:lstStyle/>
        <a:p>
          <a:endParaRPr lang="en-US"/>
        </a:p>
      </dgm:t>
    </dgm:pt>
    <dgm:pt modelId="{E9F387AE-45CF-4DC3-A35D-9B07D42797BE}">
      <dgm:prSet/>
      <dgm:spPr/>
      <dgm:t>
        <a:bodyPr/>
        <a:lstStyle/>
        <a:p>
          <a:r>
            <a:rPr lang="en-US"/>
            <a:t>Prioritized Alerts and Telemetry</a:t>
          </a:r>
        </a:p>
      </dgm:t>
    </dgm:pt>
    <dgm:pt modelId="{8172ED44-6CCC-450F-A76C-D77DC1913402}" type="parTrans" cxnId="{AEF69235-331C-4608-B46D-1F265E8ABFBB}">
      <dgm:prSet/>
      <dgm:spPr/>
      <dgm:t>
        <a:bodyPr/>
        <a:lstStyle/>
        <a:p>
          <a:endParaRPr lang="en-US"/>
        </a:p>
      </dgm:t>
    </dgm:pt>
    <dgm:pt modelId="{FFFF0467-7026-4AE9-9698-1F9CF0D295E8}" type="sibTrans" cxnId="{AEF69235-331C-4608-B46D-1F265E8ABFBB}">
      <dgm:prSet/>
      <dgm:spPr/>
      <dgm:t>
        <a:bodyPr/>
        <a:lstStyle/>
        <a:p>
          <a:endParaRPr lang="en-US"/>
        </a:p>
      </dgm:t>
    </dgm:pt>
    <dgm:pt modelId="{D742315E-BE82-40A1-BC15-653B3336D74B}">
      <dgm:prSet/>
      <dgm:spPr/>
      <dgm:t>
        <a:bodyPr/>
        <a:lstStyle/>
        <a:p>
          <a:r>
            <a:rPr lang="en-US"/>
            <a:t>central log management</a:t>
          </a:r>
        </a:p>
      </dgm:t>
    </dgm:pt>
    <dgm:pt modelId="{123ECA2C-AA48-4FA4-97C9-55C3702189E3}" type="parTrans" cxnId="{0C63C500-DE78-4F76-80A6-866EA05E01F3}">
      <dgm:prSet/>
      <dgm:spPr/>
      <dgm:t>
        <a:bodyPr/>
        <a:lstStyle/>
        <a:p>
          <a:endParaRPr lang="en-US"/>
        </a:p>
      </dgm:t>
    </dgm:pt>
    <dgm:pt modelId="{312C7C7B-6A83-43FB-8D34-84C14990E378}" type="sibTrans" cxnId="{0C63C500-DE78-4F76-80A6-866EA05E01F3}">
      <dgm:prSet/>
      <dgm:spPr/>
      <dgm:t>
        <a:bodyPr/>
        <a:lstStyle/>
        <a:p>
          <a:endParaRPr lang="en-US"/>
        </a:p>
      </dgm:t>
    </dgm:pt>
    <dgm:pt modelId="{1CCC7C53-9688-465B-B560-2316BD9956D0}">
      <dgm:prSet/>
      <dgm:spPr/>
      <dgm:t>
        <a:bodyPr/>
        <a:lstStyle/>
        <a:p>
          <a:r>
            <a:rPr lang="en-US"/>
            <a:t>centralized alert correlation platform and create an incident based on them</a:t>
          </a:r>
        </a:p>
      </dgm:t>
    </dgm:pt>
    <dgm:pt modelId="{AD48D619-3AC9-4219-8496-A92203649F04}" type="parTrans" cxnId="{8811CC38-AF47-4B31-A2D3-94C3951F2F4C}">
      <dgm:prSet/>
      <dgm:spPr/>
      <dgm:t>
        <a:bodyPr/>
        <a:lstStyle/>
        <a:p>
          <a:endParaRPr lang="en-US"/>
        </a:p>
      </dgm:t>
    </dgm:pt>
    <dgm:pt modelId="{54995B5C-8938-47A2-9E8E-5ABE332AA48A}" type="sibTrans" cxnId="{8811CC38-AF47-4B31-A2D3-94C3951F2F4C}">
      <dgm:prSet/>
      <dgm:spPr/>
      <dgm:t>
        <a:bodyPr/>
        <a:lstStyle/>
        <a:p>
          <a:endParaRPr lang="en-US"/>
        </a:p>
      </dgm:t>
    </dgm:pt>
    <dgm:pt modelId="{6E779EF2-4D7A-4273-8986-CC354E9782B7}">
      <dgm:prSet/>
      <dgm:spPr/>
      <dgm:t>
        <a:bodyPr/>
        <a:lstStyle/>
        <a:p>
          <a:r>
            <a:rPr lang="en-US"/>
            <a:t>Intelligent Threat Correlation</a:t>
          </a:r>
        </a:p>
      </dgm:t>
    </dgm:pt>
    <dgm:pt modelId="{824343F0-5EDF-457D-A9BA-E3EFE0CA54F6}" type="parTrans" cxnId="{992C5445-4123-4DEE-B7DD-F787B9C75539}">
      <dgm:prSet/>
      <dgm:spPr/>
      <dgm:t>
        <a:bodyPr/>
        <a:lstStyle/>
        <a:p>
          <a:endParaRPr lang="en-US"/>
        </a:p>
      </dgm:t>
    </dgm:pt>
    <dgm:pt modelId="{B52AE5DD-7A0B-4892-A382-F27E8DF4C520}" type="sibTrans" cxnId="{992C5445-4123-4DEE-B7DD-F787B9C75539}">
      <dgm:prSet/>
      <dgm:spPr/>
      <dgm:t>
        <a:bodyPr/>
        <a:lstStyle/>
        <a:p>
          <a:endParaRPr lang="en-US"/>
        </a:p>
      </dgm:t>
    </dgm:pt>
    <dgm:pt modelId="{5C92E310-9787-4EFD-9CE9-E2DE3AD5CC63}">
      <dgm:prSet/>
      <dgm:spPr/>
      <dgm:t>
        <a:bodyPr/>
        <a:lstStyle/>
        <a:p>
          <a:r>
            <a:rPr lang="en-US"/>
            <a:t>Automated Response</a:t>
          </a:r>
        </a:p>
      </dgm:t>
    </dgm:pt>
    <dgm:pt modelId="{04A751D9-AE50-4F00-8D1D-762FE8C16AC8}" type="parTrans" cxnId="{04649175-B460-4CE6-994E-3EAB994EB705}">
      <dgm:prSet/>
      <dgm:spPr/>
      <dgm:t>
        <a:bodyPr/>
        <a:lstStyle/>
        <a:p>
          <a:endParaRPr lang="en-US"/>
        </a:p>
      </dgm:t>
    </dgm:pt>
    <dgm:pt modelId="{F4674386-4B94-4C4C-A86A-D155AC32ECAD}" type="sibTrans" cxnId="{04649175-B460-4CE6-994E-3EAB994EB705}">
      <dgm:prSet/>
      <dgm:spPr/>
      <dgm:t>
        <a:bodyPr/>
        <a:lstStyle/>
        <a:p>
          <a:endParaRPr lang="en-US"/>
        </a:p>
      </dgm:t>
    </dgm:pt>
    <dgm:pt modelId="{AEFC8FEE-6661-4484-BC26-80937AD3DAE9}">
      <dgm:prSet/>
      <dgm:spPr/>
      <dgm:t>
        <a:bodyPr/>
        <a:lstStyle/>
        <a:p>
          <a:endParaRPr lang="en-US"/>
        </a:p>
      </dgm:t>
    </dgm:pt>
    <dgm:pt modelId="{6B679252-6C0B-4369-B514-E08B84FAE417}" type="parTrans" cxnId="{69584278-20F7-4BA3-A98A-ACA267C2B388}">
      <dgm:prSet/>
      <dgm:spPr/>
      <dgm:t>
        <a:bodyPr/>
        <a:lstStyle/>
        <a:p>
          <a:endParaRPr lang="en-US"/>
        </a:p>
      </dgm:t>
    </dgm:pt>
    <dgm:pt modelId="{A834A096-E152-45A8-A8A2-C59C0CFBE5A1}" type="sibTrans" cxnId="{69584278-20F7-4BA3-A98A-ACA267C2B388}">
      <dgm:prSet/>
      <dgm:spPr/>
      <dgm:t>
        <a:bodyPr/>
        <a:lstStyle/>
        <a:p>
          <a:endParaRPr lang="en-US"/>
        </a:p>
      </dgm:t>
    </dgm:pt>
    <dgm:pt modelId="{48A45C97-713A-47BA-B1D6-892A8EDA6B6F}">
      <dgm:prSet/>
      <dgm:spPr/>
      <dgm:t>
        <a:bodyPr/>
        <a:lstStyle/>
        <a:p>
          <a:r>
            <a:rPr lang="en-US"/>
            <a:t>CIS benchmark certified images for any production deployments</a:t>
          </a:r>
        </a:p>
      </dgm:t>
    </dgm:pt>
    <dgm:pt modelId="{9268C142-7885-428C-9D29-18D88EC715C1}" type="parTrans" cxnId="{043CABF7-666B-4EE1-8F76-328291ACC661}">
      <dgm:prSet/>
      <dgm:spPr/>
      <dgm:t>
        <a:bodyPr/>
        <a:lstStyle/>
        <a:p>
          <a:endParaRPr lang="en-US"/>
        </a:p>
      </dgm:t>
    </dgm:pt>
    <dgm:pt modelId="{9C03B5F3-B0AA-4856-AF11-247F14448A43}" type="sibTrans" cxnId="{043CABF7-666B-4EE1-8F76-328291ACC661}">
      <dgm:prSet/>
      <dgm:spPr/>
      <dgm:t>
        <a:bodyPr/>
        <a:lstStyle/>
        <a:p>
          <a:endParaRPr lang="en-US"/>
        </a:p>
      </dgm:t>
    </dgm:pt>
    <dgm:pt modelId="{A10E26FC-028C-444C-A9DA-FCC4EFC090E0}">
      <dgm:prSet/>
      <dgm:spPr/>
      <dgm:t>
        <a:bodyPr/>
        <a:lstStyle/>
        <a:p>
          <a:r>
            <a:rPr lang="en-US"/>
            <a:t>appropriate compliance policy configuration (GDPR, PCI, NIST)</a:t>
          </a:r>
        </a:p>
      </dgm:t>
    </dgm:pt>
    <dgm:pt modelId="{13C82B83-3E22-4298-B295-A807FF9D8224}" type="parTrans" cxnId="{AC00A2CD-2AEF-4B2A-8F50-A06411979AF5}">
      <dgm:prSet/>
      <dgm:spPr/>
      <dgm:t>
        <a:bodyPr/>
        <a:lstStyle/>
        <a:p>
          <a:endParaRPr lang="en-US"/>
        </a:p>
      </dgm:t>
    </dgm:pt>
    <dgm:pt modelId="{186277A1-B3B5-427E-888C-9D3DB4DC7720}" type="sibTrans" cxnId="{AC00A2CD-2AEF-4B2A-8F50-A06411979AF5}">
      <dgm:prSet/>
      <dgm:spPr/>
      <dgm:t>
        <a:bodyPr/>
        <a:lstStyle/>
        <a:p>
          <a:endParaRPr lang="en-US"/>
        </a:p>
      </dgm:t>
    </dgm:pt>
    <dgm:pt modelId="{CEEB8623-CEC3-4A9E-BC8E-AD4F2113A4CA}" type="pres">
      <dgm:prSet presAssocID="{4B23713C-AFD9-4171-B943-3DCA86FC3113}" presName="Name0" presStyleCnt="0">
        <dgm:presLayoutVars>
          <dgm:dir/>
          <dgm:animLvl val="lvl"/>
          <dgm:resizeHandles val="exact"/>
        </dgm:presLayoutVars>
      </dgm:prSet>
      <dgm:spPr/>
    </dgm:pt>
    <dgm:pt modelId="{D9938D06-6037-4CD5-AB4E-CF4851C81DB6}" type="pres">
      <dgm:prSet presAssocID="{B6F6B599-71B4-4EF2-B199-C3C0621C31DD}" presName="composite" presStyleCnt="0"/>
      <dgm:spPr/>
    </dgm:pt>
    <dgm:pt modelId="{296024FE-4092-4F52-9404-A623C51B1DED}" type="pres">
      <dgm:prSet presAssocID="{B6F6B599-71B4-4EF2-B199-C3C0621C31DD}" presName="parTx" presStyleLbl="alignNode1" presStyleIdx="0" presStyleCnt="4">
        <dgm:presLayoutVars>
          <dgm:chMax val="0"/>
          <dgm:chPref val="0"/>
          <dgm:bulletEnabled val="1"/>
        </dgm:presLayoutVars>
      </dgm:prSet>
      <dgm:spPr/>
    </dgm:pt>
    <dgm:pt modelId="{C8FD5AEB-76D1-4EDF-823D-7AD8CCE97188}" type="pres">
      <dgm:prSet presAssocID="{B6F6B599-71B4-4EF2-B199-C3C0621C31DD}" presName="desTx" presStyleLbl="alignAccFollowNode1" presStyleIdx="0" presStyleCnt="4">
        <dgm:presLayoutVars>
          <dgm:bulletEnabled val="1"/>
        </dgm:presLayoutVars>
      </dgm:prSet>
      <dgm:spPr/>
    </dgm:pt>
    <dgm:pt modelId="{CA80BF8E-0461-43DD-B962-48407874BE11}" type="pres">
      <dgm:prSet presAssocID="{9B19A77F-386E-429A-8BDB-A1DF8E482B3B}" presName="space" presStyleCnt="0"/>
      <dgm:spPr/>
    </dgm:pt>
    <dgm:pt modelId="{F8BEB41A-2937-4DDD-9C73-E1CD1B0C6CC1}" type="pres">
      <dgm:prSet presAssocID="{AD9322EC-24E8-49A6-9EA1-A381205DCD7B}" presName="composite" presStyleCnt="0"/>
      <dgm:spPr/>
    </dgm:pt>
    <dgm:pt modelId="{A77CAFF2-FBFE-4413-A034-0B3F9B62979F}" type="pres">
      <dgm:prSet presAssocID="{AD9322EC-24E8-49A6-9EA1-A381205DCD7B}" presName="parTx" presStyleLbl="alignNode1" presStyleIdx="1" presStyleCnt="4">
        <dgm:presLayoutVars>
          <dgm:chMax val="0"/>
          <dgm:chPref val="0"/>
          <dgm:bulletEnabled val="1"/>
        </dgm:presLayoutVars>
      </dgm:prSet>
      <dgm:spPr/>
    </dgm:pt>
    <dgm:pt modelId="{334366E0-2921-4380-928C-89B5DADD69E2}" type="pres">
      <dgm:prSet presAssocID="{AD9322EC-24E8-49A6-9EA1-A381205DCD7B}" presName="desTx" presStyleLbl="alignAccFollowNode1" presStyleIdx="1" presStyleCnt="4">
        <dgm:presLayoutVars>
          <dgm:bulletEnabled val="1"/>
        </dgm:presLayoutVars>
      </dgm:prSet>
      <dgm:spPr/>
    </dgm:pt>
    <dgm:pt modelId="{E3E61599-4625-4072-B9B5-EA8E9542699C}" type="pres">
      <dgm:prSet presAssocID="{3411D84F-4187-48CB-96A2-36D57907F9F5}" presName="space" presStyleCnt="0"/>
      <dgm:spPr/>
    </dgm:pt>
    <dgm:pt modelId="{54CCB4E2-C070-4973-A234-8179F447C199}" type="pres">
      <dgm:prSet presAssocID="{4481154D-3152-4240-A105-E05F6B75B958}" presName="composite" presStyleCnt="0"/>
      <dgm:spPr/>
    </dgm:pt>
    <dgm:pt modelId="{58043175-8243-4E0D-B97E-5D44389A2D5A}" type="pres">
      <dgm:prSet presAssocID="{4481154D-3152-4240-A105-E05F6B75B958}" presName="parTx" presStyleLbl="alignNode1" presStyleIdx="2" presStyleCnt="4">
        <dgm:presLayoutVars>
          <dgm:chMax val="0"/>
          <dgm:chPref val="0"/>
          <dgm:bulletEnabled val="1"/>
        </dgm:presLayoutVars>
      </dgm:prSet>
      <dgm:spPr/>
    </dgm:pt>
    <dgm:pt modelId="{FC544260-D7FA-4D5C-95F4-F96E41ACCAA4}" type="pres">
      <dgm:prSet presAssocID="{4481154D-3152-4240-A105-E05F6B75B958}" presName="desTx" presStyleLbl="alignAccFollowNode1" presStyleIdx="2" presStyleCnt="4">
        <dgm:presLayoutVars>
          <dgm:bulletEnabled val="1"/>
        </dgm:presLayoutVars>
      </dgm:prSet>
      <dgm:spPr/>
    </dgm:pt>
    <dgm:pt modelId="{C44832F5-6CDD-4588-BBB4-3C56D5EC1321}" type="pres">
      <dgm:prSet presAssocID="{B4DDBE1C-547B-41C6-9048-6A3F385AC65B}" presName="space" presStyleCnt="0"/>
      <dgm:spPr/>
    </dgm:pt>
    <dgm:pt modelId="{3FEF6E6B-8F60-4372-917C-543965988665}" type="pres">
      <dgm:prSet presAssocID="{EBE54E27-70C4-4C7F-9A5C-C8B0A66900AE}" presName="composite" presStyleCnt="0"/>
      <dgm:spPr/>
    </dgm:pt>
    <dgm:pt modelId="{4E51DB3C-A6C2-475E-9939-1EF3BF3CCCC1}" type="pres">
      <dgm:prSet presAssocID="{EBE54E27-70C4-4C7F-9A5C-C8B0A66900AE}" presName="parTx" presStyleLbl="alignNode1" presStyleIdx="3" presStyleCnt="4">
        <dgm:presLayoutVars>
          <dgm:chMax val="0"/>
          <dgm:chPref val="0"/>
          <dgm:bulletEnabled val="1"/>
        </dgm:presLayoutVars>
      </dgm:prSet>
      <dgm:spPr/>
    </dgm:pt>
    <dgm:pt modelId="{DEFD9E62-3CF0-499A-8664-E526F31312B2}" type="pres">
      <dgm:prSet presAssocID="{EBE54E27-70C4-4C7F-9A5C-C8B0A66900AE}" presName="desTx" presStyleLbl="alignAccFollowNode1" presStyleIdx="3" presStyleCnt="4">
        <dgm:presLayoutVars>
          <dgm:bulletEnabled val="1"/>
        </dgm:presLayoutVars>
      </dgm:prSet>
      <dgm:spPr/>
    </dgm:pt>
  </dgm:ptLst>
  <dgm:cxnLst>
    <dgm:cxn modelId="{0C63C500-DE78-4F76-80A6-866EA05E01F3}" srcId="{EBE54E27-70C4-4C7F-9A5C-C8B0A66900AE}" destId="{D742315E-BE82-40A1-BC15-653B3336D74B}" srcOrd="3" destOrd="0" parTransId="{123ECA2C-AA48-4FA4-97C9-55C3702189E3}" sibTransId="{312C7C7B-6A83-43FB-8D34-84C14990E378}"/>
    <dgm:cxn modelId="{520E5202-12FF-4DD0-8A33-943870E96C76}" type="presOf" srcId="{A10E26FC-028C-444C-A9DA-FCC4EFC090E0}" destId="{FC544260-D7FA-4D5C-95F4-F96E41ACCAA4}" srcOrd="0" destOrd="2" presId="urn:microsoft.com/office/officeart/2005/8/layout/hList1"/>
    <dgm:cxn modelId="{A971D807-1936-4389-A574-3F4AA1DE2DF4}" type="presOf" srcId="{B6F6B599-71B4-4EF2-B199-C3C0621C31DD}" destId="{296024FE-4092-4F52-9404-A623C51B1DED}" srcOrd="0" destOrd="0" presId="urn:microsoft.com/office/officeart/2005/8/layout/hList1"/>
    <dgm:cxn modelId="{6ECA170F-73C6-4428-A437-CE869087F7AF}" type="presOf" srcId="{2E18F657-7527-4497-8B3C-45C92C33C06A}" destId="{C8FD5AEB-76D1-4EDF-823D-7AD8CCE97188}" srcOrd="0" destOrd="2" presId="urn:microsoft.com/office/officeart/2005/8/layout/hList1"/>
    <dgm:cxn modelId="{CAC58F19-8A6D-40BB-ACF5-4D54178A2EFB}" type="presOf" srcId="{587C610E-FE04-4850-8D7B-3F58C2D752D8}" destId="{334366E0-2921-4380-928C-89B5DADD69E2}" srcOrd="0" destOrd="2" presId="urn:microsoft.com/office/officeart/2005/8/layout/hList1"/>
    <dgm:cxn modelId="{E0FBA524-550F-42FC-95CA-1BB7037B92DC}" srcId="{EBE54E27-70C4-4C7F-9A5C-C8B0A66900AE}" destId="{8466C54E-2705-4E1A-97EC-60AD33171AE7}" srcOrd="0" destOrd="0" parTransId="{1969BF27-1CF1-4EBF-9CBD-DA12ECA79AF2}" sibTransId="{35B46A42-E0EF-4025-914C-7B963B332739}"/>
    <dgm:cxn modelId="{66A0502E-63D1-46C6-8B2C-E928A724F964}" srcId="{AD9322EC-24E8-49A6-9EA1-A381205DCD7B}" destId="{7244C96A-64BB-4795-A8B1-119C54E9D0E1}" srcOrd="0" destOrd="0" parTransId="{B1C02423-C9E9-4C8C-89C6-F8CAA22F16B7}" sibTransId="{0A750C8C-23B0-4E7B-BB16-27A18E8B5014}"/>
    <dgm:cxn modelId="{F9E88F31-0CB4-4AFA-B28B-93BDFC6FE7B6}" type="presOf" srcId="{EE9E85DC-36D9-4896-AF05-8535D3397DC1}" destId="{334366E0-2921-4380-928C-89B5DADD69E2}" srcOrd="0" destOrd="6" presId="urn:microsoft.com/office/officeart/2005/8/layout/hList1"/>
    <dgm:cxn modelId="{AEF69235-331C-4608-B46D-1F265E8ABFBB}" srcId="{EBE54E27-70C4-4C7F-9A5C-C8B0A66900AE}" destId="{E9F387AE-45CF-4DC3-A35D-9B07D42797BE}" srcOrd="2" destOrd="0" parTransId="{8172ED44-6CCC-450F-A76C-D77DC1913402}" sibTransId="{FFFF0467-7026-4AE9-9698-1F9CF0D295E8}"/>
    <dgm:cxn modelId="{DA1C0638-59E5-4655-923B-2F6E0D3F1543}" type="presOf" srcId="{564102AA-7C6B-407C-9186-2319C86AF35B}" destId="{334366E0-2921-4380-928C-89B5DADD69E2}" srcOrd="0" destOrd="4" presId="urn:microsoft.com/office/officeart/2005/8/layout/hList1"/>
    <dgm:cxn modelId="{8811CC38-AF47-4B31-A2D3-94C3951F2F4C}" srcId="{EBE54E27-70C4-4C7F-9A5C-C8B0A66900AE}" destId="{1CCC7C53-9688-465B-B560-2316BD9956D0}" srcOrd="4" destOrd="0" parTransId="{AD48D619-3AC9-4219-8496-A92203649F04}" sibTransId="{54995B5C-8938-47A2-9E8E-5ABE332AA48A}"/>
    <dgm:cxn modelId="{87C8D839-1A86-4E6F-8A78-35D03ED9B03E}" type="presOf" srcId="{419700CD-1BF4-41A3-A0A6-ECE8C8320291}" destId="{C8FD5AEB-76D1-4EDF-823D-7AD8CCE97188}" srcOrd="0" destOrd="1" presId="urn:microsoft.com/office/officeart/2005/8/layout/hList1"/>
    <dgm:cxn modelId="{992C5445-4123-4DEE-B7DD-F787B9C75539}" srcId="{EBE54E27-70C4-4C7F-9A5C-C8B0A66900AE}" destId="{6E779EF2-4D7A-4273-8986-CC354E9782B7}" srcOrd="5" destOrd="0" parTransId="{824343F0-5EDF-457D-A9BA-E3EFE0CA54F6}" sibTransId="{B52AE5DD-7A0B-4892-A382-F27E8DF4C520}"/>
    <dgm:cxn modelId="{957E5A68-DFAF-43CF-89CD-FAB198AD75B2}" srcId="{AD9322EC-24E8-49A6-9EA1-A381205DCD7B}" destId="{1AC5EABE-7E34-46D8-9073-8FAB205D409C}" srcOrd="5" destOrd="0" parTransId="{49614CEE-3F0E-41BC-9AB8-9DB12DD44140}" sibTransId="{273B5816-D5BF-434E-B242-A31CACCC23AF}"/>
    <dgm:cxn modelId="{2D82A369-C787-41C1-8F25-C196CEEEDAA0}" srcId="{AD9322EC-24E8-49A6-9EA1-A381205DCD7B}" destId="{95CB04E0-9713-483D-B8CD-117F3D9F17E8}" srcOrd="3" destOrd="0" parTransId="{D17EED23-07E5-4819-9105-638E02CDD508}" sibTransId="{5D97428C-674B-4525-88C6-32CC3E9D2452}"/>
    <dgm:cxn modelId="{B00CB24A-5906-44D9-ACE3-D96EEC5352E6}" type="presOf" srcId="{5C92E310-9787-4EFD-9CE9-E2DE3AD5CC63}" destId="{DEFD9E62-3CF0-499A-8664-E526F31312B2}" srcOrd="0" destOrd="6" presId="urn:microsoft.com/office/officeart/2005/8/layout/hList1"/>
    <dgm:cxn modelId="{4848976E-0F6D-4418-AD46-8653CAE70052}" type="presOf" srcId="{E9F387AE-45CF-4DC3-A35D-9B07D42797BE}" destId="{DEFD9E62-3CF0-499A-8664-E526F31312B2}" srcOrd="0" destOrd="2" presId="urn:microsoft.com/office/officeart/2005/8/layout/hList1"/>
    <dgm:cxn modelId="{B979126F-CC1B-4A0E-B9E5-4D863060EB4C}" srcId="{AD9322EC-24E8-49A6-9EA1-A381205DCD7B}" destId="{564102AA-7C6B-407C-9186-2319C86AF35B}" srcOrd="4" destOrd="0" parTransId="{80485203-BD92-4FA3-9EA6-80AA4088E7ED}" sibTransId="{4C435705-5139-4734-93D8-CA7B4B11986F}"/>
    <dgm:cxn modelId="{E34FDE4F-D65D-4F89-9B49-55BB0ACEC459}" type="presOf" srcId="{AD9322EC-24E8-49A6-9EA1-A381205DCD7B}" destId="{A77CAFF2-FBFE-4413-A034-0B3F9B62979F}" srcOrd="0" destOrd="0" presId="urn:microsoft.com/office/officeart/2005/8/layout/hList1"/>
    <dgm:cxn modelId="{6C051F70-B075-4B1F-9990-3D39660067A7}" type="presOf" srcId="{8466C54E-2705-4E1A-97EC-60AD33171AE7}" destId="{DEFD9E62-3CF0-499A-8664-E526F31312B2}" srcOrd="0" destOrd="0" presId="urn:microsoft.com/office/officeart/2005/8/layout/hList1"/>
    <dgm:cxn modelId="{F846E571-CA7E-4808-B9BF-59117A523044}" type="presOf" srcId="{EC1BF19A-DBA0-4ABA-9D17-5030C61495EA}" destId="{C8FD5AEB-76D1-4EDF-823D-7AD8CCE97188}" srcOrd="0" destOrd="3" presId="urn:microsoft.com/office/officeart/2005/8/layout/hList1"/>
    <dgm:cxn modelId="{EFA7BB54-3551-475F-8908-04DB62C3BB0F}" srcId="{4B23713C-AFD9-4171-B943-3DCA86FC3113}" destId="{EBE54E27-70C4-4C7F-9A5C-C8B0A66900AE}" srcOrd="3" destOrd="0" parTransId="{7D19BBF6-3D4C-42AC-93DF-22C2826A3B8B}" sibTransId="{E090A80B-9F99-4878-ADB6-6431CB90A3A1}"/>
    <dgm:cxn modelId="{04649175-B460-4CE6-994E-3EAB994EB705}" srcId="{EBE54E27-70C4-4C7F-9A5C-C8B0A66900AE}" destId="{5C92E310-9787-4EFD-9CE9-E2DE3AD5CC63}" srcOrd="6" destOrd="0" parTransId="{04A751D9-AE50-4F00-8D1D-762FE8C16AC8}" sibTransId="{F4674386-4B94-4C4C-A86A-D155AC32ECAD}"/>
    <dgm:cxn modelId="{69584278-20F7-4BA3-A98A-ACA267C2B388}" srcId="{EBE54E27-70C4-4C7F-9A5C-C8B0A66900AE}" destId="{AEFC8FEE-6661-4484-BC26-80937AD3DAE9}" srcOrd="7" destOrd="0" parTransId="{6B679252-6C0B-4369-B514-E08B84FAE417}" sibTransId="{A834A096-E152-45A8-A8A2-C59C0CFBE5A1}"/>
    <dgm:cxn modelId="{64FB947C-366B-48F0-86E4-4BFD1F7F1165}" type="presOf" srcId="{5748FB26-E620-4FCA-A761-0C52CF7E2392}" destId="{C8FD5AEB-76D1-4EDF-823D-7AD8CCE97188}" srcOrd="0" destOrd="4" presId="urn:microsoft.com/office/officeart/2005/8/layout/hList1"/>
    <dgm:cxn modelId="{F8740B80-9DA9-4AA0-92B3-3B6E9AD6FF76}" type="presOf" srcId="{1CCC7C53-9688-465B-B560-2316BD9956D0}" destId="{DEFD9E62-3CF0-499A-8664-E526F31312B2}" srcOrd="0" destOrd="4" presId="urn:microsoft.com/office/officeart/2005/8/layout/hList1"/>
    <dgm:cxn modelId="{93FCCC85-B3CB-451F-9B56-C29EFED61D9D}" type="presOf" srcId="{74D7EDCD-50A1-4A26-9A75-CE70C6388F9C}" destId="{334366E0-2921-4380-928C-89B5DADD69E2}" srcOrd="0" destOrd="1" presId="urn:microsoft.com/office/officeart/2005/8/layout/hList1"/>
    <dgm:cxn modelId="{E3D20A88-2550-4243-9C15-E9AD66643FED}" srcId="{B6F6B599-71B4-4EF2-B199-C3C0621C31DD}" destId="{419700CD-1BF4-41A3-A0A6-ECE8C8320291}" srcOrd="1" destOrd="0" parTransId="{EB4544F1-43F4-4AA7-928F-500CA5A9FE15}" sibTransId="{6209D290-9E22-4C73-BC53-FEE82FA1D74B}"/>
    <dgm:cxn modelId="{62298992-4F7A-4462-A401-1EF1FBCCF22B}" srcId="{AD9322EC-24E8-49A6-9EA1-A381205DCD7B}" destId="{74D7EDCD-50A1-4A26-9A75-CE70C6388F9C}" srcOrd="1" destOrd="0" parTransId="{1F20083F-2BF4-42CC-97B0-347A9EBF5542}" sibTransId="{F117BD71-54ED-45C2-ABFB-5EA2028614A5}"/>
    <dgm:cxn modelId="{D749B793-C3EF-493C-8B6F-C8290D1FDDD9}" type="presOf" srcId="{1AC5EABE-7E34-46D8-9073-8FAB205D409C}" destId="{334366E0-2921-4380-928C-89B5DADD69E2}" srcOrd="0" destOrd="5" presId="urn:microsoft.com/office/officeart/2005/8/layout/hList1"/>
    <dgm:cxn modelId="{DAAB2398-F8F2-4B80-BBC7-790345E9BCED}" type="presOf" srcId="{95CB04E0-9713-483D-B8CD-117F3D9F17E8}" destId="{334366E0-2921-4380-928C-89B5DADD69E2}" srcOrd="0" destOrd="3" presId="urn:microsoft.com/office/officeart/2005/8/layout/hList1"/>
    <dgm:cxn modelId="{D7492A99-70A3-4700-A94C-28946262E3D8}" type="presOf" srcId="{AEFC8FEE-6661-4484-BC26-80937AD3DAE9}" destId="{DEFD9E62-3CF0-499A-8664-E526F31312B2}" srcOrd="0" destOrd="7" presId="urn:microsoft.com/office/officeart/2005/8/layout/hList1"/>
    <dgm:cxn modelId="{880AD59E-0711-4832-A87C-C55A68ED6166}" type="presOf" srcId="{1D6F4CAE-D53A-4FEC-A32A-11EE986D6558}" destId="{FC544260-D7FA-4D5C-95F4-F96E41ACCAA4}" srcOrd="0" destOrd="0" presId="urn:microsoft.com/office/officeart/2005/8/layout/hList1"/>
    <dgm:cxn modelId="{A36C9BA6-6F35-487B-B924-D9120B593BC9}" srcId="{4481154D-3152-4240-A105-E05F6B75B958}" destId="{1D6F4CAE-D53A-4FEC-A32A-11EE986D6558}" srcOrd="0" destOrd="0" parTransId="{E15B98B5-06E3-46ED-9C0F-80C03F15B5CF}" sibTransId="{D12B2EFA-8B4D-489C-8175-405DFF44A859}"/>
    <dgm:cxn modelId="{1CDC1DB6-EC91-4BD1-BDD8-5C8CBDA6D0C2}" srcId="{AD9322EC-24E8-49A6-9EA1-A381205DCD7B}" destId="{587C610E-FE04-4850-8D7B-3F58C2D752D8}" srcOrd="2" destOrd="0" parTransId="{93C8D39C-0E6F-4203-8836-E1E892C89833}" sibTransId="{C1776DAF-2E93-43E9-B7E9-E082BDA8024A}"/>
    <dgm:cxn modelId="{CA323FB8-A538-4DC8-9F94-7FA205C51E95}" srcId="{EBE54E27-70C4-4C7F-9A5C-C8B0A66900AE}" destId="{1AFED03E-E635-45F5-9110-3264F22D30B2}" srcOrd="1" destOrd="0" parTransId="{809040FB-5FE9-4F87-8F24-5493F1202814}" sibTransId="{7E9A8F57-CDD8-468A-8CCD-B1121BC21827}"/>
    <dgm:cxn modelId="{A3B4F3BE-ECB0-49A9-A887-2C75047496BF}" type="presOf" srcId="{4481154D-3152-4240-A105-E05F6B75B958}" destId="{58043175-8243-4E0D-B97E-5D44389A2D5A}" srcOrd="0" destOrd="0" presId="urn:microsoft.com/office/officeart/2005/8/layout/hList1"/>
    <dgm:cxn modelId="{A65502BF-1958-4610-BC6C-EC407B6FD502}" type="presOf" srcId="{7244C96A-64BB-4795-A8B1-119C54E9D0E1}" destId="{334366E0-2921-4380-928C-89B5DADD69E2}" srcOrd="0" destOrd="0" presId="urn:microsoft.com/office/officeart/2005/8/layout/hList1"/>
    <dgm:cxn modelId="{F540EBC2-5E28-4211-900A-3103AAB66554}" type="presOf" srcId="{C0BABB27-C0D7-4D00-83E6-1769C0042103}" destId="{C8FD5AEB-76D1-4EDF-823D-7AD8CCE97188}" srcOrd="0" destOrd="0" presId="urn:microsoft.com/office/officeart/2005/8/layout/hList1"/>
    <dgm:cxn modelId="{50D220CC-1882-4CF9-B6B7-C80D6F5FD3CC}" type="presOf" srcId="{4B23713C-AFD9-4171-B943-3DCA86FC3113}" destId="{CEEB8623-CEC3-4A9E-BC8E-AD4F2113A4CA}" srcOrd="0" destOrd="0" presId="urn:microsoft.com/office/officeart/2005/8/layout/hList1"/>
    <dgm:cxn modelId="{AC00A2CD-2AEF-4B2A-8F50-A06411979AF5}" srcId="{4481154D-3152-4240-A105-E05F6B75B958}" destId="{A10E26FC-028C-444C-A9DA-FCC4EFC090E0}" srcOrd="2" destOrd="0" parTransId="{13C82B83-3E22-4298-B295-A807FF9D8224}" sibTransId="{186277A1-B3B5-427E-888C-9D3DB4DC7720}"/>
    <dgm:cxn modelId="{8F3CE7D1-0071-47D6-A16E-A2EBC28A4BDF}" srcId="{B6F6B599-71B4-4EF2-B199-C3C0621C31DD}" destId="{5748FB26-E620-4FCA-A761-0C52CF7E2392}" srcOrd="4" destOrd="0" parTransId="{451709C1-E72A-40F3-97C5-E26BAEA19E6E}" sibTransId="{DCC67A64-8338-480F-A30F-6C131DF8F8A2}"/>
    <dgm:cxn modelId="{AE1E76D2-4029-4222-8C0E-B8B9935ED20A}" srcId="{4B23713C-AFD9-4171-B943-3DCA86FC3113}" destId="{AD9322EC-24E8-49A6-9EA1-A381205DCD7B}" srcOrd="1" destOrd="0" parTransId="{7F0C17BD-2261-4466-BF21-5E4A4BFD17DE}" sibTransId="{3411D84F-4187-48CB-96A2-36D57907F9F5}"/>
    <dgm:cxn modelId="{5E8778D2-590E-4060-91B0-3B170A8DE2A7}" srcId="{B6F6B599-71B4-4EF2-B199-C3C0621C31DD}" destId="{C0BABB27-C0D7-4D00-83E6-1769C0042103}" srcOrd="0" destOrd="0" parTransId="{0A8C1A0D-9094-4C0E-9C8F-60D0301DC8E4}" sibTransId="{9E034C39-5D6C-4066-A91E-A02214F45536}"/>
    <dgm:cxn modelId="{A9D75CD8-0F1F-4061-B2BA-865D1FD14F13}" type="presOf" srcId="{48A45C97-713A-47BA-B1D6-892A8EDA6B6F}" destId="{FC544260-D7FA-4D5C-95F4-F96E41ACCAA4}" srcOrd="0" destOrd="1" presId="urn:microsoft.com/office/officeart/2005/8/layout/hList1"/>
    <dgm:cxn modelId="{25CAF1DC-FB29-4A0C-939F-74D7BC5BA070}" type="presOf" srcId="{1AFED03E-E635-45F5-9110-3264F22D30B2}" destId="{DEFD9E62-3CF0-499A-8664-E526F31312B2}" srcOrd="0" destOrd="1" presId="urn:microsoft.com/office/officeart/2005/8/layout/hList1"/>
    <dgm:cxn modelId="{30AFD4E2-4D15-4D52-BD9E-CE1399569466}" type="presOf" srcId="{D742315E-BE82-40A1-BC15-653B3336D74B}" destId="{DEFD9E62-3CF0-499A-8664-E526F31312B2}" srcOrd="0" destOrd="3" presId="urn:microsoft.com/office/officeart/2005/8/layout/hList1"/>
    <dgm:cxn modelId="{1B4ADDED-3E19-4F2C-8294-86F6F0732CF3}" srcId="{4B23713C-AFD9-4171-B943-3DCA86FC3113}" destId="{4481154D-3152-4240-A105-E05F6B75B958}" srcOrd="2" destOrd="0" parTransId="{0DC4D902-82FE-4762-B50C-9E3545C66B48}" sibTransId="{B4DDBE1C-547B-41C6-9048-6A3F385AC65B}"/>
    <dgm:cxn modelId="{D9D118EE-3B6E-45EB-8D86-05A3745C8116}" srcId="{B6F6B599-71B4-4EF2-B199-C3C0621C31DD}" destId="{2E18F657-7527-4497-8B3C-45C92C33C06A}" srcOrd="2" destOrd="0" parTransId="{DE34097C-F805-435A-B6C9-A226A461627F}" sibTransId="{AFE6A6B5-4AE8-4D32-8562-1C402D1C2749}"/>
    <dgm:cxn modelId="{6A839BF0-C149-41F4-9CBE-3715883A802D}" type="presOf" srcId="{EBE54E27-70C4-4C7F-9A5C-C8B0A66900AE}" destId="{4E51DB3C-A6C2-475E-9939-1EF3BF3CCCC1}" srcOrd="0" destOrd="0" presId="urn:microsoft.com/office/officeart/2005/8/layout/hList1"/>
    <dgm:cxn modelId="{9260FBF1-6DC4-4724-AB30-54CA94BFDC86}" srcId="{B6F6B599-71B4-4EF2-B199-C3C0621C31DD}" destId="{EC1BF19A-DBA0-4ABA-9D17-5030C61495EA}" srcOrd="3" destOrd="0" parTransId="{1B7AADDD-13AC-400D-8F30-F68E3821D892}" sibTransId="{49825813-DC09-48DD-827E-AA882CFCC097}"/>
    <dgm:cxn modelId="{81981EF6-4546-4828-8CFB-1D6AFD8D85EF}" type="presOf" srcId="{6E779EF2-4D7A-4273-8986-CC354E9782B7}" destId="{DEFD9E62-3CF0-499A-8664-E526F31312B2}" srcOrd="0" destOrd="5" presId="urn:microsoft.com/office/officeart/2005/8/layout/hList1"/>
    <dgm:cxn modelId="{043CABF7-666B-4EE1-8F76-328291ACC661}" srcId="{4481154D-3152-4240-A105-E05F6B75B958}" destId="{48A45C97-713A-47BA-B1D6-892A8EDA6B6F}" srcOrd="1" destOrd="0" parTransId="{9268C142-7885-428C-9D29-18D88EC715C1}" sibTransId="{9C03B5F3-B0AA-4856-AF11-247F14448A43}"/>
    <dgm:cxn modelId="{100FDFFA-7ADC-453E-8830-02518D50DDFE}" srcId="{AD9322EC-24E8-49A6-9EA1-A381205DCD7B}" destId="{EE9E85DC-36D9-4896-AF05-8535D3397DC1}" srcOrd="6" destOrd="0" parTransId="{E2B78FD7-3EFA-467C-9B86-C3226779AE76}" sibTransId="{DE2E9832-80FE-43E1-BA71-2ADDD5A93D1C}"/>
    <dgm:cxn modelId="{1B100FFE-4883-429E-B6A5-30F44AB0FF82}" srcId="{4B23713C-AFD9-4171-B943-3DCA86FC3113}" destId="{B6F6B599-71B4-4EF2-B199-C3C0621C31DD}" srcOrd="0" destOrd="0" parTransId="{5C02F61E-5A16-4881-85F4-B86A41532635}" sibTransId="{9B19A77F-386E-429A-8BDB-A1DF8E482B3B}"/>
    <dgm:cxn modelId="{D5FBB1B0-0D0D-485D-992D-D451631ACB21}" type="presParOf" srcId="{CEEB8623-CEC3-4A9E-BC8E-AD4F2113A4CA}" destId="{D9938D06-6037-4CD5-AB4E-CF4851C81DB6}" srcOrd="0" destOrd="0" presId="urn:microsoft.com/office/officeart/2005/8/layout/hList1"/>
    <dgm:cxn modelId="{FF4F8167-F85D-4010-86FA-54D563EA9BF2}" type="presParOf" srcId="{D9938D06-6037-4CD5-AB4E-CF4851C81DB6}" destId="{296024FE-4092-4F52-9404-A623C51B1DED}" srcOrd="0" destOrd="0" presId="urn:microsoft.com/office/officeart/2005/8/layout/hList1"/>
    <dgm:cxn modelId="{8FB9FDD9-ABE1-4392-83E4-6B5D8B1ED6EC}" type="presParOf" srcId="{D9938D06-6037-4CD5-AB4E-CF4851C81DB6}" destId="{C8FD5AEB-76D1-4EDF-823D-7AD8CCE97188}" srcOrd="1" destOrd="0" presId="urn:microsoft.com/office/officeart/2005/8/layout/hList1"/>
    <dgm:cxn modelId="{247DB332-C130-444A-8078-F30AA4326833}" type="presParOf" srcId="{CEEB8623-CEC3-4A9E-BC8E-AD4F2113A4CA}" destId="{CA80BF8E-0461-43DD-B962-48407874BE11}" srcOrd="1" destOrd="0" presId="urn:microsoft.com/office/officeart/2005/8/layout/hList1"/>
    <dgm:cxn modelId="{387805D9-3D15-46C4-8596-EA83D50DBA6E}" type="presParOf" srcId="{CEEB8623-CEC3-4A9E-BC8E-AD4F2113A4CA}" destId="{F8BEB41A-2937-4DDD-9C73-E1CD1B0C6CC1}" srcOrd="2" destOrd="0" presId="urn:microsoft.com/office/officeart/2005/8/layout/hList1"/>
    <dgm:cxn modelId="{FB2B03D1-7165-4CAB-8068-320218F05F17}" type="presParOf" srcId="{F8BEB41A-2937-4DDD-9C73-E1CD1B0C6CC1}" destId="{A77CAFF2-FBFE-4413-A034-0B3F9B62979F}" srcOrd="0" destOrd="0" presId="urn:microsoft.com/office/officeart/2005/8/layout/hList1"/>
    <dgm:cxn modelId="{683FD557-AC4B-47C2-A904-F461E1BF9DA5}" type="presParOf" srcId="{F8BEB41A-2937-4DDD-9C73-E1CD1B0C6CC1}" destId="{334366E0-2921-4380-928C-89B5DADD69E2}" srcOrd="1" destOrd="0" presId="urn:microsoft.com/office/officeart/2005/8/layout/hList1"/>
    <dgm:cxn modelId="{5E461568-4737-4250-BC09-FC6D626159A3}" type="presParOf" srcId="{CEEB8623-CEC3-4A9E-BC8E-AD4F2113A4CA}" destId="{E3E61599-4625-4072-B9B5-EA8E9542699C}" srcOrd="3" destOrd="0" presId="urn:microsoft.com/office/officeart/2005/8/layout/hList1"/>
    <dgm:cxn modelId="{34654150-D590-4B99-833C-3F99AA5B3BEB}" type="presParOf" srcId="{CEEB8623-CEC3-4A9E-BC8E-AD4F2113A4CA}" destId="{54CCB4E2-C070-4973-A234-8179F447C199}" srcOrd="4" destOrd="0" presId="urn:microsoft.com/office/officeart/2005/8/layout/hList1"/>
    <dgm:cxn modelId="{6DCED09E-B2B4-4A77-BAD4-2137E86DE8DB}" type="presParOf" srcId="{54CCB4E2-C070-4973-A234-8179F447C199}" destId="{58043175-8243-4E0D-B97E-5D44389A2D5A}" srcOrd="0" destOrd="0" presId="urn:microsoft.com/office/officeart/2005/8/layout/hList1"/>
    <dgm:cxn modelId="{A8FE3D06-3EFF-4256-8037-5E2381C560DB}" type="presParOf" srcId="{54CCB4E2-C070-4973-A234-8179F447C199}" destId="{FC544260-D7FA-4D5C-95F4-F96E41ACCAA4}" srcOrd="1" destOrd="0" presId="urn:microsoft.com/office/officeart/2005/8/layout/hList1"/>
    <dgm:cxn modelId="{5FFF3F68-B80F-4E42-AF4B-F2FF8FC7E608}" type="presParOf" srcId="{CEEB8623-CEC3-4A9E-BC8E-AD4F2113A4CA}" destId="{C44832F5-6CDD-4588-BBB4-3C56D5EC1321}" srcOrd="5" destOrd="0" presId="urn:microsoft.com/office/officeart/2005/8/layout/hList1"/>
    <dgm:cxn modelId="{A133FB88-047E-4BEC-BB0D-DAFD021DF79F}" type="presParOf" srcId="{CEEB8623-CEC3-4A9E-BC8E-AD4F2113A4CA}" destId="{3FEF6E6B-8F60-4372-917C-543965988665}" srcOrd="6" destOrd="0" presId="urn:microsoft.com/office/officeart/2005/8/layout/hList1"/>
    <dgm:cxn modelId="{4A3E1AF6-C746-4458-B80A-71ED58DF9615}" type="presParOf" srcId="{3FEF6E6B-8F60-4372-917C-543965988665}" destId="{4E51DB3C-A6C2-475E-9939-1EF3BF3CCCC1}" srcOrd="0" destOrd="0" presId="urn:microsoft.com/office/officeart/2005/8/layout/hList1"/>
    <dgm:cxn modelId="{2E6AFFD9-965D-466F-85FC-4133799D9FB3}" type="presParOf" srcId="{3FEF6E6B-8F60-4372-917C-543965988665}" destId="{DEFD9E62-3CF0-499A-8664-E526F31312B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98507E7-7B2C-4D0F-BE37-ECDAB798DF95}" type="doc">
      <dgm:prSet loTypeId="urn:microsoft.com/office/officeart/2005/8/layout/lProcess2" loCatId="list" qsTypeId="urn:microsoft.com/office/officeart/2005/8/quickstyle/simple1" qsCatId="simple" csTypeId="urn:microsoft.com/office/officeart/2005/8/colors/colorful3" csCatId="colorful" phldr="1"/>
      <dgm:spPr/>
      <dgm:t>
        <a:bodyPr/>
        <a:lstStyle/>
        <a:p>
          <a:endParaRPr lang="en-US"/>
        </a:p>
      </dgm:t>
    </dgm:pt>
    <dgm:pt modelId="{DF010E95-0D5B-4062-A2C1-2DF934ACED84}">
      <dgm:prSet phldrT="[Text]" custT="1"/>
      <dgm:spPr/>
      <dgm:t>
        <a:bodyPr/>
        <a:lstStyle/>
        <a:p>
          <a:r>
            <a:rPr lang="en-US" sz="1100" u="sng"/>
            <a:t>Secure Code Training &amp; Designing </a:t>
          </a:r>
        </a:p>
      </dgm:t>
    </dgm:pt>
    <dgm:pt modelId="{EF667F4E-74E8-43D7-A022-5D54C189FEDC}" type="parTrans" cxnId="{C953891B-D5E7-411F-98F4-E79B8419623E}">
      <dgm:prSet/>
      <dgm:spPr/>
      <dgm:t>
        <a:bodyPr/>
        <a:lstStyle/>
        <a:p>
          <a:endParaRPr lang="en-US" sz="1200"/>
        </a:p>
      </dgm:t>
    </dgm:pt>
    <dgm:pt modelId="{93EADE0A-8DBC-42C4-99BF-BEE40EAF109B}" type="sibTrans" cxnId="{C953891B-D5E7-411F-98F4-E79B8419623E}">
      <dgm:prSet/>
      <dgm:spPr/>
      <dgm:t>
        <a:bodyPr/>
        <a:lstStyle/>
        <a:p>
          <a:endParaRPr lang="en-US" sz="1200"/>
        </a:p>
      </dgm:t>
    </dgm:pt>
    <dgm:pt modelId="{2E006984-3103-4BFA-A82E-D96149B68923}">
      <dgm:prSet phldrT="[Text]" custT="1"/>
      <dgm:spPr/>
      <dgm:t>
        <a:bodyPr/>
        <a:lstStyle/>
        <a:p>
          <a:r>
            <a:rPr lang="en-US" sz="1100"/>
            <a:t>OWASP</a:t>
          </a:r>
        </a:p>
      </dgm:t>
    </dgm:pt>
    <dgm:pt modelId="{EA12379D-AE8B-4C60-8541-9D370E216990}" type="parTrans" cxnId="{4D3773FE-FA0A-4BE9-8065-9C0228EFA905}">
      <dgm:prSet/>
      <dgm:spPr/>
      <dgm:t>
        <a:bodyPr/>
        <a:lstStyle/>
        <a:p>
          <a:endParaRPr lang="en-US" sz="1200"/>
        </a:p>
      </dgm:t>
    </dgm:pt>
    <dgm:pt modelId="{992AB04C-713F-4FE0-B632-D0018B035871}" type="sibTrans" cxnId="{4D3773FE-FA0A-4BE9-8065-9C0228EFA905}">
      <dgm:prSet/>
      <dgm:spPr/>
      <dgm:t>
        <a:bodyPr/>
        <a:lstStyle/>
        <a:p>
          <a:endParaRPr lang="en-US" sz="1200"/>
        </a:p>
      </dgm:t>
    </dgm:pt>
    <dgm:pt modelId="{B57D116D-3A1E-4373-B2BA-4E059EEE5C65}">
      <dgm:prSet phldrT="[Text]" custT="1"/>
      <dgm:spPr/>
      <dgm:t>
        <a:bodyPr/>
        <a:lstStyle/>
        <a:p>
          <a:r>
            <a:rPr lang="en-US" sz="1100"/>
            <a:t>Pre-commit Security Hooks</a:t>
          </a:r>
        </a:p>
      </dgm:t>
    </dgm:pt>
    <dgm:pt modelId="{AFA85C32-74F9-4DD4-9423-5E5248F96C80}" type="parTrans" cxnId="{BECC9524-2261-4FCE-AF4A-C5E762A7CEC6}">
      <dgm:prSet/>
      <dgm:spPr/>
      <dgm:t>
        <a:bodyPr/>
        <a:lstStyle/>
        <a:p>
          <a:endParaRPr lang="en-US" sz="1200"/>
        </a:p>
      </dgm:t>
    </dgm:pt>
    <dgm:pt modelId="{8BA7A73D-0EE7-4EEA-BB30-2392AF9CD479}" type="sibTrans" cxnId="{BECC9524-2261-4FCE-AF4A-C5E762A7CEC6}">
      <dgm:prSet/>
      <dgm:spPr/>
      <dgm:t>
        <a:bodyPr/>
        <a:lstStyle/>
        <a:p>
          <a:endParaRPr lang="en-US" sz="1200"/>
        </a:p>
      </dgm:t>
    </dgm:pt>
    <dgm:pt modelId="{AB8AF8F4-A175-427C-9352-75EF220107A3}">
      <dgm:prSet phldrT="[Text]" custT="1"/>
      <dgm:spPr/>
      <dgm:t>
        <a:bodyPr/>
        <a:lstStyle/>
        <a:p>
          <a:r>
            <a:rPr lang="en-US" sz="1100" u="sng"/>
            <a:t>Secure access to CI service</a:t>
          </a:r>
        </a:p>
      </dgm:t>
    </dgm:pt>
    <dgm:pt modelId="{45B535C6-8EFA-4BC5-BC0A-8D5AC58F1E79}" type="parTrans" cxnId="{85F89C06-19FB-413F-9722-82310209CC47}">
      <dgm:prSet/>
      <dgm:spPr/>
      <dgm:t>
        <a:bodyPr/>
        <a:lstStyle/>
        <a:p>
          <a:endParaRPr lang="en-US" sz="1200"/>
        </a:p>
      </dgm:t>
    </dgm:pt>
    <dgm:pt modelId="{7B1D8411-5DA8-4993-94CC-230A9E4C68C2}" type="sibTrans" cxnId="{85F89C06-19FB-413F-9722-82310209CC47}">
      <dgm:prSet/>
      <dgm:spPr/>
      <dgm:t>
        <a:bodyPr/>
        <a:lstStyle/>
        <a:p>
          <a:endParaRPr lang="en-US" sz="1200"/>
        </a:p>
      </dgm:t>
    </dgm:pt>
    <dgm:pt modelId="{C2A3C877-DFA1-4813-92E0-91895E5CDBF4}">
      <dgm:prSet phldrT="[Text]" custT="1"/>
      <dgm:spPr/>
      <dgm:t>
        <a:bodyPr/>
        <a:lstStyle/>
        <a:p>
          <a:r>
            <a:rPr lang="en-US" sz="1100" u="sng"/>
            <a:t>Code Analysis and SCA</a:t>
          </a:r>
        </a:p>
      </dgm:t>
    </dgm:pt>
    <dgm:pt modelId="{73336AEB-DA33-4F19-A37B-7B5B650ED71A}" type="parTrans" cxnId="{C64AA80C-C2DA-4527-851C-0792049A21E5}">
      <dgm:prSet/>
      <dgm:spPr/>
      <dgm:t>
        <a:bodyPr/>
        <a:lstStyle/>
        <a:p>
          <a:endParaRPr lang="en-US" sz="1200"/>
        </a:p>
      </dgm:t>
    </dgm:pt>
    <dgm:pt modelId="{F01457B5-0231-4CD8-950F-99365D08AFDA}" type="sibTrans" cxnId="{C64AA80C-C2DA-4527-851C-0792049A21E5}">
      <dgm:prSet/>
      <dgm:spPr/>
      <dgm:t>
        <a:bodyPr/>
        <a:lstStyle/>
        <a:p>
          <a:endParaRPr lang="en-US" sz="1200"/>
        </a:p>
      </dgm:t>
    </dgm:pt>
    <dgm:pt modelId="{380D342B-1751-4A33-852D-F89856C63B0D}">
      <dgm:prSet custT="1"/>
      <dgm:spPr/>
      <dgm:t>
        <a:bodyPr/>
        <a:lstStyle/>
        <a:p>
          <a:r>
            <a:rPr lang="en-US" sz="1100"/>
            <a:t>SANS CWE</a:t>
          </a:r>
        </a:p>
      </dgm:t>
    </dgm:pt>
    <dgm:pt modelId="{318076B1-1DC8-447E-BECC-BC6E4373C95C}" type="parTrans" cxnId="{444BA357-6407-470E-9AF7-D497456F3437}">
      <dgm:prSet/>
      <dgm:spPr/>
      <dgm:t>
        <a:bodyPr/>
        <a:lstStyle/>
        <a:p>
          <a:endParaRPr lang="en-US" sz="1200"/>
        </a:p>
      </dgm:t>
    </dgm:pt>
    <dgm:pt modelId="{25C7F7DA-255F-491B-BB7B-0945FE7A3E3C}" type="sibTrans" cxnId="{444BA357-6407-470E-9AF7-D497456F3437}">
      <dgm:prSet/>
      <dgm:spPr/>
      <dgm:t>
        <a:bodyPr/>
        <a:lstStyle/>
        <a:p>
          <a:endParaRPr lang="en-US" sz="1200"/>
        </a:p>
      </dgm:t>
    </dgm:pt>
    <dgm:pt modelId="{DE6FCAF4-2A35-47B2-95BA-48D340F8559B}">
      <dgm:prSet custT="1"/>
      <dgm:spPr/>
      <dgm:t>
        <a:bodyPr/>
        <a:lstStyle/>
        <a:p>
          <a:r>
            <a:rPr lang="en-US" sz="1100"/>
            <a:t>12 Factor App Guidelines</a:t>
          </a:r>
        </a:p>
      </dgm:t>
    </dgm:pt>
    <dgm:pt modelId="{D1A80FDD-BA07-441E-AAF2-0503512A9D3E}" type="parTrans" cxnId="{0B953968-F73E-44F6-A926-BC2481CB628B}">
      <dgm:prSet/>
      <dgm:spPr/>
      <dgm:t>
        <a:bodyPr/>
        <a:lstStyle/>
        <a:p>
          <a:endParaRPr lang="en-US" sz="1200"/>
        </a:p>
      </dgm:t>
    </dgm:pt>
    <dgm:pt modelId="{5FF70BF6-9CF0-44BA-9961-2C31C59C7B53}" type="sibTrans" cxnId="{0B953968-F73E-44F6-A926-BC2481CB628B}">
      <dgm:prSet/>
      <dgm:spPr/>
      <dgm:t>
        <a:bodyPr/>
        <a:lstStyle/>
        <a:p>
          <a:endParaRPr lang="en-US" sz="1200"/>
        </a:p>
      </dgm:t>
    </dgm:pt>
    <dgm:pt modelId="{84CC265E-118F-4CD0-A9B2-E4A8EA5E6D76}">
      <dgm:prSet custT="1"/>
      <dgm:spPr/>
      <dgm:t>
        <a:bodyPr/>
        <a:lstStyle/>
        <a:p>
          <a:r>
            <a:rPr lang="en-US" sz="1100" u="sng"/>
            <a:t>Secure Access to Code and Image repository</a:t>
          </a:r>
        </a:p>
      </dgm:t>
    </dgm:pt>
    <dgm:pt modelId="{4DA6CB94-866E-4E5B-95DB-2BA486893F56}" type="parTrans" cxnId="{D7DA3666-2193-4471-9D49-1CC746A81002}">
      <dgm:prSet/>
      <dgm:spPr/>
      <dgm:t>
        <a:bodyPr/>
        <a:lstStyle/>
        <a:p>
          <a:endParaRPr lang="en-US" sz="1200"/>
        </a:p>
      </dgm:t>
    </dgm:pt>
    <dgm:pt modelId="{16923361-3934-4ACF-BB29-EF29F542FA95}" type="sibTrans" cxnId="{D7DA3666-2193-4471-9D49-1CC746A81002}">
      <dgm:prSet/>
      <dgm:spPr/>
      <dgm:t>
        <a:bodyPr/>
        <a:lstStyle/>
        <a:p>
          <a:endParaRPr lang="en-US" sz="1200"/>
        </a:p>
      </dgm:t>
    </dgm:pt>
    <dgm:pt modelId="{AD8C8F7B-8617-4A02-BDD3-ED71B8536DF6}">
      <dgm:prSet custT="1"/>
      <dgm:spPr/>
      <dgm:t>
        <a:bodyPr/>
        <a:lstStyle/>
        <a:p>
          <a:r>
            <a:rPr lang="en-US" sz="1100"/>
            <a:t>Git-hound</a:t>
          </a:r>
        </a:p>
      </dgm:t>
    </dgm:pt>
    <dgm:pt modelId="{E52150EC-E031-436A-9705-C38A2056A70A}" type="parTrans" cxnId="{A74F94AE-10C5-410A-977E-07705729360A}">
      <dgm:prSet/>
      <dgm:spPr/>
      <dgm:t>
        <a:bodyPr/>
        <a:lstStyle/>
        <a:p>
          <a:endParaRPr lang="en-US" sz="1200"/>
        </a:p>
      </dgm:t>
    </dgm:pt>
    <dgm:pt modelId="{4FD4AB36-E6C9-4B87-A343-2D90696A4F86}" type="sibTrans" cxnId="{A74F94AE-10C5-410A-977E-07705729360A}">
      <dgm:prSet/>
      <dgm:spPr/>
      <dgm:t>
        <a:bodyPr/>
        <a:lstStyle/>
        <a:p>
          <a:endParaRPr lang="en-US" sz="1200"/>
        </a:p>
      </dgm:t>
    </dgm:pt>
    <dgm:pt modelId="{CAA83B8B-724A-47C9-9AAF-C797C8F7AFE1}">
      <dgm:prSet custT="1"/>
      <dgm:spPr/>
      <dgm:t>
        <a:bodyPr/>
        <a:lstStyle/>
        <a:p>
          <a:r>
            <a:rPr lang="en-US" sz="1100"/>
            <a:t>Detect-secrets</a:t>
          </a:r>
        </a:p>
      </dgm:t>
    </dgm:pt>
    <dgm:pt modelId="{8AE01381-C9CA-4DE4-A837-0F4CB1693543}" type="parTrans" cxnId="{2894C59B-48C0-4408-92DD-EFBDFFDD0E12}">
      <dgm:prSet/>
      <dgm:spPr/>
      <dgm:t>
        <a:bodyPr/>
        <a:lstStyle/>
        <a:p>
          <a:endParaRPr lang="en-US" sz="1200"/>
        </a:p>
      </dgm:t>
    </dgm:pt>
    <dgm:pt modelId="{820856D4-ECB3-41EB-A6AE-060B554D863B}" type="sibTrans" cxnId="{2894C59B-48C0-4408-92DD-EFBDFFDD0E12}">
      <dgm:prSet/>
      <dgm:spPr/>
      <dgm:t>
        <a:bodyPr/>
        <a:lstStyle/>
        <a:p>
          <a:endParaRPr lang="en-US" sz="1200"/>
        </a:p>
      </dgm:t>
    </dgm:pt>
    <dgm:pt modelId="{1460D79F-F05D-45F9-B333-03A29741DF90}">
      <dgm:prSet custT="1"/>
      <dgm:spPr/>
      <dgm:t>
        <a:bodyPr/>
        <a:lstStyle/>
        <a:p>
          <a:r>
            <a:rPr lang="en-US" sz="1100"/>
            <a:t>Git-Secrets</a:t>
          </a:r>
        </a:p>
      </dgm:t>
    </dgm:pt>
    <dgm:pt modelId="{FF6C85A6-CD7F-438A-9E32-CA4E463E89C7}" type="parTrans" cxnId="{5E50ABA2-7FA0-412C-A7A6-BF722372F6FB}">
      <dgm:prSet/>
      <dgm:spPr/>
      <dgm:t>
        <a:bodyPr/>
        <a:lstStyle/>
        <a:p>
          <a:endParaRPr lang="en-US" sz="1200"/>
        </a:p>
      </dgm:t>
    </dgm:pt>
    <dgm:pt modelId="{D4DC3AEE-A3E1-4724-9E35-C7E6528BE5BA}" type="sibTrans" cxnId="{5E50ABA2-7FA0-412C-A7A6-BF722372F6FB}">
      <dgm:prSet/>
      <dgm:spPr/>
      <dgm:t>
        <a:bodyPr/>
        <a:lstStyle/>
        <a:p>
          <a:endParaRPr lang="en-US" sz="1200"/>
        </a:p>
      </dgm:t>
    </dgm:pt>
    <dgm:pt modelId="{FBC5DB17-24ED-4ED4-BC75-2D19C0267DF2}">
      <dgm:prSet custT="1"/>
      <dgm:spPr/>
      <dgm:t>
        <a:bodyPr/>
        <a:lstStyle/>
        <a:p>
          <a:r>
            <a:rPr lang="en-US" sz="1100"/>
            <a:t>Repo-supervisor</a:t>
          </a:r>
        </a:p>
      </dgm:t>
    </dgm:pt>
    <dgm:pt modelId="{04E4D818-5FD9-488D-868C-E0A2B07F74CC}" type="parTrans" cxnId="{C0E25E37-4A31-4ADB-8EED-7606DE524823}">
      <dgm:prSet/>
      <dgm:spPr/>
      <dgm:t>
        <a:bodyPr/>
        <a:lstStyle/>
        <a:p>
          <a:endParaRPr lang="en-US" sz="1200"/>
        </a:p>
      </dgm:t>
    </dgm:pt>
    <dgm:pt modelId="{5D72485B-8F8F-48DE-85E0-543546CFADFC}" type="sibTrans" cxnId="{C0E25E37-4A31-4ADB-8EED-7606DE524823}">
      <dgm:prSet/>
      <dgm:spPr/>
      <dgm:t>
        <a:bodyPr/>
        <a:lstStyle/>
        <a:p>
          <a:endParaRPr lang="en-US" sz="1200"/>
        </a:p>
      </dgm:t>
    </dgm:pt>
    <dgm:pt modelId="{2093BC31-67B5-4C48-9C9C-0DC0DB34B97F}">
      <dgm:prSet custT="1"/>
      <dgm:spPr/>
      <dgm:t>
        <a:bodyPr/>
        <a:lstStyle/>
        <a:p>
          <a:r>
            <a:rPr lang="en-US" sz="1100"/>
            <a:t>IDE Security Plugins</a:t>
          </a:r>
        </a:p>
      </dgm:t>
    </dgm:pt>
    <dgm:pt modelId="{A84BC00E-AC75-49E0-B09B-116CEB5B1082}" type="parTrans" cxnId="{44633B03-3302-49C0-AAE6-DD0B98339DC6}">
      <dgm:prSet/>
      <dgm:spPr/>
      <dgm:t>
        <a:bodyPr/>
        <a:lstStyle/>
        <a:p>
          <a:endParaRPr lang="en-US" sz="1200"/>
        </a:p>
      </dgm:t>
    </dgm:pt>
    <dgm:pt modelId="{575A2534-C144-4B4C-87AE-8CECD842914D}" type="sibTrans" cxnId="{44633B03-3302-49C0-AAE6-DD0B98339DC6}">
      <dgm:prSet/>
      <dgm:spPr/>
      <dgm:t>
        <a:bodyPr/>
        <a:lstStyle/>
        <a:p>
          <a:endParaRPr lang="en-US" sz="1200"/>
        </a:p>
      </dgm:t>
    </dgm:pt>
    <dgm:pt modelId="{96095E8B-A867-437A-BB57-83596DE35885}">
      <dgm:prSet custT="1"/>
      <dgm:spPr/>
      <dgm:t>
        <a:bodyPr/>
        <a:lstStyle/>
        <a:p>
          <a:r>
            <a:rPr lang="en-US" sz="1100"/>
            <a:t>DevSkim</a:t>
          </a:r>
        </a:p>
      </dgm:t>
    </dgm:pt>
    <dgm:pt modelId="{277F7084-7245-494F-9F8D-19DF88A8A481}" type="parTrans" cxnId="{14E06BB0-B7E8-4233-A4FE-8A9BA0D12A72}">
      <dgm:prSet/>
      <dgm:spPr/>
      <dgm:t>
        <a:bodyPr/>
        <a:lstStyle/>
        <a:p>
          <a:endParaRPr lang="en-US" sz="1200"/>
        </a:p>
      </dgm:t>
    </dgm:pt>
    <dgm:pt modelId="{42A1F183-9344-4C23-8A7E-530699EC3B5A}" type="sibTrans" cxnId="{14E06BB0-B7E8-4233-A4FE-8A9BA0D12A72}">
      <dgm:prSet/>
      <dgm:spPr/>
      <dgm:t>
        <a:bodyPr/>
        <a:lstStyle/>
        <a:p>
          <a:endParaRPr lang="en-US" sz="1200"/>
        </a:p>
      </dgm:t>
    </dgm:pt>
    <dgm:pt modelId="{DE35E6BB-9029-4A9F-A4AC-79566958C07A}">
      <dgm:prSet custT="1"/>
      <dgm:spPr/>
      <dgm:t>
        <a:bodyPr/>
        <a:lstStyle/>
        <a:p>
          <a:r>
            <a:rPr lang="en-US" sz="1100"/>
            <a:t>FindSecurityBugs</a:t>
          </a:r>
        </a:p>
      </dgm:t>
    </dgm:pt>
    <dgm:pt modelId="{11070055-62C4-4E49-A55D-65768278FD44}" type="parTrans" cxnId="{C981D21B-2A3B-4309-99BE-35714D5EA002}">
      <dgm:prSet/>
      <dgm:spPr/>
      <dgm:t>
        <a:bodyPr/>
        <a:lstStyle/>
        <a:p>
          <a:endParaRPr lang="en-US" sz="1200"/>
        </a:p>
      </dgm:t>
    </dgm:pt>
    <dgm:pt modelId="{9DFB0A06-6C0D-4D8B-A7CF-AE6FF7F7FEAD}" type="sibTrans" cxnId="{C981D21B-2A3B-4309-99BE-35714D5EA002}">
      <dgm:prSet/>
      <dgm:spPr/>
      <dgm:t>
        <a:bodyPr/>
        <a:lstStyle/>
        <a:p>
          <a:endParaRPr lang="en-US" sz="1200"/>
        </a:p>
      </dgm:t>
    </dgm:pt>
    <dgm:pt modelId="{05C48BD8-5E3B-4D9E-8FF4-B9B15839E04F}">
      <dgm:prSet custT="1"/>
      <dgm:spPr/>
      <dgm:t>
        <a:bodyPr/>
        <a:lstStyle/>
        <a:p>
          <a:r>
            <a:rPr lang="en-US" sz="1100"/>
            <a:t>Sonar Lint</a:t>
          </a:r>
        </a:p>
      </dgm:t>
    </dgm:pt>
    <dgm:pt modelId="{B142A0A6-92C8-45F5-8DE1-95C4DBA73791}" type="parTrans" cxnId="{19A868EF-8DD8-4744-AAA7-504720C449E0}">
      <dgm:prSet/>
      <dgm:spPr/>
      <dgm:t>
        <a:bodyPr/>
        <a:lstStyle/>
        <a:p>
          <a:endParaRPr lang="en-US" sz="1200"/>
        </a:p>
      </dgm:t>
    </dgm:pt>
    <dgm:pt modelId="{C3884265-2714-4802-953B-1BC45D5B50CB}" type="sibTrans" cxnId="{19A868EF-8DD8-4744-AAA7-504720C449E0}">
      <dgm:prSet/>
      <dgm:spPr/>
      <dgm:t>
        <a:bodyPr/>
        <a:lstStyle/>
        <a:p>
          <a:endParaRPr lang="en-US" sz="1200"/>
        </a:p>
      </dgm:t>
    </dgm:pt>
    <dgm:pt modelId="{28CCA9A3-DE79-4B56-AD3C-250B12E6D7C2}">
      <dgm:prSet custT="1"/>
      <dgm:spPr/>
      <dgm:t>
        <a:bodyPr/>
        <a:lstStyle/>
        <a:p>
          <a:r>
            <a:rPr lang="en-US" sz="1100"/>
            <a:t>In-built Credentials Manager</a:t>
          </a:r>
        </a:p>
      </dgm:t>
    </dgm:pt>
    <dgm:pt modelId="{D3D1B954-F6CD-44B6-B31F-8CBCF851692E}" type="parTrans" cxnId="{A158ABF4-BCEC-4596-96EC-B0245CFC01C5}">
      <dgm:prSet/>
      <dgm:spPr/>
      <dgm:t>
        <a:bodyPr/>
        <a:lstStyle/>
        <a:p>
          <a:endParaRPr lang="en-US" sz="1200"/>
        </a:p>
      </dgm:t>
    </dgm:pt>
    <dgm:pt modelId="{5567C320-4FF1-4B70-90C6-5BEF5BF48A84}" type="sibTrans" cxnId="{A158ABF4-BCEC-4596-96EC-B0245CFC01C5}">
      <dgm:prSet/>
      <dgm:spPr/>
      <dgm:t>
        <a:bodyPr/>
        <a:lstStyle/>
        <a:p>
          <a:endParaRPr lang="en-US" sz="1200"/>
        </a:p>
      </dgm:t>
    </dgm:pt>
    <dgm:pt modelId="{E448DFBB-57C7-4E41-AD0B-A9C58183DFF1}">
      <dgm:prSet custT="1"/>
      <dgm:spPr/>
      <dgm:t>
        <a:bodyPr/>
        <a:lstStyle/>
        <a:p>
          <a:r>
            <a:rPr lang="en-US" sz="1100"/>
            <a:t>Centralized Secret Manager</a:t>
          </a:r>
        </a:p>
      </dgm:t>
    </dgm:pt>
    <dgm:pt modelId="{E428454F-6410-473A-A7A6-41D7B30C2518}" type="parTrans" cxnId="{45FBC3DA-4004-43BD-805F-8059C3FB654F}">
      <dgm:prSet/>
      <dgm:spPr/>
      <dgm:t>
        <a:bodyPr/>
        <a:lstStyle/>
        <a:p>
          <a:endParaRPr lang="en-US" sz="1200"/>
        </a:p>
      </dgm:t>
    </dgm:pt>
    <dgm:pt modelId="{0ACB336F-3BEA-4F53-90C1-EA5D05683387}" type="sibTrans" cxnId="{45FBC3DA-4004-43BD-805F-8059C3FB654F}">
      <dgm:prSet/>
      <dgm:spPr/>
      <dgm:t>
        <a:bodyPr/>
        <a:lstStyle/>
        <a:p>
          <a:endParaRPr lang="en-US" sz="1200"/>
        </a:p>
      </dgm:t>
    </dgm:pt>
    <dgm:pt modelId="{7F88383C-CC6D-4A14-B20C-27A3844DCA1E}">
      <dgm:prSet custT="1"/>
      <dgm:spPr/>
      <dgm:t>
        <a:bodyPr/>
        <a:lstStyle/>
        <a:p>
          <a:r>
            <a:rPr lang="en-US" sz="1100"/>
            <a:t>Grssecurity</a:t>
          </a:r>
        </a:p>
      </dgm:t>
    </dgm:pt>
    <dgm:pt modelId="{75CE8CEA-4756-4DEC-8769-33ACB926E12A}" type="parTrans" cxnId="{2703E64F-837B-4AD7-9DAE-706A84A1447B}">
      <dgm:prSet/>
      <dgm:spPr/>
      <dgm:t>
        <a:bodyPr/>
        <a:lstStyle/>
        <a:p>
          <a:endParaRPr lang="en-US" sz="1200"/>
        </a:p>
      </dgm:t>
    </dgm:pt>
    <dgm:pt modelId="{14408D1D-E084-43B9-B3D0-EE950C48EBB9}" type="sibTrans" cxnId="{2703E64F-837B-4AD7-9DAE-706A84A1447B}">
      <dgm:prSet/>
      <dgm:spPr/>
      <dgm:t>
        <a:bodyPr/>
        <a:lstStyle/>
        <a:p>
          <a:endParaRPr lang="en-US" sz="1200"/>
        </a:p>
      </dgm:t>
    </dgm:pt>
    <dgm:pt modelId="{BFDFF7AB-9618-402F-8CCF-88B9E3ABC0FF}">
      <dgm:prSet custT="1"/>
      <dgm:spPr/>
      <dgm:t>
        <a:bodyPr/>
        <a:lstStyle/>
        <a:p>
          <a:r>
            <a:rPr lang="en-US" sz="1100"/>
            <a:t>SAST</a:t>
          </a:r>
        </a:p>
      </dgm:t>
    </dgm:pt>
    <dgm:pt modelId="{0373A459-8F23-4BA2-BFED-561D52BD2A34}" type="parTrans" cxnId="{4BED88B2-8D11-4203-9D7E-FCCD7FB387AE}">
      <dgm:prSet/>
      <dgm:spPr/>
      <dgm:t>
        <a:bodyPr/>
        <a:lstStyle/>
        <a:p>
          <a:endParaRPr lang="en-US" sz="1200"/>
        </a:p>
      </dgm:t>
    </dgm:pt>
    <dgm:pt modelId="{C679C659-2A4B-40A9-9C5D-B9768C2E947C}" type="sibTrans" cxnId="{4BED88B2-8D11-4203-9D7E-FCCD7FB387AE}">
      <dgm:prSet/>
      <dgm:spPr/>
      <dgm:t>
        <a:bodyPr/>
        <a:lstStyle/>
        <a:p>
          <a:endParaRPr lang="en-US" sz="1200"/>
        </a:p>
      </dgm:t>
    </dgm:pt>
    <dgm:pt modelId="{1056C2BD-3D86-45FF-94B9-96E6B6BF4927}">
      <dgm:prSet custT="1"/>
      <dgm:spPr/>
      <dgm:t>
        <a:bodyPr/>
        <a:lstStyle/>
        <a:p>
          <a:r>
            <a:rPr lang="en-US" sz="1100"/>
            <a:t>Veracode</a:t>
          </a:r>
        </a:p>
      </dgm:t>
    </dgm:pt>
    <dgm:pt modelId="{63A461AA-ED4A-4336-976C-0D15D1E99240}" type="parTrans" cxnId="{15803AA5-6EDC-4FCD-89D6-7AD895F45831}">
      <dgm:prSet/>
      <dgm:spPr/>
      <dgm:t>
        <a:bodyPr/>
        <a:lstStyle/>
        <a:p>
          <a:endParaRPr lang="en-US" sz="1200"/>
        </a:p>
      </dgm:t>
    </dgm:pt>
    <dgm:pt modelId="{8D1F48EB-F90B-4488-8214-9A1B8DB04B52}" type="sibTrans" cxnId="{15803AA5-6EDC-4FCD-89D6-7AD895F45831}">
      <dgm:prSet/>
      <dgm:spPr/>
      <dgm:t>
        <a:bodyPr/>
        <a:lstStyle/>
        <a:p>
          <a:endParaRPr lang="en-US" sz="1200"/>
        </a:p>
      </dgm:t>
    </dgm:pt>
    <dgm:pt modelId="{23F06F29-47D9-45E3-BCE6-AC5191D86E56}">
      <dgm:prSet custT="1"/>
      <dgm:spPr/>
      <dgm:t>
        <a:bodyPr/>
        <a:lstStyle/>
        <a:p>
          <a:r>
            <a:rPr lang="en-US" sz="1100"/>
            <a:t>Fortify</a:t>
          </a:r>
        </a:p>
      </dgm:t>
    </dgm:pt>
    <dgm:pt modelId="{C4E2F853-3B87-4A77-81C0-B9A77CEBF0A7}" type="parTrans" cxnId="{BF868026-0A97-4EBA-8BFF-BB9850F6DF1F}">
      <dgm:prSet/>
      <dgm:spPr/>
      <dgm:t>
        <a:bodyPr/>
        <a:lstStyle/>
        <a:p>
          <a:endParaRPr lang="en-US" sz="1200"/>
        </a:p>
      </dgm:t>
    </dgm:pt>
    <dgm:pt modelId="{2BFB0EF6-FC74-471F-9E29-B80917AF9BEE}" type="sibTrans" cxnId="{BF868026-0A97-4EBA-8BFF-BB9850F6DF1F}">
      <dgm:prSet/>
      <dgm:spPr/>
      <dgm:t>
        <a:bodyPr/>
        <a:lstStyle/>
        <a:p>
          <a:endParaRPr lang="en-US" sz="1200"/>
        </a:p>
      </dgm:t>
    </dgm:pt>
    <dgm:pt modelId="{01684104-82A8-433B-843B-9067C77E6A89}">
      <dgm:prSet custT="1"/>
      <dgm:spPr/>
      <dgm:t>
        <a:bodyPr/>
        <a:lstStyle/>
        <a:p>
          <a:r>
            <a:rPr lang="en-US" sz="1100"/>
            <a:t>SCA</a:t>
          </a:r>
        </a:p>
      </dgm:t>
    </dgm:pt>
    <dgm:pt modelId="{5212E12D-07DE-4D90-905C-7DE139301B14}" type="parTrans" cxnId="{667C8A24-156B-4E36-8604-4219249FB3B8}">
      <dgm:prSet/>
      <dgm:spPr/>
      <dgm:t>
        <a:bodyPr/>
        <a:lstStyle/>
        <a:p>
          <a:endParaRPr lang="en-US" sz="1200"/>
        </a:p>
      </dgm:t>
    </dgm:pt>
    <dgm:pt modelId="{C794FBE2-BECF-41DC-9705-077997CC931F}" type="sibTrans" cxnId="{667C8A24-156B-4E36-8604-4219249FB3B8}">
      <dgm:prSet/>
      <dgm:spPr/>
      <dgm:t>
        <a:bodyPr/>
        <a:lstStyle/>
        <a:p>
          <a:endParaRPr lang="en-US" sz="1200"/>
        </a:p>
      </dgm:t>
    </dgm:pt>
    <dgm:pt modelId="{DDD8E90D-459A-4341-8846-6D0616A91527}">
      <dgm:prSet custT="1"/>
      <dgm:spPr/>
      <dgm:t>
        <a:bodyPr/>
        <a:lstStyle/>
        <a:p>
          <a:r>
            <a:rPr lang="en-US" sz="1100"/>
            <a:t>OWASP dependency-check</a:t>
          </a:r>
        </a:p>
      </dgm:t>
    </dgm:pt>
    <dgm:pt modelId="{ACE8C1DD-815C-4A3B-B431-B5C12B661E6B}" type="parTrans" cxnId="{0914B12C-7395-49DE-A431-1C7C9C3FABB4}">
      <dgm:prSet/>
      <dgm:spPr/>
      <dgm:t>
        <a:bodyPr/>
        <a:lstStyle/>
        <a:p>
          <a:endParaRPr lang="en-US" sz="1200"/>
        </a:p>
      </dgm:t>
    </dgm:pt>
    <dgm:pt modelId="{1965EC5E-630E-4745-AE10-3E5AEFE47EAA}" type="sibTrans" cxnId="{0914B12C-7395-49DE-A431-1C7C9C3FABB4}">
      <dgm:prSet/>
      <dgm:spPr/>
      <dgm:t>
        <a:bodyPr/>
        <a:lstStyle/>
        <a:p>
          <a:endParaRPr lang="en-US" sz="1200"/>
        </a:p>
      </dgm:t>
    </dgm:pt>
    <dgm:pt modelId="{081E5439-11FB-4CF5-B4AC-4E0F138AEFA9}">
      <dgm:prSet custT="1"/>
      <dgm:spPr/>
      <dgm:t>
        <a:bodyPr/>
        <a:lstStyle/>
        <a:p>
          <a:r>
            <a:rPr lang="en-US" sz="1100"/>
            <a:t>Coverty</a:t>
          </a:r>
        </a:p>
      </dgm:t>
    </dgm:pt>
    <dgm:pt modelId="{79742C93-E7F5-4E78-92E1-15F9B0A5CE54}" type="parTrans" cxnId="{82A456EC-8101-4792-A290-987900850A64}">
      <dgm:prSet/>
      <dgm:spPr/>
      <dgm:t>
        <a:bodyPr/>
        <a:lstStyle/>
        <a:p>
          <a:endParaRPr lang="en-US" sz="1200"/>
        </a:p>
      </dgm:t>
    </dgm:pt>
    <dgm:pt modelId="{51B4F7E0-A567-4EFF-A9D7-173B8B0C4C65}" type="sibTrans" cxnId="{82A456EC-8101-4792-A290-987900850A64}">
      <dgm:prSet/>
      <dgm:spPr/>
      <dgm:t>
        <a:bodyPr/>
        <a:lstStyle/>
        <a:p>
          <a:endParaRPr lang="en-US" sz="1200"/>
        </a:p>
      </dgm:t>
    </dgm:pt>
    <dgm:pt modelId="{3B8316B4-59D4-4738-BC8D-A1F4D48E8EB9}">
      <dgm:prSet custT="1"/>
      <dgm:spPr/>
      <dgm:t>
        <a:bodyPr/>
        <a:lstStyle/>
        <a:p>
          <a:r>
            <a:rPr lang="en-US" sz="1100"/>
            <a:t>NetSparker</a:t>
          </a:r>
        </a:p>
      </dgm:t>
    </dgm:pt>
    <dgm:pt modelId="{E80AE72F-2DEC-404A-89C5-0B87A33CE71B}" type="parTrans" cxnId="{6C6A54C7-83B6-4A5D-A272-84F74F69619E}">
      <dgm:prSet/>
      <dgm:spPr/>
      <dgm:t>
        <a:bodyPr/>
        <a:lstStyle/>
        <a:p>
          <a:endParaRPr lang="en-US" sz="1200"/>
        </a:p>
      </dgm:t>
    </dgm:pt>
    <dgm:pt modelId="{DEF53C31-25A1-4919-B71F-8FECC780FE11}" type="sibTrans" cxnId="{6C6A54C7-83B6-4A5D-A272-84F74F69619E}">
      <dgm:prSet/>
      <dgm:spPr/>
      <dgm:t>
        <a:bodyPr/>
        <a:lstStyle/>
        <a:p>
          <a:endParaRPr lang="en-US" sz="1200"/>
        </a:p>
      </dgm:t>
    </dgm:pt>
    <dgm:pt modelId="{55DD7619-B8CB-4E13-AAB6-B7170096AB1D}">
      <dgm:prSet custT="1"/>
      <dgm:spPr/>
      <dgm:t>
        <a:bodyPr/>
        <a:lstStyle/>
        <a:p>
          <a:r>
            <a:rPr lang="en-US" sz="1100" u="sng"/>
            <a:t>Composition analysis</a:t>
          </a:r>
        </a:p>
      </dgm:t>
    </dgm:pt>
    <dgm:pt modelId="{787A7E54-ACFC-4C0C-A504-130373AB6961}" type="parTrans" cxnId="{9B720D0C-CC9E-4ED7-8671-2A964538ABBB}">
      <dgm:prSet/>
      <dgm:spPr/>
      <dgm:t>
        <a:bodyPr/>
        <a:lstStyle/>
        <a:p>
          <a:endParaRPr lang="en-US" sz="1200"/>
        </a:p>
      </dgm:t>
    </dgm:pt>
    <dgm:pt modelId="{A036694C-D931-4187-BCDD-9265622B3BF0}" type="sibTrans" cxnId="{9B720D0C-CC9E-4ED7-8671-2A964538ABBB}">
      <dgm:prSet/>
      <dgm:spPr/>
      <dgm:t>
        <a:bodyPr/>
        <a:lstStyle/>
        <a:p>
          <a:endParaRPr lang="en-US" sz="1200"/>
        </a:p>
      </dgm:t>
    </dgm:pt>
    <dgm:pt modelId="{03B7EB66-3F1C-4B3B-93D1-6B85E1516ACC}">
      <dgm:prSet custT="1"/>
      <dgm:spPr/>
      <dgm:t>
        <a:bodyPr/>
        <a:lstStyle/>
        <a:p>
          <a:r>
            <a:rPr lang="en-US" sz="1100"/>
            <a:t>OWASP dependency-check</a:t>
          </a:r>
        </a:p>
      </dgm:t>
    </dgm:pt>
    <dgm:pt modelId="{09D83934-1D56-4931-9F96-16D032F30FA9}" type="parTrans" cxnId="{B9A6CCDA-55E6-4357-B8F7-C824DED4B4CB}">
      <dgm:prSet/>
      <dgm:spPr/>
      <dgm:t>
        <a:bodyPr/>
        <a:lstStyle/>
        <a:p>
          <a:endParaRPr lang="en-US" sz="1200"/>
        </a:p>
      </dgm:t>
    </dgm:pt>
    <dgm:pt modelId="{DFF56190-4416-458E-B2E3-BB2D6A5A8031}" type="sibTrans" cxnId="{B9A6CCDA-55E6-4357-B8F7-C824DED4B4CB}">
      <dgm:prSet/>
      <dgm:spPr/>
      <dgm:t>
        <a:bodyPr/>
        <a:lstStyle/>
        <a:p>
          <a:endParaRPr lang="en-US" sz="1200"/>
        </a:p>
      </dgm:t>
    </dgm:pt>
    <dgm:pt modelId="{634ABC3D-890B-446F-8256-7A014579F33A}">
      <dgm:prSet custT="1"/>
      <dgm:spPr/>
      <dgm:t>
        <a:bodyPr/>
        <a:lstStyle/>
        <a:p>
          <a:r>
            <a:rPr lang="en-US" sz="1100"/>
            <a:t>Coverty</a:t>
          </a:r>
        </a:p>
      </dgm:t>
    </dgm:pt>
    <dgm:pt modelId="{303EB794-3227-45BF-89CF-A1216BABCD72}" type="parTrans" cxnId="{D5B24B0E-0B2D-49B4-8D1E-E28FB75944A5}">
      <dgm:prSet/>
      <dgm:spPr/>
      <dgm:t>
        <a:bodyPr/>
        <a:lstStyle/>
        <a:p>
          <a:endParaRPr lang="en-US" sz="1200"/>
        </a:p>
      </dgm:t>
    </dgm:pt>
    <dgm:pt modelId="{D2C3E396-0438-47E2-9FB3-866041A41DF6}" type="sibTrans" cxnId="{D5B24B0E-0B2D-49B4-8D1E-E28FB75944A5}">
      <dgm:prSet/>
      <dgm:spPr/>
      <dgm:t>
        <a:bodyPr/>
        <a:lstStyle/>
        <a:p>
          <a:endParaRPr lang="en-US" sz="1200"/>
        </a:p>
      </dgm:t>
    </dgm:pt>
    <dgm:pt modelId="{9F5564AB-FC0E-4821-ADB4-AC2C8A4BAB25}">
      <dgm:prSet custT="1"/>
      <dgm:spPr/>
      <dgm:t>
        <a:bodyPr/>
        <a:lstStyle/>
        <a:p>
          <a:r>
            <a:rPr lang="en-US" sz="1100"/>
            <a:t>MicroFocus Fortify,SonarQube,Veracode</a:t>
          </a:r>
        </a:p>
      </dgm:t>
    </dgm:pt>
    <dgm:pt modelId="{3EC7773A-447A-4CE0-A484-0A52FE5DE88F}" type="parTrans" cxnId="{6109348E-7009-40AD-8587-AD10AE123846}">
      <dgm:prSet/>
      <dgm:spPr/>
      <dgm:t>
        <a:bodyPr/>
        <a:lstStyle/>
        <a:p>
          <a:endParaRPr lang="en-US" sz="1200"/>
        </a:p>
      </dgm:t>
    </dgm:pt>
    <dgm:pt modelId="{C1F13152-0295-42AE-841D-8E3323EE2687}" type="sibTrans" cxnId="{6109348E-7009-40AD-8587-AD10AE123846}">
      <dgm:prSet/>
      <dgm:spPr/>
      <dgm:t>
        <a:bodyPr/>
        <a:lstStyle/>
        <a:p>
          <a:endParaRPr lang="en-US" sz="1200"/>
        </a:p>
      </dgm:t>
    </dgm:pt>
    <dgm:pt modelId="{D813C000-3379-4140-B0E2-7A32355E0570}">
      <dgm:prSet custT="1"/>
      <dgm:spPr/>
      <dgm:t>
        <a:bodyPr/>
        <a:lstStyle/>
        <a:p>
          <a:r>
            <a:rPr lang="en-US" sz="1100"/>
            <a:t>NetSparker</a:t>
          </a:r>
        </a:p>
      </dgm:t>
    </dgm:pt>
    <dgm:pt modelId="{1DE47D44-2E28-4A98-85E6-EBE0831BD907}" type="parTrans" cxnId="{35114D6D-D518-4AEF-BBA2-0391C2871DA2}">
      <dgm:prSet/>
      <dgm:spPr/>
      <dgm:t>
        <a:bodyPr/>
        <a:lstStyle/>
        <a:p>
          <a:endParaRPr lang="en-US" sz="1200"/>
        </a:p>
      </dgm:t>
    </dgm:pt>
    <dgm:pt modelId="{7A669899-E98C-437E-9056-FA5FACE2A621}" type="sibTrans" cxnId="{35114D6D-D518-4AEF-BBA2-0391C2871DA2}">
      <dgm:prSet/>
      <dgm:spPr/>
      <dgm:t>
        <a:bodyPr/>
        <a:lstStyle/>
        <a:p>
          <a:endParaRPr lang="en-US" sz="1200"/>
        </a:p>
      </dgm:t>
    </dgm:pt>
    <dgm:pt modelId="{266964BE-793E-482C-B7B9-AD9755157195}">
      <dgm:prSet custT="1"/>
      <dgm:spPr/>
      <dgm:t>
        <a:bodyPr/>
        <a:lstStyle/>
        <a:p>
          <a:r>
            <a:rPr lang="en-US" sz="1100"/>
            <a:t>Black duck Biany Analysis</a:t>
          </a:r>
        </a:p>
      </dgm:t>
    </dgm:pt>
    <dgm:pt modelId="{2569C9C0-36A2-415F-B831-AF1EDDE9B7FC}" type="parTrans" cxnId="{4ABB5DCF-197A-410A-8A06-F537BA66CAAB}">
      <dgm:prSet/>
      <dgm:spPr/>
      <dgm:t>
        <a:bodyPr/>
        <a:lstStyle/>
        <a:p>
          <a:endParaRPr lang="en-US" sz="1200"/>
        </a:p>
      </dgm:t>
    </dgm:pt>
    <dgm:pt modelId="{A9194052-F3C6-4BCF-8EBB-12E78E3952C2}" type="sibTrans" cxnId="{4ABB5DCF-197A-410A-8A06-F537BA66CAAB}">
      <dgm:prSet/>
      <dgm:spPr/>
      <dgm:t>
        <a:bodyPr/>
        <a:lstStyle/>
        <a:p>
          <a:endParaRPr lang="en-US" sz="1200"/>
        </a:p>
      </dgm:t>
    </dgm:pt>
    <dgm:pt modelId="{BE9CD78E-7500-4157-B8F2-BCD52D99FA6D}">
      <dgm:prSet custT="1"/>
      <dgm:spPr/>
      <dgm:t>
        <a:bodyPr/>
        <a:lstStyle/>
        <a:p>
          <a:r>
            <a:rPr lang="en-US" sz="1100"/>
            <a:t>Terraform</a:t>
          </a:r>
        </a:p>
      </dgm:t>
    </dgm:pt>
    <dgm:pt modelId="{48F3E0E1-A103-4842-9163-4F34CE696F96}" type="parTrans" cxnId="{CE967D63-FB09-4E18-A863-91681EFE0427}">
      <dgm:prSet/>
      <dgm:spPr/>
      <dgm:t>
        <a:bodyPr/>
        <a:lstStyle/>
        <a:p>
          <a:endParaRPr lang="en-US" sz="1200"/>
        </a:p>
      </dgm:t>
    </dgm:pt>
    <dgm:pt modelId="{C5010267-E6A1-424E-83F4-D5147CB439F7}" type="sibTrans" cxnId="{CE967D63-FB09-4E18-A863-91681EFE0427}">
      <dgm:prSet/>
      <dgm:spPr/>
      <dgm:t>
        <a:bodyPr/>
        <a:lstStyle/>
        <a:p>
          <a:endParaRPr lang="en-US" sz="1200"/>
        </a:p>
      </dgm:t>
    </dgm:pt>
    <dgm:pt modelId="{506B0ADB-56ED-4411-BE98-17DC0C2925B5}">
      <dgm:prSet custT="1"/>
      <dgm:spPr/>
      <dgm:t>
        <a:bodyPr/>
        <a:lstStyle/>
        <a:p>
          <a:r>
            <a:rPr lang="en-US" sz="1100"/>
            <a:t>ARM templates</a:t>
          </a:r>
        </a:p>
      </dgm:t>
    </dgm:pt>
    <dgm:pt modelId="{7832919D-CCD3-40A2-9F84-7C19DD0103C0}" type="parTrans" cxnId="{910A65E3-ED72-45E6-B8CC-F80109BB466D}">
      <dgm:prSet/>
      <dgm:spPr/>
      <dgm:t>
        <a:bodyPr/>
        <a:lstStyle/>
        <a:p>
          <a:endParaRPr lang="en-US" sz="1200"/>
        </a:p>
      </dgm:t>
    </dgm:pt>
    <dgm:pt modelId="{F81F7C5A-795D-4B23-A777-797BAB175E72}" type="sibTrans" cxnId="{910A65E3-ED72-45E6-B8CC-F80109BB466D}">
      <dgm:prSet/>
      <dgm:spPr/>
      <dgm:t>
        <a:bodyPr/>
        <a:lstStyle/>
        <a:p>
          <a:endParaRPr lang="en-US" sz="1200"/>
        </a:p>
      </dgm:t>
    </dgm:pt>
    <dgm:pt modelId="{6D76FC4D-448B-4648-9349-46C30885EEAB}">
      <dgm:prSet custT="1"/>
      <dgm:spPr/>
      <dgm:t>
        <a:bodyPr/>
        <a:lstStyle/>
        <a:p>
          <a:r>
            <a:rPr lang="en-US" sz="1100" u="sng"/>
            <a:t>Deploys to Test</a:t>
          </a:r>
        </a:p>
      </dgm:t>
    </dgm:pt>
    <dgm:pt modelId="{A41A9EB9-5F5E-42FC-BBE1-AF8308C00597}" type="parTrans" cxnId="{6962AA28-3C6E-4034-978B-D6301B880220}">
      <dgm:prSet/>
      <dgm:spPr/>
      <dgm:t>
        <a:bodyPr/>
        <a:lstStyle/>
        <a:p>
          <a:endParaRPr lang="en-US" sz="1200"/>
        </a:p>
      </dgm:t>
    </dgm:pt>
    <dgm:pt modelId="{4FCA4F2A-D4BA-4FBA-8EB5-01884F87F011}" type="sibTrans" cxnId="{6962AA28-3C6E-4034-978B-D6301B880220}">
      <dgm:prSet/>
      <dgm:spPr/>
      <dgm:t>
        <a:bodyPr/>
        <a:lstStyle/>
        <a:p>
          <a:endParaRPr lang="en-US" sz="1200"/>
        </a:p>
      </dgm:t>
    </dgm:pt>
    <dgm:pt modelId="{288D2FC0-BBE1-45A8-9063-E008586AE4A2}">
      <dgm:prSet custT="1"/>
      <dgm:spPr/>
      <dgm:t>
        <a:bodyPr/>
        <a:lstStyle/>
        <a:p>
          <a:r>
            <a:rPr lang="en-US" sz="1100" u="sng"/>
            <a:t>Security Test DAST </a:t>
          </a:r>
        </a:p>
      </dgm:t>
    </dgm:pt>
    <dgm:pt modelId="{03817E7B-782E-4B19-8C14-B7FBDD7C2C7D}" type="parTrans" cxnId="{23D60594-512A-40F4-AE9D-98F5ED14FFBA}">
      <dgm:prSet/>
      <dgm:spPr/>
      <dgm:t>
        <a:bodyPr/>
        <a:lstStyle/>
        <a:p>
          <a:endParaRPr lang="en-US" sz="1200"/>
        </a:p>
      </dgm:t>
    </dgm:pt>
    <dgm:pt modelId="{5B3E3E13-B04E-47D0-BE5D-327657FF2754}" type="sibTrans" cxnId="{23D60594-512A-40F4-AE9D-98F5ED14FFBA}">
      <dgm:prSet/>
      <dgm:spPr/>
      <dgm:t>
        <a:bodyPr/>
        <a:lstStyle/>
        <a:p>
          <a:endParaRPr lang="en-US" sz="1200"/>
        </a:p>
      </dgm:t>
    </dgm:pt>
    <dgm:pt modelId="{4BAD23F7-02A6-474E-AAC7-363D4A3AA906}">
      <dgm:prSet custT="1"/>
      <dgm:spPr/>
      <dgm:t>
        <a:bodyPr/>
        <a:lstStyle/>
        <a:p>
          <a:r>
            <a:rPr lang="en-US" sz="1100"/>
            <a:t>DAST</a:t>
          </a:r>
        </a:p>
      </dgm:t>
    </dgm:pt>
    <dgm:pt modelId="{1D2C54EB-1178-46FC-BA0B-7EBCCAB3EA78}" type="parTrans" cxnId="{3683ADF4-94D6-4CB3-A8A4-A822F5317F50}">
      <dgm:prSet/>
      <dgm:spPr/>
      <dgm:t>
        <a:bodyPr/>
        <a:lstStyle/>
        <a:p>
          <a:endParaRPr lang="en-US" sz="1200"/>
        </a:p>
      </dgm:t>
    </dgm:pt>
    <dgm:pt modelId="{07765672-E59D-4E72-85D3-CCC13488E122}" type="sibTrans" cxnId="{3683ADF4-94D6-4CB3-A8A4-A822F5317F50}">
      <dgm:prSet/>
      <dgm:spPr/>
      <dgm:t>
        <a:bodyPr/>
        <a:lstStyle/>
        <a:p>
          <a:endParaRPr lang="en-US" sz="1200"/>
        </a:p>
      </dgm:t>
    </dgm:pt>
    <dgm:pt modelId="{92C6982B-3DE2-47B4-BF30-59F739D8A1D4}">
      <dgm:prSet custT="1"/>
      <dgm:spPr/>
      <dgm:t>
        <a:bodyPr/>
        <a:lstStyle/>
        <a:p>
          <a:r>
            <a:rPr lang="en-US" sz="1100"/>
            <a:t>Veracode</a:t>
          </a:r>
        </a:p>
      </dgm:t>
    </dgm:pt>
    <dgm:pt modelId="{6EB6F247-07B0-4CD8-A47A-B83FC76BDEF2}" type="parTrans" cxnId="{8B9DAC84-51C9-42AA-A632-B6AFFE0F57FA}">
      <dgm:prSet/>
      <dgm:spPr/>
      <dgm:t>
        <a:bodyPr/>
        <a:lstStyle/>
        <a:p>
          <a:endParaRPr lang="en-US" sz="1200"/>
        </a:p>
      </dgm:t>
    </dgm:pt>
    <dgm:pt modelId="{7A7E41B6-41F7-4058-A1CF-8B968D5620DD}" type="sibTrans" cxnId="{8B9DAC84-51C9-42AA-A632-B6AFFE0F57FA}">
      <dgm:prSet/>
      <dgm:spPr/>
      <dgm:t>
        <a:bodyPr/>
        <a:lstStyle/>
        <a:p>
          <a:endParaRPr lang="en-US" sz="1200"/>
        </a:p>
      </dgm:t>
    </dgm:pt>
    <dgm:pt modelId="{3168FEA0-4157-47A9-B65D-EFA94316B28B}">
      <dgm:prSet custT="1"/>
      <dgm:spPr/>
      <dgm:t>
        <a:bodyPr/>
        <a:lstStyle/>
        <a:p>
          <a:r>
            <a:rPr lang="en-US" sz="1100"/>
            <a:t>Fortify</a:t>
          </a:r>
        </a:p>
      </dgm:t>
    </dgm:pt>
    <dgm:pt modelId="{036011CF-BBBB-46BD-89C3-76A8E6E587E9}" type="parTrans" cxnId="{120EFD86-AEAE-4DFA-AA42-07DE1FEBF48B}">
      <dgm:prSet/>
      <dgm:spPr/>
      <dgm:t>
        <a:bodyPr/>
        <a:lstStyle/>
        <a:p>
          <a:endParaRPr lang="en-US" sz="1200"/>
        </a:p>
      </dgm:t>
    </dgm:pt>
    <dgm:pt modelId="{D2A667E1-9E55-493B-988E-70C9784C6942}" type="sibTrans" cxnId="{120EFD86-AEAE-4DFA-AA42-07DE1FEBF48B}">
      <dgm:prSet/>
      <dgm:spPr/>
      <dgm:t>
        <a:bodyPr/>
        <a:lstStyle/>
        <a:p>
          <a:endParaRPr lang="en-US" sz="1200"/>
        </a:p>
      </dgm:t>
    </dgm:pt>
    <dgm:pt modelId="{FE5C9924-036F-49B1-81AC-F53578893169}">
      <dgm:prSet custT="1"/>
      <dgm:spPr/>
      <dgm:t>
        <a:bodyPr/>
        <a:lstStyle/>
        <a:p>
          <a:r>
            <a:rPr lang="en-US" sz="1100"/>
            <a:t>IAST</a:t>
          </a:r>
        </a:p>
      </dgm:t>
    </dgm:pt>
    <dgm:pt modelId="{FEBAC944-F139-407D-96D9-D3E1577A6B62}" type="parTrans" cxnId="{E673FEC6-7F22-403F-81CD-207599B9F872}">
      <dgm:prSet/>
      <dgm:spPr/>
      <dgm:t>
        <a:bodyPr/>
        <a:lstStyle/>
        <a:p>
          <a:endParaRPr lang="en-US" sz="1200"/>
        </a:p>
      </dgm:t>
    </dgm:pt>
    <dgm:pt modelId="{1032D9A9-3586-49B6-AB31-FB6D9C030710}" type="sibTrans" cxnId="{E673FEC6-7F22-403F-81CD-207599B9F872}">
      <dgm:prSet/>
      <dgm:spPr/>
      <dgm:t>
        <a:bodyPr/>
        <a:lstStyle/>
        <a:p>
          <a:endParaRPr lang="en-US" sz="1200"/>
        </a:p>
      </dgm:t>
    </dgm:pt>
    <dgm:pt modelId="{E43E70E9-2FE7-4CAE-9227-AD881EE5407E}">
      <dgm:prSet custT="1"/>
      <dgm:spPr/>
      <dgm:t>
        <a:bodyPr/>
        <a:lstStyle/>
        <a:p>
          <a:r>
            <a:rPr lang="en-US" sz="1100" u="sng"/>
            <a:t>Image Assurance</a:t>
          </a:r>
        </a:p>
      </dgm:t>
    </dgm:pt>
    <dgm:pt modelId="{4ED7FF11-80A6-4368-8A0E-77D04C9C8C19}" type="parTrans" cxnId="{982919A9-0E8C-4DC3-A5AF-FF4D628E10AC}">
      <dgm:prSet/>
      <dgm:spPr/>
      <dgm:t>
        <a:bodyPr/>
        <a:lstStyle/>
        <a:p>
          <a:endParaRPr lang="en-US" sz="1200"/>
        </a:p>
      </dgm:t>
    </dgm:pt>
    <dgm:pt modelId="{0FB66B94-F10A-42F0-98E0-A95D5F14D9FF}" type="sibTrans" cxnId="{982919A9-0E8C-4DC3-A5AF-FF4D628E10AC}">
      <dgm:prSet/>
      <dgm:spPr/>
      <dgm:t>
        <a:bodyPr/>
        <a:lstStyle/>
        <a:p>
          <a:endParaRPr lang="en-US" sz="1200"/>
        </a:p>
      </dgm:t>
    </dgm:pt>
    <dgm:pt modelId="{C29C87E2-9770-4014-B456-ECBA4D348CFF}">
      <dgm:prSet custT="1"/>
      <dgm:spPr/>
      <dgm:t>
        <a:bodyPr/>
        <a:lstStyle/>
        <a:p>
          <a:r>
            <a:rPr lang="en-US" sz="1100"/>
            <a:t>Anchore</a:t>
          </a:r>
        </a:p>
      </dgm:t>
    </dgm:pt>
    <dgm:pt modelId="{2CA9BCF9-24FA-4F23-BD00-81DDB7558942}" type="parTrans" cxnId="{55D75C99-96CE-4F44-BC7D-A2D2AF2C8E15}">
      <dgm:prSet/>
      <dgm:spPr/>
      <dgm:t>
        <a:bodyPr/>
        <a:lstStyle/>
        <a:p>
          <a:endParaRPr lang="en-US" sz="1200"/>
        </a:p>
      </dgm:t>
    </dgm:pt>
    <dgm:pt modelId="{6D07C3F4-D0DE-4492-AFCA-8B7018D7B3A6}" type="sibTrans" cxnId="{55D75C99-96CE-4F44-BC7D-A2D2AF2C8E15}">
      <dgm:prSet/>
      <dgm:spPr/>
      <dgm:t>
        <a:bodyPr/>
        <a:lstStyle/>
        <a:p>
          <a:endParaRPr lang="en-US" sz="1200"/>
        </a:p>
      </dgm:t>
    </dgm:pt>
    <dgm:pt modelId="{6C80B507-54F7-45A8-8FE6-5253E1E300CB}">
      <dgm:prSet custT="1"/>
      <dgm:spPr/>
      <dgm:t>
        <a:bodyPr/>
        <a:lstStyle/>
        <a:p>
          <a:r>
            <a:rPr lang="en-US" sz="1100"/>
            <a:t>Clair</a:t>
          </a:r>
        </a:p>
      </dgm:t>
    </dgm:pt>
    <dgm:pt modelId="{F9D1C326-61BE-4BB5-B466-81A6ADAE1DFD}" type="parTrans" cxnId="{A033788E-F376-4C8D-B7F8-440CCD05B5DE}">
      <dgm:prSet/>
      <dgm:spPr/>
      <dgm:t>
        <a:bodyPr/>
        <a:lstStyle/>
        <a:p>
          <a:endParaRPr lang="en-US" sz="1200"/>
        </a:p>
      </dgm:t>
    </dgm:pt>
    <dgm:pt modelId="{9A28CE63-35AF-402A-A482-76AE9B17A3E5}" type="sibTrans" cxnId="{A033788E-F376-4C8D-B7F8-440CCD05B5DE}">
      <dgm:prSet/>
      <dgm:spPr/>
      <dgm:t>
        <a:bodyPr/>
        <a:lstStyle/>
        <a:p>
          <a:endParaRPr lang="en-US" sz="1200"/>
        </a:p>
      </dgm:t>
    </dgm:pt>
    <dgm:pt modelId="{519EF48D-9708-4F2C-B81E-0AC3412348B0}">
      <dgm:prSet custT="1"/>
      <dgm:spPr/>
      <dgm:t>
        <a:bodyPr/>
        <a:lstStyle/>
        <a:p>
          <a:r>
            <a:rPr lang="en-US" sz="1100"/>
            <a:t>Burpsuite</a:t>
          </a:r>
        </a:p>
      </dgm:t>
    </dgm:pt>
    <dgm:pt modelId="{18095B49-14AC-4B6C-AF65-08564A0FCCFF}" type="parTrans" cxnId="{6E4229A8-4A46-4C60-A4D5-708692B6C381}">
      <dgm:prSet/>
      <dgm:spPr/>
      <dgm:t>
        <a:bodyPr/>
        <a:lstStyle/>
        <a:p>
          <a:endParaRPr lang="en-US" sz="1200"/>
        </a:p>
      </dgm:t>
    </dgm:pt>
    <dgm:pt modelId="{5742E8B5-65C8-4A96-8BFB-03A71636A652}" type="sibTrans" cxnId="{6E4229A8-4A46-4C60-A4D5-708692B6C381}">
      <dgm:prSet/>
      <dgm:spPr/>
      <dgm:t>
        <a:bodyPr/>
        <a:lstStyle/>
        <a:p>
          <a:endParaRPr lang="en-US" sz="1200"/>
        </a:p>
      </dgm:t>
    </dgm:pt>
    <dgm:pt modelId="{6D9C3EFF-E7A1-40C9-9E69-6944BB6DB08D}">
      <dgm:prSet custT="1"/>
      <dgm:spPr/>
      <dgm:t>
        <a:bodyPr/>
        <a:lstStyle/>
        <a:p>
          <a:r>
            <a:rPr lang="en-US" sz="1100" err="1"/>
            <a:t>Metasploit</a:t>
          </a:r>
          <a:endParaRPr lang="en-US" sz="1100"/>
        </a:p>
      </dgm:t>
    </dgm:pt>
    <dgm:pt modelId="{A71AEE4F-C7D2-4436-919C-F033D25FF42C}" type="parTrans" cxnId="{34D96AEA-8F67-4394-BABD-9BA6C7D4B491}">
      <dgm:prSet/>
      <dgm:spPr/>
    </dgm:pt>
    <dgm:pt modelId="{087A3B09-E2D3-4323-9037-A3296D223A37}" type="sibTrans" cxnId="{34D96AEA-8F67-4394-BABD-9BA6C7D4B491}">
      <dgm:prSet/>
      <dgm:spPr/>
    </dgm:pt>
    <dgm:pt modelId="{53C1DC24-E1C3-49FD-AF03-0E2586D0A9E7}">
      <dgm:prSet custT="1"/>
      <dgm:spPr/>
      <dgm:t>
        <a:bodyPr/>
        <a:lstStyle/>
        <a:p>
          <a:r>
            <a:rPr lang="en-US" sz="1100"/>
            <a:t>NMAP</a:t>
          </a:r>
        </a:p>
      </dgm:t>
    </dgm:pt>
    <dgm:pt modelId="{07CF89DB-B519-48BD-BBE5-ECE091930404}" type="parTrans" cxnId="{79566BE7-569F-4E27-9901-10D1FD379C8B}">
      <dgm:prSet/>
      <dgm:spPr/>
    </dgm:pt>
    <dgm:pt modelId="{23E561B8-5141-4B9B-9A8E-32FD9050696C}" type="sibTrans" cxnId="{79566BE7-569F-4E27-9901-10D1FD379C8B}">
      <dgm:prSet/>
      <dgm:spPr/>
    </dgm:pt>
    <dgm:pt modelId="{EAB7DDA4-26B4-45A1-A251-8A2EB0A1C9AC}">
      <dgm:prSet custT="1"/>
      <dgm:spPr/>
      <dgm:t>
        <a:bodyPr/>
        <a:lstStyle/>
        <a:p>
          <a:r>
            <a:rPr lang="en-US" sz="1100"/>
            <a:t>Nessus</a:t>
          </a:r>
        </a:p>
      </dgm:t>
    </dgm:pt>
    <dgm:pt modelId="{2E759D4F-1237-4E1F-89B4-7E3CA762F553}" type="parTrans" cxnId="{66F7A424-3CE1-48A8-9C68-59E2887A459D}">
      <dgm:prSet/>
      <dgm:spPr/>
    </dgm:pt>
    <dgm:pt modelId="{63D96D0B-828D-4B8C-8481-0111E4658BFB}" type="sibTrans" cxnId="{66F7A424-3CE1-48A8-9C68-59E2887A459D}">
      <dgm:prSet/>
      <dgm:spPr/>
    </dgm:pt>
    <dgm:pt modelId="{AB2397B7-F4E0-4F28-911F-104848D0C732}">
      <dgm:prSet custT="1"/>
      <dgm:spPr/>
      <dgm:t>
        <a:bodyPr/>
        <a:lstStyle/>
        <a:p>
          <a:r>
            <a:rPr lang="en-US" sz="1100" err="1"/>
            <a:t>Salamp</a:t>
          </a:r>
          <a:endParaRPr lang="en-US" sz="1100"/>
        </a:p>
      </dgm:t>
    </dgm:pt>
    <dgm:pt modelId="{E25E814D-A7A7-4C66-A34A-03B6B639578C}" type="parTrans" cxnId="{8865E5B9-FFEC-4FF6-BD08-B98BE781BD83}">
      <dgm:prSet/>
      <dgm:spPr/>
    </dgm:pt>
    <dgm:pt modelId="{B65E70B0-3E41-4E54-BE14-ECE048074486}" type="sibTrans" cxnId="{8865E5B9-FFEC-4FF6-BD08-B98BE781BD83}">
      <dgm:prSet/>
      <dgm:spPr/>
    </dgm:pt>
    <dgm:pt modelId="{C2A93D00-FD56-40E5-B238-280393F5047E}">
      <dgm:prSet custT="1"/>
      <dgm:spPr/>
      <dgm:t>
        <a:bodyPr/>
        <a:lstStyle/>
        <a:p>
          <a:r>
            <a:rPr lang="en-US" sz="1100"/>
            <a:t>Wireshark</a:t>
          </a:r>
        </a:p>
      </dgm:t>
    </dgm:pt>
    <dgm:pt modelId="{E8E46788-66E0-493A-918F-68AB78325D79}" type="parTrans" cxnId="{BC705FE1-250A-4B18-9B56-5D7F9B308F1F}">
      <dgm:prSet/>
      <dgm:spPr/>
    </dgm:pt>
    <dgm:pt modelId="{62A9AE7B-655E-4A97-ABA1-0112AE1DB0CC}" type="sibTrans" cxnId="{BC705FE1-250A-4B18-9B56-5D7F9B308F1F}">
      <dgm:prSet/>
      <dgm:spPr/>
    </dgm:pt>
    <dgm:pt modelId="{DEE1DBC1-E2F5-4DFF-8445-A69F0E0B1FA8}">
      <dgm:prSet custT="1"/>
      <dgm:spPr/>
      <dgm:t>
        <a:bodyPr/>
        <a:lstStyle/>
        <a:p>
          <a:endParaRPr lang="en-US" sz="1100"/>
        </a:p>
      </dgm:t>
    </dgm:pt>
    <dgm:pt modelId="{935443A9-AE99-4CC7-94FD-975BCFE1FD07}" type="parTrans" cxnId="{F233C9BA-26FE-4B08-83A3-80A365663953}">
      <dgm:prSet/>
      <dgm:spPr/>
    </dgm:pt>
    <dgm:pt modelId="{19812F6C-9CE4-41E8-BDC6-50AE21B9CAE0}" type="sibTrans" cxnId="{F233C9BA-26FE-4B08-83A3-80A365663953}">
      <dgm:prSet/>
      <dgm:spPr/>
    </dgm:pt>
    <dgm:pt modelId="{F428381C-2DB7-4661-9E47-33B79ACEE43D}" type="pres">
      <dgm:prSet presAssocID="{D98507E7-7B2C-4D0F-BE37-ECDAB798DF95}" presName="theList" presStyleCnt="0">
        <dgm:presLayoutVars>
          <dgm:dir/>
          <dgm:animLvl val="lvl"/>
          <dgm:resizeHandles val="exact"/>
        </dgm:presLayoutVars>
      </dgm:prSet>
      <dgm:spPr/>
    </dgm:pt>
    <dgm:pt modelId="{70465DCE-67A5-4FC5-98E7-EE008FE2A4CD}" type="pres">
      <dgm:prSet presAssocID="{DF010E95-0D5B-4062-A2C1-2DF934ACED84}" presName="compNode" presStyleCnt="0"/>
      <dgm:spPr/>
    </dgm:pt>
    <dgm:pt modelId="{5783ACC6-AFA8-4C08-A9B2-381FE786C341}" type="pres">
      <dgm:prSet presAssocID="{DF010E95-0D5B-4062-A2C1-2DF934ACED84}" presName="aNode" presStyleLbl="bgShp" presStyleIdx="0" presStyleCnt="8"/>
      <dgm:spPr/>
    </dgm:pt>
    <dgm:pt modelId="{F15E76E7-0AF0-4F18-A60B-8E1FB5FA635E}" type="pres">
      <dgm:prSet presAssocID="{DF010E95-0D5B-4062-A2C1-2DF934ACED84}" presName="textNode" presStyleLbl="bgShp" presStyleIdx="0" presStyleCnt="8"/>
      <dgm:spPr/>
    </dgm:pt>
    <dgm:pt modelId="{4CCA0465-44AA-406C-8E26-9D02183DC447}" type="pres">
      <dgm:prSet presAssocID="{DF010E95-0D5B-4062-A2C1-2DF934ACED84}" presName="compChildNode" presStyleCnt="0"/>
      <dgm:spPr/>
    </dgm:pt>
    <dgm:pt modelId="{D34FBF7B-D5B0-4C8B-88AC-CDA76C793B11}" type="pres">
      <dgm:prSet presAssocID="{DF010E95-0D5B-4062-A2C1-2DF934ACED84}" presName="theInnerList" presStyleCnt="0"/>
      <dgm:spPr/>
    </dgm:pt>
    <dgm:pt modelId="{BE659A78-4093-4815-BCE5-8851B0A92FB0}" type="pres">
      <dgm:prSet presAssocID="{2E006984-3103-4BFA-A82E-D96149B68923}" presName="childNode" presStyleLbl="node1" presStyleIdx="0" presStyleCnt="21">
        <dgm:presLayoutVars>
          <dgm:bulletEnabled val="1"/>
        </dgm:presLayoutVars>
      </dgm:prSet>
      <dgm:spPr/>
    </dgm:pt>
    <dgm:pt modelId="{52DE9436-B6C0-449A-A743-799F1B464E95}" type="pres">
      <dgm:prSet presAssocID="{2E006984-3103-4BFA-A82E-D96149B68923}" presName="aSpace2" presStyleCnt="0"/>
      <dgm:spPr/>
    </dgm:pt>
    <dgm:pt modelId="{2F2815BF-8F46-4FF5-9452-E6F30EE9E80C}" type="pres">
      <dgm:prSet presAssocID="{380D342B-1751-4A33-852D-F89856C63B0D}" presName="childNode" presStyleLbl="node1" presStyleIdx="1" presStyleCnt="21">
        <dgm:presLayoutVars>
          <dgm:bulletEnabled val="1"/>
        </dgm:presLayoutVars>
      </dgm:prSet>
      <dgm:spPr/>
    </dgm:pt>
    <dgm:pt modelId="{887F98B5-F361-4792-B7F8-C2257EBCB869}" type="pres">
      <dgm:prSet presAssocID="{380D342B-1751-4A33-852D-F89856C63B0D}" presName="aSpace2" presStyleCnt="0"/>
      <dgm:spPr/>
    </dgm:pt>
    <dgm:pt modelId="{73C62C5D-4B80-4FCA-99B4-06F69A730CA3}" type="pres">
      <dgm:prSet presAssocID="{DE6FCAF4-2A35-47B2-95BA-48D340F8559B}" presName="childNode" presStyleLbl="node1" presStyleIdx="2" presStyleCnt="21">
        <dgm:presLayoutVars>
          <dgm:bulletEnabled val="1"/>
        </dgm:presLayoutVars>
      </dgm:prSet>
      <dgm:spPr/>
    </dgm:pt>
    <dgm:pt modelId="{F85F641E-C1E5-4462-90D9-33B9EF5F361D}" type="pres">
      <dgm:prSet presAssocID="{DF010E95-0D5B-4062-A2C1-2DF934ACED84}" presName="aSpace" presStyleCnt="0"/>
      <dgm:spPr/>
    </dgm:pt>
    <dgm:pt modelId="{59941E25-2E00-4F8F-9871-F3F2766E5F47}" type="pres">
      <dgm:prSet presAssocID="{84CC265E-118F-4CD0-A9B2-E4A8EA5E6D76}" presName="compNode" presStyleCnt="0"/>
      <dgm:spPr/>
    </dgm:pt>
    <dgm:pt modelId="{B6D8D6FF-5DCE-44C7-9250-4580D5C8EF1D}" type="pres">
      <dgm:prSet presAssocID="{84CC265E-118F-4CD0-A9B2-E4A8EA5E6D76}" presName="aNode" presStyleLbl="bgShp" presStyleIdx="1" presStyleCnt="8"/>
      <dgm:spPr/>
    </dgm:pt>
    <dgm:pt modelId="{D9B558C3-1173-49DE-AEDC-1136B5EC5DA1}" type="pres">
      <dgm:prSet presAssocID="{84CC265E-118F-4CD0-A9B2-E4A8EA5E6D76}" presName="textNode" presStyleLbl="bgShp" presStyleIdx="1" presStyleCnt="8"/>
      <dgm:spPr/>
    </dgm:pt>
    <dgm:pt modelId="{33983172-F975-482F-8ABC-69AD85735E08}" type="pres">
      <dgm:prSet presAssocID="{84CC265E-118F-4CD0-A9B2-E4A8EA5E6D76}" presName="compChildNode" presStyleCnt="0"/>
      <dgm:spPr/>
    </dgm:pt>
    <dgm:pt modelId="{F285A37C-F55A-4B61-8A6B-EBA6833B6460}" type="pres">
      <dgm:prSet presAssocID="{84CC265E-118F-4CD0-A9B2-E4A8EA5E6D76}" presName="theInnerList" presStyleCnt="0"/>
      <dgm:spPr/>
    </dgm:pt>
    <dgm:pt modelId="{282CF7EC-7F03-42F7-AE9A-B91BDC2582A7}" type="pres">
      <dgm:prSet presAssocID="{B57D116D-3A1E-4373-B2BA-4E059EEE5C65}" presName="childNode" presStyleLbl="node1" presStyleIdx="3" presStyleCnt="21">
        <dgm:presLayoutVars>
          <dgm:bulletEnabled val="1"/>
        </dgm:presLayoutVars>
      </dgm:prSet>
      <dgm:spPr/>
    </dgm:pt>
    <dgm:pt modelId="{C5CAADC7-42B3-4C4B-A938-93C338C73C4C}" type="pres">
      <dgm:prSet presAssocID="{B57D116D-3A1E-4373-B2BA-4E059EEE5C65}" presName="aSpace2" presStyleCnt="0"/>
      <dgm:spPr/>
    </dgm:pt>
    <dgm:pt modelId="{06A0AD53-DF8A-4F92-A216-F7E509028882}" type="pres">
      <dgm:prSet presAssocID="{2093BC31-67B5-4C48-9C9C-0DC0DB34B97F}" presName="childNode" presStyleLbl="node1" presStyleIdx="4" presStyleCnt="21">
        <dgm:presLayoutVars>
          <dgm:bulletEnabled val="1"/>
        </dgm:presLayoutVars>
      </dgm:prSet>
      <dgm:spPr/>
    </dgm:pt>
    <dgm:pt modelId="{B5FE16FD-B2B8-4CC5-94C0-4C06B9B28C01}" type="pres">
      <dgm:prSet presAssocID="{84CC265E-118F-4CD0-A9B2-E4A8EA5E6D76}" presName="aSpace" presStyleCnt="0"/>
      <dgm:spPr/>
    </dgm:pt>
    <dgm:pt modelId="{23073581-B4CF-4385-8F7A-6097617B6D14}" type="pres">
      <dgm:prSet presAssocID="{AB8AF8F4-A175-427C-9352-75EF220107A3}" presName="compNode" presStyleCnt="0"/>
      <dgm:spPr/>
    </dgm:pt>
    <dgm:pt modelId="{37530E83-37E3-448C-A7EC-D569816240A0}" type="pres">
      <dgm:prSet presAssocID="{AB8AF8F4-A175-427C-9352-75EF220107A3}" presName="aNode" presStyleLbl="bgShp" presStyleIdx="2" presStyleCnt="8"/>
      <dgm:spPr/>
    </dgm:pt>
    <dgm:pt modelId="{D98DA80C-7D7A-4647-9221-552FD1FB2E26}" type="pres">
      <dgm:prSet presAssocID="{AB8AF8F4-A175-427C-9352-75EF220107A3}" presName="textNode" presStyleLbl="bgShp" presStyleIdx="2" presStyleCnt="8"/>
      <dgm:spPr/>
    </dgm:pt>
    <dgm:pt modelId="{8A61733A-593A-4669-B6CF-0C465BAB9E80}" type="pres">
      <dgm:prSet presAssocID="{AB8AF8F4-A175-427C-9352-75EF220107A3}" presName="compChildNode" presStyleCnt="0"/>
      <dgm:spPr/>
    </dgm:pt>
    <dgm:pt modelId="{4AA8EF9D-4AFA-4109-B80B-599FD159C278}" type="pres">
      <dgm:prSet presAssocID="{AB8AF8F4-A175-427C-9352-75EF220107A3}" presName="theInnerList" presStyleCnt="0"/>
      <dgm:spPr/>
    </dgm:pt>
    <dgm:pt modelId="{5CDEA415-2EF1-4A33-B082-C3E4B3116E31}" type="pres">
      <dgm:prSet presAssocID="{28CCA9A3-DE79-4B56-AD3C-250B12E6D7C2}" presName="childNode" presStyleLbl="node1" presStyleIdx="5" presStyleCnt="21">
        <dgm:presLayoutVars>
          <dgm:bulletEnabled val="1"/>
        </dgm:presLayoutVars>
      </dgm:prSet>
      <dgm:spPr/>
    </dgm:pt>
    <dgm:pt modelId="{EA5D260E-50A7-4CA3-A855-A42B2CCED262}" type="pres">
      <dgm:prSet presAssocID="{28CCA9A3-DE79-4B56-AD3C-250B12E6D7C2}" presName="aSpace2" presStyleCnt="0"/>
      <dgm:spPr/>
    </dgm:pt>
    <dgm:pt modelId="{6B0A26E3-9ED8-47BD-8783-0EEAAAFB8AAA}" type="pres">
      <dgm:prSet presAssocID="{E448DFBB-57C7-4E41-AD0B-A9C58183DFF1}" presName="childNode" presStyleLbl="node1" presStyleIdx="6" presStyleCnt="21">
        <dgm:presLayoutVars>
          <dgm:bulletEnabled val="1"/>
        </dgm:presLayoutVars>
      </dgm:prSet>
      <dgm:spPr/>
    </dgm:pt>
    <dgm:pt modelId="{A077251A-D136-46A3-AC50-90AD26D69904}" type="pres">
      <dgm:prSet presAssocID="{E448DFBB-57C7-4E41-AD0B-A9C58183DFF1}" presName="aSpace2" presStyleCnt="0"/>
      <dgm:spPr/>
    </dgm:pt>
    <dgm:pt modelId="{175B3319-788D-4F1D-A546-6E83551A1A01}" type="pres">
      <dgm:prSet presAssocID="{7F88383C-CC6D-4A14-B20C-27A3844DCA1E}" presName="childNode" presStyleLbl="node1" presStyleIdx="7" presStyleCnt="21">
        <dgm:presLayoutVars>
          <dgm:bulletEnabled val="1"/>
        </dgm:presLayoutVars>
      </dgm:prSet>
      <dgm:spPr/>
    </dgm:pt>
    <dgm:pt modelId="{A083A271-FE03-4AAB-8874-493DC1AD2CE6}" type="pres">
      <dgm:prSet presAssocID="{AB8AF8F4-A175-427C-9352-75EF220107A3}" presName="aSpace" presStyleCnt="0"/>
      <dgm:spPr/>
    </dgm:pt>
    <dgm:pt modelId="{F05FB5A6-0921-4612-971E-154A6E930A9B}" type="pres">
      <dgm:prSet presAssocID="{C2A3C877-DFA1-4813-92E0-91895E5CDBF4}" presName="compNode" presStyleCnt="0"/>
      <dgm:spPr/>
    </dgm:pt>
    <dgm:pt modelId="{B5924C92-5D89-48C7-9EF6-568E269AF2B1}" type="pres">
      <dgm:prSet presAssocID="{C2A3C877-DFA1-4813-92E0-91895E5CDBF4}" presName="aNode" presStyleLbl="bgShp" presStyleIdx="3" presStyleCnt="8"/>
      <dgm:spPr/>
    </dgm:pt>
    <dgm:pt modelId="{FAAB81BF-FD85-41A7-BE48-E064789E260E}" type="pres">
      <dgm:prSet presAssocID="{C2A3C877-DFA1-4813-92E0-91895E5CDBF4}" presName="textNode" presStyleLbl="bgShp" presStyleIdx="3" presStyleCnt="8"/>
      <dgm:spPr/>
    </dgm:pt>
    <dgm:pt modelId="{12D5BAFA-EF8E-481B-A56A-6136AC26B423}" type="pres">
      <dgm:prSet presAssocID="{C2A3C877-DFA1-4813-92E0-91895E5CDBF4}" presName="compChildNode" presStyleCnt="0"/>
      <dgm:spPr/>
    </dgm:pt>
    <dgm:pt modelId="{B4FAEF0E-B676-49D1-8CF6-5E139232CCA1}" type="pres">
      <dgm:prSet presAssocID="{C2A3C877-DFA1-4813-92E0-91895E5CDBF4}" presName="theInnerList" presStyleCnt="0"/>
      <dgm:spPr/>
    </dgm:pt>
    <dgm:pt modelId="{8AED2AC4-E3E3-4C7F-AF53-657A913055B9}" type="pres">
      <dgm:prSet presAssocID="{BFDFF7AB-9618-402F-8CCF-88B9E3ABC0FF}" presName="childNode" presStyleLbl="node1" presStyleIdx="8" presStyleCnt="21">
        <dgm:presLayoutVars>
          <dgm:bulletEnabled val="1"/>
        </dgm:presLayoutVars>
      </dgm:prSet>
      <dgm:spPr/>
    </dgm:pt>
    <dgm:pt modelId="{66DDA262-4AE2-4B30-B788-FAC4690EC5DA}" type="pres">
      <dgm:prSet presAssocID="{BFDFF7AB-9618-402F-8CCF-88B9E3ABC0FF}" presName="aSpace2" presStyleCnt="0"/>
      <dgm:spPr/>
    </dgm:pt>
    <dgm:pt modelId="{8BB23C54-4353-4D9D-9D98-F6BDED16DB7E}" type="pres">
      <dgm:prSet presAssocID="{DDD8E90D-459A-4341-8846-6D0616A91527}" presName="childNode" presStyleLbl="node1" presStyleIdx="9" presStyleCnt="21">
        <dgm:presLayoutVars>
          <dgm:bulletEnabled val="1"/>
        </dgm:presLayoutVars>
      </dgm:prSet>
      <dgm:spPr/>
    </dgm:pt>
    <dgm:pt modelId="{0AA6B1D0-ACF5-4E38-B4ED-EB6C46A3D41F}" type="pres">
      <dgm:prSet presAssocID="{C2A3C877-DFA1-4813-92E0-91895E5CDBF4}" presName="aSpace" presStyleCnt="0"/>
      <dgm:spPr/>
    </dgm:pt>
    <dgm:pt modelId="{AB50CD31-D7F4-4C4C-985C-E0BA6C358CBF}" type="pres">
      <dgm:prSet presAssocID="{55DD7619-B8CB-4E13-AAB6-B7170096AB1D}" presName="compNode" presStyleCnt="0"/>
      <dgm:spPr/>
    </dgm:pt>
    <dgm:pt modelId="{DAE4FE2B-DD8F-4137-A717-B11B3B748E88}" type="pres">
      <dgm:prSet presAssocID="{55DD7619-B8CB-4E13-AAB6-B7170096AB1D}" presName="aNode" presStyleLbl="bgShp" presStyleIdx="4" presStyleCnt="8"/>
      <dgm:spPr/>
    </dgm:pt>
    <dgm:pt modelId="{3B53CA87-84DB-434D-AA40-F79F8FA19D55}" type="pres">
      <dgm:prSet presAssocID="{55DD7619-B8CB-4E13-AAB6-B7170096AB1D}" presName="textNode" presStyleLbl="bgShp" presStyleIdx="4" presStyleCnt="8"/>
      <dgm:spPr/>
    </dgm:pt>
    <dgm:pt modelId="{3E562956-F7F6-465A-9B6C-3E45C85C5697}" type="pres">
      <dgm:prSet presAssocID="{55DD7619-B8CB-4E13-AAB6-B7170096AB1D}" presName="compChildNode" presStyleCnt="0"/>
      <dgm:spPr/>
    </dgm:pt>
    <dgm:pt modelId="{63C88AD6-C24F-4F08-AD17-33737E62BCEB}" type="pres">
      <dgm:prSet presAssocID="{55DD7619-B8CB-4E13-AAB6-B7170096AB1D}" presName="theInnerList" presStyleCnt="0"/>
      <dgm:spPr/>
    </dgm:pt>
    <dgm:pt modelId="{8AD911C0-FDBF-48C9-A103-696F6FE8F66A}" type="pres">
      <dgm:prSet presAssocID="{03B7EB66-3F1C-4B3B-93D1-6B85E1516ACC}" presName="childNode" presStyleLbl="node1" presStyleIdx="10" presStyleCnt="21">
        <dgm:presLayoutVars>
          <dgm:bulletEnabled val="1"/>
        </dgm:presLayoutVars>
      </dgm:prSet>
      <dgm:spPr/>
    </dgm:pt>
    <dgm:pt modelId="{37C633B0-C113-43A9-ADD3-A9E249E650E3}" type="pres">
      <dgm:prSet presAssocID="{03B7EB66-3F1C-4B3B-93D1-6B85E1516ACC}" presName="aSpace2" presStyleCnt="0"/>
      <dgm:spPr/>
    </dgm:pt>
    <dgm:pt modelId="{46C83851-BAF1-4778-B0A2-DE6D53F4BD15}" type="pres">
      <dgm:prSet presAssocID="{634ABC3D-890B-446F-8256-7A014579F33A}" presName="childNode" presStyleLbl="node1" presStyleIdx="11" presStyleCnt="21">
        <dgm:presLayoutVars>
          <dgm:bulletEnabled val="1"/>
        </dgm:presLayoutVars>
      </dgm:prSet>
      <dgm:spPr/>
    </dgm:pt>
    <dgm:pt modelId="{64366128-A01A-4066-8836-64301D589038}" type="pres">
      <dgm:prSet presAssocID="{634ABC3D-890B-446F-8256-7A014579F33A}" presName="aSpace2" presStyleCnt="0"/>
      <dgm:spPr/>
    </dgm:pt>
    <dgm:pt modelId="{E38F7EAD-0570-487F-9E61-B4109180F23C}" type="pres">
      <dgm:prSet presAssocID="{9F5564AB-FC0E-4821-ADB4-AC2C8A4BAB25}" presName="childNode" presStyleLbl="node1" presStyleIdx="12" presStyleCnt="21">
        <dgm:presLayoutVars>
          <dgm:bulletEnabled val="1"/>
        </dgm:presLayoutVars>
      </dgm:prSet>
      <dgm:spPr/>
    </dgm:pt>
    <dgm:pt modelId="{BCBA8866-3B9A-4C60-BD49-B3D4EE77DA44}" type="pres">
      <dgm:prSet presAssocID="{9F5564AB-FC0E-4821-ADB4-AC2C8A4BAB25}" presName="aSpace2" presStyleCnt="0"/>
      <dgm:spPr/>
    </dgm:pt>
    <dgm:pt modelId="{CB3466CA-94FC-442F-8D98-07ED49C7B93F}" type="pres">
      <dgm:prSet presAssocID="{D813C000-3379-4140-B0E2-7A32355E0570}" presName="childNode" presStyleLbl="node1" presStyleIdx="13" presStyleCnt="21">
        <dgm:presLayoutVars>
          <dgm:bulletEnabled val="1"/>
        </dgm:presLayoutVars>
      </dgm:prSet>
      <dgm:spPr/>
    </dgm:pt>
    <dgm:pt modelId="{0C75819A-DC38-45A4-8D5B-A65A742BB6FE}" type="pres">
      <dgm:prSet presAssocID="{D813C000-3379-4140-B0E2-7A32355E0570}" presName="aSpace2" presStyleCnt="0"/>
      <dgm:spPr/>
    </dgm:pt>
    <dgm:pt modelId="{83B00C8D-F561-417E-A177-11D1A1CE3278}" type="pres">
      <dgm:prSet presAssocID="{266964BE-793E-482C-B7B9-AD9755157195}" presName="childNode" presStyleLbl="node1" presStyleIdx="14" presStyleCnt="21">
        <dgm:presLayoutVars>
          <dgm:bulletEnabled val="1"/>
        </dgm:presLayoutVars>
      </dgm:prSet>
      <dgm:spPr/>
    </dgm:pt>
    <dgm:pt modelId="{EFDB804D-DF69-44B9-9037-0BD407BA7D46}" type="pres">
      <dgm:prSet presAssocID="{55DD7619-B8CB-4E13-AAB6-B7170096AB1D}" presName="aSpace" presStyleCnt="0"/>
      <dgm:spPr/>
    </dgm:pt>
    <dgm:pt modelId="{B769675C-8EFD-4038-9ABB-5D71C90099A8}" type="pres">
      <dgm:prSet presAssocID="{6D76FC4D-448B-4648-9349-46C30885EEAB}" presName="compNode" presStyleCnt="0"/>
      <dgm:spPr/>
    </dgm:pt>
    <dgm:pt modelId="{EDC3A663-DF0C-4C86-9C7E-53EC050AE632}" type="pres">
      <dgm:prSet presAssocID="{6D76FC4D-448B-4648-9349-46C30885EEAB}" presName="aNode" presStyleLbl="bgShp" presStyleIdx="5" presStyleCnt="8"/>
      <dgm:spPr/>
    </dgm:pt>
    <dgm:pt modelId="{DEFDA65D-6050-4578-9152-F5BF95983CEE}" type="pres">
      <dgm:prSet presAssocID="{6D76FC4D-448B-4648-9349-46C30885EEAB}" presName="textNode" presStyleLbl="bgShp" presStyleIdx="5" presStyleCnt="8"/>
      <dgm:spPr/>
    </dgm:pt>
    <dgm:pt modelId="{2DC0D274-175B-4CA9-B603-7EC4C3DB2A49}" type="pres">
      <dgm:prSet presAssocID="{6D76FC4D-448B-4648-9349-46C30885EEAB}" presName="compChildNode" presStyleCnt="0"/>
      <dgm:spPr/>
    </dgm:pt>
    <dgm:pt modelId="{44FAA52E-8FA1-4D9D-8373-B752C491DE07}" type="pres">
      <dgm:prSet presAssocID="{6D76FC4D-448B-4648-9349-46C30885EEAB}" presName="theInnerList" presStyleCnt="0"/>
      <dgm:spPr/>
    </dgm:pt>
    <dgm:pt modelId="{5ACC7C6E-B272-4557-932E-2F2C41F67CB2}" type="pres">
      <dgm:prSet presAssocID="{BE9CD78E-7500-4157-B8F2-BCD52D99FA6D}" presName="childNode" presStyleLbl="node1" presStyleIdx="15" presStyleCnt="21">
        <dgm:presLayoutVars>
          <dgm:bulletEnabled val="1"/>
        </dgm:presLayoutVars>
      </dgm:prSet>
      <dgm:spPr/>
    </dgm:pt>
    <dgm:pt modelId="{8C5FA130-B92A-45B8-B52C-DA73235679D4}" type="pres">
      <dgm:prSet presAssocID="{BE9CD78E-7500-4157-B8F2-BCD52D99FA6D}" presName="aSpace2" presStyleCnt="0"/>
      <dgm:spPr/>
    </dgm:pt>
    <dgm:pt modelId="{5C98AD91-9FB8-4CA1-8D7B-7CCE156C48B6}" type="pres">
      <dgm:prSet presAssocID="{506B0ADB-56ED-4411-BE98-17DC0C2925B5}" presName="childNode" presStyleLbl="node1" presStyleIdx="16" presStyleCnt="21">
        <dgm:presLayoutVars>
          <dgm:bulletEnabled val="1"/>
        </dgm:presLayoutVars>
      </dgm:prSet>
      <dgm:spPr/>
    </dgm:pt>
    <dgm:pt modelId="{662DCBC5-8C99-4675-B08E-1375D817B1CC}" type="pres">
      <dgm:prSet presAssocID="{6D76FC4D-448B-4648-9349-46C30885EEAB}" presName="aSpace" presStyleCnt="0"/>
      <dgm:spPr/>
    </dgm:pt>
    <dgm:pt modelId="{A0B8B0F5-B70E-483E-8FD7-0F64F6AC5773}" type="pres">
      <dgm:prSet presAssocID="{288D2FC0-BBE1-45A8-9063-E008586AE4A2}" presName="compNode" presStyleCnt="0"/>
      <dgm:spPr/>
    </dgm:pt>
    <dgm:pt modelId="{579C8623-E94B-40B9-BFCE-55FB5C12FA0D}" type="pres">
      <dgm:prSet presAssocID="{288D2FC0-BBE1-45A8-9063-E008586AE4A2}" presName="aNode" presStyleLbl="bgShp" presStyleIdx="6" presStyleCnt="8"/>
      <dgm:spPr/>
    </dgm:pt>
    <dgm:pt modelId="{F35FA195-10EB-4CFC-97C4-F059F59E2C0F}" type="pres">
      <dgm:prSet presAssocID="{288D2FC0-BBE1-45A8-9063-E008586AE4A2}" presName="textNode" presStyleLbl="bgShp" presStyleIdx="6" presStyleCnt="8"/>
      <dgm:spPr/>
    </dgm:pt>
    <dgm:pt modelId="{2F44EAEF-49E3-4528-8B49-11387BFE113E}" type="pres">
      <dgm:prSet presAssocID="{288D2FC0-BBE1-45A8-9063-E008586AE4A2}" presName="compChildNode" presStyleCnt="0"/>
      <dgm:spPr/>
    </dgm:pt>
    <dgm:pt modelId="{25AA3C69-DD30-4B3F-AD5A-1DC3CF4C02BB}" type="pres">
      <dgm:prSet presAssocID="{288D2FC0-BBE1-45A8-9063-E008586AE4A2}" presName="theInnerList" presStyleCnt="0"/>
      <dgm:spPr/>
    </dgm:pt>
    <dgm:pt modelId="{F318119B-EC30-4C13-A8E9-1563D66A8E70}" type="pres">
      <dgm:prSet presAssocID="{4BAD23F7-02A6-474E-AAC7-363D4A3AA906}" presName="childNode" presStyleLbl="node1" presStyleIdx="17" presStyleCnt="21">
        <dgm:presLayoutVars>
          <dgm:bulletEnabled val="1"/>
        </dgm:presLayoutVars>
      </dgm:prSet>
      <dgm:spPr/>
    </dgm:pt>
    <dgm:pt modelId="{0F894AA9-3759-44E6-B40B-D40187AF8929}" type="pres">
      <dgm:prSet presAssocID="{4BAD23F7-02A6-474E-AAC7-363D4A3AA906}" presName="aSpace2" presStyleCnt="0"/>
      <dgm:spPr/>
    </dgm:pt>
    <dgm:pt modelId="{360B9D8E-7F56-4588-BCF1-3E7B29030453}" type="pres">
      <dgm:prSet presAssocID="{FE5C9924-036F-49B1-81AC-F53578893169}" presName="childNode" presStyleLbl="node1" presStyleIdx="18" presStyleCnt="21">
        <dgm:presLayoutVars>
          <dgm:bulletEnabled val="1"/>
        </dgm:presLayoutVars>
      </dgm:prSet>
      <dgm:spPr/>
    </dgm:pt>
    <dgm:pt modelId="{116F1471-B302-4E3F-839F-DF10B57F03E8}" type="pres">
      <dgm:prSet presAssocID="{288D2FC0-BBE1-45A8-9063-E008586AE4A2}" presName="aSpace" presStyleCnt="0"/>
      <dgm:spPr/>
    </dgm:pt>
    <dgm:pt modelId="{E9F50DD3-AC5D-49BB-8513-3F5D1FE994C7}" type="pres">
      <dgm:prSet presAssocID="{E43E70E9-2FE7-4CAE-9227-AD881EE5407E}" presName="compNode" presStyleCnt="0"/>
      <dgm:spPr/>
    </dgm:pt>
    <dgm:pt modelId="{1433F885-24B2-4A72-8AC7-F60EBD487887}" type="pres">
      <dgm:prSet presAssocID="{E43E70E9-2FE7-4CAE-9227-AD881EE5407E}" presName="aNode" presStyleLbl="bgShp" presStyleIdx="7" presStyleCnt="8"/>
      <dgm:spPr/>
    </dgm:pt>
    <dgm:pt modelId="{653F4D17-AE8D-4C38-8272-0B38A85A85B1}" type="pres">
      <dgm:prSet presAssocID="{E43E70E9-2FE7-4CAE-9227-AD881EE5407E}" presName="textNode" presStyleLbl="bgShp" presStyleIdx="7" presStyleCnt="8"/>
      <dgm:spPr/>
    </dgm:pt>
    <dgm:pt modelId="{FBD4F852-5514-4F81-A9DF-C7A0E551A47A}" type="pres">
      <dgm:prSet presAssocID="{E43E70E9-2FE7-4CAE-9227-AD881EE5407E}" presName="compChildNode" presStyleCnt="0"/>
      <dgm:spPr/>
    </dgm:pt>
    <dgm:pt modelId="{C4A4FA41-2448-4CD3-86E0-0A0AF1AAC983}" type="pres">
      <dgm:prSet presAssocID="{E43E70E9-2FE7-4CAE-9227-AD881EE5407E}" presName="theInnerList" presStyleCnt="0"/>
      <dgm:spPr/>
    </dgm:pt>
    <dgm:pt modelId="{683785AB-2FDF-4860-B92B-A2CFA9453F84}" type="pres">
      <dgm:prSet presAssocID="{C29C87E2-9770-4014-B456-ECBA4D348CFF}" presName="childNode" presStyleLbl="node1" presStyleIdx="19" presStyleCnt="21">
        <dgm:presLayoutVars>
          <dgm:bulletEnabled val="1"/>
        </dgm:presLayoutVars>
      </dgm:prSet>
      <dgm:spPr/>
    </dgm:pt>
    <dgm:pt modelId="{CF79C28C-883F-401D-8625-B9E4233A1A18}" type="pres">
      <dgm:prSet presAssocID="{C29C87E2-9770-4014-B456-ECBA4D348CFF}" presName="aSpace2" presStyleCnt="0"/>
      <dgm:spPr/>
    </dgm:pt>
    <dgm:pt modelId="{DD975A78-2718-41B3-971E-A1DE3AEEF2F1}" type="pres">
      <dgm:prSet presAssocID="{6C80B507-54F7-45A8-8FE6-5253E1E300CB}" presName="childNode" presStyleLbl="node1" presStyleIdx="20" presStyleCnt="21">
        <dgm:presLayoutVars>
          <dgm:bulletEnabled val="1"/>
        </dgm:presLayoutVars>
      </dgm:prSet>
      <dgm:spPr/>
    </dgm:pt>
  </dgm:ptLst>
  <dgm:cxnLst>
    <dgm:cxn modelId="{F90A4000-D066-4E94-9150-C6CF49D9D833}" type="presOf" srcId="{55DD7619-B8CB-4E13-AAB6-B7170096AB1D}" destId="{DAE4FE2B-DD8F-4137-A717-B11B3B748E88}" srcOrd="0" destOrd="0" presId="urn:microsoft.com/office/officeart/2005/8/layout/lProcess2"/>
    <dgm:cxn modelId="{44633B03-3302-49C0-AAE6-DD0B98339DC6}" srcId="{84CC265E-118F-4CD0-A9B2-E4A8EA5E6D76}" destId="{2093BC31-67B5-4C48-9C9C-0DC0DB34B97F}" srcOrd="1" destOrd="0" parTransId="{A84BC00E-AC75-49E0-B09B-116CEB5B1082}" sibTransId="{575A2534-C144-4B4C-87AE-8CECD842914D}"/>
    <dgm:cxn modelId="{D1788E03-3EFF-4AC3-924A-14325DD4311B}" type="presOf" srcId="{FE5C9924-036F-49B1-81AC-F53578893169}" destId="{360B9D8E-7F56-4588-BCF1-3E7B29030453}" srcOrd="0" destOrd="0" presId="urn:microsoft.com/office/officeart/2005/8/layout/lProcess2"/>
    <dgm:cxn modelId="{85F89C06-19FB-413F-9722-82310209CC47}" srcId="{D98507E7-7B2C-4D0F-BE37-ECDAB798DF95}" destId="{AB8AF8F4-A175-427C-9352-75EF220107A3}" srcOrd="2" destOrd="0" parTransId="{45B535C6-8EFA-4BC5-BC0A-8D5AC58F1E79}" sibTransId="{7B1D8411-5DA8-4993-94CC-230A9E4C68C2}"/>
    <dgm:cxn modelId="{77C99107-C71D-41BD-B0EA-F7A7B114CC00}" type="presOf" srcId="{AB8AF8F4-A175-427C-9352-75EF220107A3}" destId="{D98DA80C-7D7A-4647-9221-552FD1FB2E26}" srcOrd="1" destOrd="0" presId="urn:microsoft.com/office/officeart/2005/8/layout/lProcess2"/>
    <dgm:cxn modelId="{838A580B-767A-4741-BA23-CE5343E83FAE}" type="presOf" srcId="{AB8AF8F4-A175-427C-9352-75EF220107A3}" destId="{37530E83-37E3-448C-A7EC-D569816240A0}" srcOrd="0" destOrd="0" presId="urn:microsoft.com/office/officeart/2005/8/layout/lProcess2"/>
    <dgm:cxn modelId="{9B720D0C-CC9E-4ED7-8671-2A964538ABBB}" srcId="{D98507E7-7B2C-4D0F-BE37-ECDAB798DF95}" destId="{55DD7619-B8CB-4E13-AAB6-B7170096AB1D}" srcOrd="4" destOrd="0" parTransId="{787A7E54-ACFC-4C0C-A504-130373AB6961}" sibTransId="{A036694C-D931-4187-BCDD-9265622B3BF0}"/>
    <dgm:cxn modelId="{C64AA80C-C2DA-4527-851C-0792049A21E5}" srcId="{D98507E7-7B2C-4D0F-BE37-ECDAB798DF95}" destId="{C2A3C877-DFA1-4813-92E0-91895E5CDBF4}" srcOrd="3" destOrd="0" parTransId="{73336AEB-DA33-4F19-A37B-7B5B650ED71A}" sibTransId="{F01457B5-0231-4CD8-950F-99365D08AFDA}"/>
    <dgm:cxn modelId="{0498500D-3E14-483D-8F72-E96BD1DECCB4}" type="presOf" srcId="{96095E8B-A867-437A-BB57-83596DE35885}" destId="{06A0AD53-DF8A-4F92-A216-F7E509028882}" srcOrd="0" destOrd="1" presId="urn:microsoft.com/office/officeart/2005/8/layout/lProcess2"/>
    <dgm:cxn modelId="{9DBA090E-79FF-418C-B7FE-25403275CBEE}" type="presOf" srcId="{C2A3C877-DFA1-4813-92E0-91895E5CDBF4}" destId="{FAAB81BF-FD85-41A7-BE48-E064789E260E}" srcOrd="1" destOrd="0" presId="urn:microsoft.com/office/officeart/2005/8/layout/lProcess2"/>
    <dgm:cxn modelId="{D5B24B0E-0B2D-49B4-8D1E-E28FB75944A5}" srcId="{55DD7619-B8CB-4E13-AAB6-B7170096AB1D}" destId="{634ABC3D-890B-446F-8256-7A014579F33A}" srcOrd="1" destOrd="0" parTransId="{303EB794-3227-45BF-89CF-A1216BABCD72}" sibTransId="{D2C3E396-0438-47E2-9FB3-866041A41DF6}"/>
    <dgm:cxn modelId="{E7A4F411-ED5D-4BF7-B13D-555463E06046}" type="presOf" srcId="{266964BE-793E-482C-B7B9-AD9755157195}" destId="{83B00C8D-F561-417E-A177-11D1A1CE3278}" srcOrd="0" destOrd="0" presId="urn:microsoft.com/office/officeart/2005/8/layout/lProcess2"/>
    <dgm:cxn modelId="{9B3F9515-0561-4DF7-A909-B3309E6FF4FF}" type="presOf" srcId="{D813C000-3379-4140-B0E2-7A32355E0570}" destId="{CB3466CA-94FC-442F-8D98-07ED49C7B93F}" srcOrd="0" destOrd="0" presId="urn:microsoft.com/office/officeart/2005/8/layout/lProcess2"/>
    <dgm:cxn modelId="{C953891B-D5E7-411F-98F4-E79B8419623E}" srcId="{D98507E7-7B2C-4D0F-BE37-ECDAB798DF95}" destId="{DF010E95-0D5B-4062-A2C1-2DF934ACED84}" srcOrd="0" destOrd="0" parTransId="{EF667F4E-74E8-43D7-A022-5D54C189FEDC}" sibTransId="{93EADE0A-8DBC-42C4-99BF-BEE40EAF109B}"/>
    <dgm:cxn modelId="{E6B9971B-D8C3-48C1-B148-AC29674371AA}" type="presOf" srcId="{AD8C8F7B-8617-4A02-BDD3-ED71B8536DF6}" destId="{282CF7EC-7F03-42F7-AE9A-B91BDC2582A7}" srcOrd="0" destOrd="1" presId="urn:microsoft.com/office/officeart/2005/8/layout/lProcess2"/>
    <dgm:cxn modelId="{3EC5BF1B-58FB-475F-9956-F4A63B1D6363}" type="presOf" srcId="{E43E70E9-2FE7-4CAE-9227-AD881EE5407E}" destId="{1433F885-24B2-4A72-8AC7-F60EBD487887}" srcOrd="0" destOrd="0" presId="urn:microsoft.com/office/officeart/2005/8/layout/lProcess2"/>
    <dgm:cxn modelId="{C981D21B-2A3B-4309-99BE-35714D5EA002}" srcId="{2093BC31-67B5-4C48-9C9C-0DC0DB34B97F}" destId="{DE35E6BB-9029-4A9F-A4AC-79566958C07A}" srcOrd="1" destOrd="0" parTransId="{11070055-62C4-4E49-A55D-65768278FD44}" sibTransId="{9DFB0A06-6C0D-4D8B-A7CF-AE6FF7F7FEAD}"/>
    <dgm:cxn modelId="{B8C9621D-1AE4-46D5-88EA-E1FA77D335FA}" type="presOf" srcId="{E43E70E9-2FE7-4CAE-9227-AD881EE5407E}" destId="{653F4D17-AE8D-4C38-8272-0B38A85A85B1}" srcOrd="1" destOrd="0" presId="urn:microsoft.com/office/officeart/2005/8/layout/lProcess2"/>
    <dgm:cxn modelId="{5101A01E-0D70-43A7-945B-A29A5493B99D}" type="presOf" srcId="{6D76FC4D-448B-4648-9349-46C30885EEAB}" destId="{EDC3A663-DF0C-4C86-9C7E-53EC050AE632}" srcOrd="0" destOrd="0" presId="urn:microsoft.com/office/officeart/2005/8/layout/lProcess2"/>
    <dgm:cxn modelId="{718E131F-2180-4B11-957D-EFC3C19095F8}" type="presOf" srcId="{EAB7DDA4-26B4-45A1-A251-8A2EB0A1C9AC}" destId="{360B9D8E-7F56-4588-BCF1-3E7B29030453}" srcOrd="0" destOrd="4" presId="urn:microsoft.com/office/officeart/2005/8/layout/lProcess2"/>
    <dgm:cxn modelId="{195E3D21-87B9-41B6-AB96-846270BD44E2}" type="presOf" srcId="{3168FEA0-4157-47A9-B65D-EFA94316B28B}" destId="{F318119B-EC30-4C13-A8E9-1563D66A8E70}" srcOrd="0" destOrd="2" presId="urn:microsoft.com/office/officeart/2005/8/layout/lProcess2"/>
    <dgm:cxn modelId="{42F16121-F960-4D7D-B786-4963693709D9}" type="presOf" srcId="{84CC265E-118F-4CD0-A9B2-E4A8EA5E6D76}" destId="{B6D8D6FF-5DCE-44C7-9250-4580D5C8EF1D}" srcOrd="0" destOrd="0" presId="urn:microsoft.com/office/officeart/2005/8/layout/lProcess2"/>
    <dgm:cxn modelId="{667C8A24-156B-4E36-8604-4219249FB3B8}" srcId="{BFDFF7AB-9618-402F-8CCF-88B9E3ABC0FF}" destId="{01684104-82A8-433B-843B-9067C77E6A89}" srcOrd="2" destOrd="0" parTransId="{5212E12D-07DE-4D90-905C-7DE139301B14}" sibTransId="{C794FBE2-BECF-41DC-9705-077997CC931F}"/>
    <dgm:cxn modelId="{BECC9524-2261-4FCE-AF4A-C5E762A7CEC6}" srcId="{84CC265E-118F-4CD0-A9B2-E4A8EA5E6D76}" destId="{B57D116D-3A1E-4373-B2BA-4E059EEE5C65}" srcOrd="0" destOrd="0" parTransId="{AFA85C32-74F9-4DD4-9423-5E5248F96C80}" sibTransId="{8BA7A73D-0EE7-4EEA-BB30-2392AF9CD479}"/>
    <dgm:cxn modelId="{66F7A424-3CE1-48A8-9C68-59E2887A459D}" srcId="{FE5C9924-036F-49B1-81AC-F53578893169}" destId="{EAB7DDA4-26B4-45A1-A251-8A2EB0A1C9AC}" srcOrd="3" destOrd="0" parTransId="{2E759D4F-1237-4E1F-89B4-7E3CA762F553}" sibTransId="{63D96D0B-828D-4B8C-8481-0111E4658BFB}"/>
    <dgm:cxn modelId="{1490BD25-7750-4509-85BB-707372EB96B7}" type="presOf" srcId="{C2A93D00-FD56-40E5-B238-280393F5047E}" destId="{360B9D8E-7F56-4588-BCF1-3E7B29030453}" srcOrd="0" destOrd="6" presId="urn:microsoft.com/office/officeart/2005/8/layout/lProcess2"/>
    <dgm:cxn modelId="{BF868026-0A97-4EBA-8BFF-BB9850F6DF1F}" srcId="{BFDFF7AB-9618-402F-8CCF-88B9E3ABC0FF}" destId="{23F06F29-47D9-45E3-BCE6-AC5191D86E56}" srcOrd="1" destOrd="0" parTransId="{C4E2F853-3B87-4A77-81C0-B9A77CEBF0A7}" sibTransId="{2BFB0EF6-FC74-471F-9E29-B80917AF9BEE}"/>
    <dgm:cxn modelId="{B88BC326-8ADE-4314-9C72-1C56F6A89C10}" type="presOf" srcId="{4BAD23F7-02A6-474E-AAC7-363D4A3AA906}" destId="{F318119B-EC30-4C13-A8E9-1563D66A8E70}" srcOrd="0" destOrd="0" presId="urn:microsoft.com/office/officeart/2005/8/layout/lProcess2"/>
    <dgm:cxn modelId="{D1FA7B28-0F51-4E8C-ACE8-A1470025EB78}" type="presOf" srcId="{E448DFBB-57C7-4E41-AD0B-A9C58183DFF1}" destId="{6B0A26E3-9ED8-47BD-8783-0EEAAAFB8AAA}" srcOrd="0" destOrd="0" presId="urn:microsoft.com/office/officeart/2005/8/layout/lProcess2"/>
    <dgm:cxn modelId="{864F9928-BC4A-472F-BAF2-6316C7A864D7}" type="presOf" srcId="{55DD7619-B8CB-4E13-AAB6-B7170096AB1D}" destId="{3B53CA87-84DB-434D-AA40-F79F8FA19D55}" srcOrd="1" destOrd="0" presId="urn:microsoft.com/office/officeart/2005/8/layout/lProcess2"/>
    <dgm:cxn modelId="{6962AA28-3C6E-4034-978B-D6301B880220}" srcId="{D98507E7-7B2C-4D0F-BE37-ECDAB798DF95}" destId="{6D76FC4D-448B-4648-9349-46C30885EEAB}" srcOrd="5" destOrd="0" parTransId="{A41A9EB9-5F5E-42FC-BBE1-AF8308C00597}" sibTransId="{4FCA4F2A-D4BA-4FBA-8EB5-01884F87F011}"/>
    <dgm:cxn modelId="{0914B12C-7395-49DE-A431-1C7C9C3FABB4}" srcId="{C2A3C877-DFA1-4813-92E0-91895E5CDBF4}" destId="{DDD8E90D-459A-4341-8846-6D0616A91527}" srcOrd="1" destOrd="0" parTransId="{ACE8C1DD-815C-4A3B-B431-B5C12B661E6B}" sibTransId="{1965EC5E-630E-4745-AE10-3E5AEFE47EAA}"/>
    <dgm:cxn modelId="{1333CF32-178B-40A5-82C2-F61F07A2CD10}" type="presOf" srcId="{84CC265E-118F-4CD0-A9B2-E4A8EA5E6D76}" destId="{D9B558C3-1173-49DE-AEDC-1136B5EC5DA1}" srcOrd="1" destOrd="0" presId="urn:microsoft.com/office/officeart/2005/8/layout/lProcess2"/>
    <dgm:cxn modelId="{5E08A935-31FA-48B7-B1A7-DE3D5A32B9F4}" type="presOf" srcId="{DEE1DBC1-E2F5-4DFF-8445-A69F0E0B1FA8}" destId="{360B9D8E-7F56-4588-BCF1-3E7B29030453}" srcOrd="0" destOrd="7" presId="urn:microsoft.com/office/officeart/2005/8/layout/lProcess2"/>
    <dgm:cxn modelId="{8847D535-D990-47FE-95D7-4264CD6CAC55}" type="presOf" srcId="{BE9CD78E-7500-4157-B8F2-BCD52D99FA6D}" destId="{5ACC7C6E-B272-4557-932E-2F2C41F67CB2}" srcOrd="0" destOrd="0" presId="urn:microsoft.com/office/officeart/2005/8/layout/lProcess2"/>
    <dgm:cxn modelId="{C0E25E37-4A31-4ADB-8EED-7606DE524823}" srcId="{B57D116D-3A1E-4373-B2BA-4E059EEE5C65}" destId="{FBC5DB17-24ED-4ED4-BC75-2D19C0267DF2}" srcOrd="3" destOrd="0" parTransId="{04E4D818-5FD9-488D-868C-E0A2B07F74CC}" sibTransId="{5D72485B-8F8F-48DE-85E0-543546CFADFC}"/>
    <dgm:cxn modelId="{96FBA93A-406A-4941-9DC9-5CB963551C66}" type="presOf" srcId="{2E006984-3103-4BFA-A82E-D96149B68923}" destId="{BE659A78-4093-4815-BCE5-8851B0A92FB0}" srcOrd="0" destOrd="0" presId="urn:microsoft.com/office/officeart/2005/8/layout/lProcess2"/>
    <dgm:cxn modelId="{70E8A63F-1971-4E13-9156-02060B96F437}" type="presOf" srcId="{BFDFF7AB-9618-402F-8CCF-88B9E3ABC0FF}" destId="{8AED2AC4-E3E3-4C7F-AF53-657A913055B9}" srcOrd="0" destOrd="0" presId="urn:microsoft.com/office/officeart/2005/8/layout/lProcess2"/>
    <dgm:cxn modelId="{EB260463-7758-409F-AF0F-505D20BA15C6}" type="presOf" srcId="{CAA83B8B-724A-47C9-9AAF-C797C8F7AFE1}" destId="{282CF7EC-7F03-42F7-AE9A-B91BDC2582A7}" srcOrd="0" destOrd="2" presId="urn:microsoft.com/office/officeart/2005/8/layout/lProcess2"/>
    <dgm:cxn modelId="{CE967D63-FB09-4E18-A863-91681EFE0427}" srcId="{6D76FC4D-448B-4648-9349-46C30885EEAB}" destId="{BE9CD78E-7500-4157-B8F2-BCD52D99FA6D}" srcOrd="0" destOrd="0" parTransId="{48F3E0E1-A103-4842-9163-4F34CE696F96}" sibTransId="{C5010267-E6A1-424E-83F4-D5147CB439F7}"/>
    <dgm:cxn modelId="{D7DA3666-2193-4471-9D49-1CC746A81002}" srcId="{D98507E7-7B2C-4D0F-BE37-ECDAB798DF95}" destId="{84CC265E-118F-4CD0-A9B2-E4A8EA5E6D76}" srcOrd="1" destOrd="0" parTransId="{4DA6CB94-866E-4E5B-95DB-2BA486893F56}" sibTransId="{16923361-3934-4ACF-BB29-EF29F542FA95}"/>
    <dgm:cxn modelId="{0B953968-F73E-44F6-A926-BC2481CB628B}" srcId="{DF010E95-0D5B-4062-A2C1-2DF934ACED84}" destId="{DE6FCAF4-2A35-47B2-95BA-48D340F8559B}" srcOrd="2" destOrd="0" parTransId="{D1A80FDD-BA07-441E-AAF2-0503512A9D3E}" sibTransId="{5FF70BF6-9CF0-44BA-9961-2C31C59C7B53}"/>
    <dgm:cxn modelId="{842EF069-F402-4952-A6E0-50717EEC184A}" type="presOf" srcId="{03B7EB66-3F1C-4B3B-93D1-6B85E1516ACC}" destId="{8AD911C0-FDBF-48C9-A103-696F6FE8F66A}" srcOrd="0" destOrd="0" presId="urn:microsoft.com/office/officeart/2005/8/layout/lProcess2"/>
    <dgm:cxn modelId="{35114D6D-D518-4AEF-BBA2-0391C2871DA2}" srcId="{55DD7619-B8CB-4E13-AAB6-B7170096AB1D}" destId="{D813C000-3379-4140-B0E2-7A32355E0570}" srcOrd="3" destOrd="0" parTransId="{1DE47D44-2E28-4A98-85E6-EBE0831BD907}" sibTransId="{7A669899-E98C-437E-9056-FA5FACE2A621}"/>
    <dgm:cxn modelId="{718C6F4D-6178-486A-9F06-E455E0F46C1F}" type="presOf" srcId="{C29C87E2-9770-4014-B456-ECBA4D348CFF}" destId="{683785AB-2FDF-4860-B92B-A2CFA9453F84}" srcOrd="0" destOrd="0" presId="urn:microsoft.com/office/officeart/2005/8/layout/lProcess2"/>
    <dgm:cxn modelId="{CA14874F-9347-4442-8D88-6E9F9CFF580C}" type="presOf" srcId="{23F06F29-47D9-45E3-BCE6-AC5191D86E56}" destId="{8AED2AC4-E3E3-4C7F-AF53-657A913055B9}" srcOrd="0" destOrd="2" presId="urn:microsoft.com/office/officeart/2005/8/layout/lProcess2"/>
    <dgm:cxn modelId="{2703E64F-837B-4AD7-9DAE-706A84A1447B}" srcId="{AB8AF8F4-A175-427C-9352-75EF220107A3}" destId="{7F88383C-CC6D-4A14-B20C-27A3844DCA1E}" srcOrd="2" destOrd="0" parTransId="{75CE8CEA-4756-4DEC-8769-33ACB926E12A}" sibTransId="{14408D1D-E084-43B9-B3D0-EE950C48EBB9}"/>
    <dgm:cxn modelId="{A7A67D52-DDDD-47BA-A12C-314E23A3E22D}" type="presOf" srcId="{D98507E7-7B2C-4D0F-BE37-ECDAB798DF95}" destId="{F428381C-2DB7-4661-9E47-33B79ACEE43D}" srcOrd="0" destOrd="0" presId="urn:microsoft.com/office/officeart/2005/8/layout/lProcess2"/>
    <dgm:cxn modelId="{BA0B6054-B1BE-4CD3-B7FF-03511989B2B2}" type="presOf" srcId="{B57D116D-3A1E-4373-B2BA-4E059EEE5C65}" destId="{282CF7EC-7F03-42F7-AE9A-B91BDC2582A7}" srcOrd="0" destOrd="0" presId="urn:microsoft.com/office/officeart/2005/8/layout/lProcess2"/>
    <dgm:cxn modelId="{444BA357-6407-470E-9AF7-D497456F3437}" srcId="{DF010E95-0D5B-4062-A2C1-2DF934ACED84}" destId="{380D342B-1751-4A33-852D-F89856C63B0D}" srcOrd="1" destOrd="0" parTransId="{318076B1-1DC8-447E-BECC-BC6E4373C95C}" sibTransId="{25C7F7DA-255F-491B-BB7B-0945FE7A3E3C}"/>
    <dgm:cxn modelId="{C2AD1C7A-2064-40B0-A6EC-BEBC19A052AD}" type="presOf" srcId="{3B8316B4-59D4-4738-BC8D-A1F4D48E8EB9}" destId="{8BB23C54-4353-4D9D-9D98-F6BDED16DB7E}" srcOrd="0" destOrd="2" presId="urn:microsoft.com/office/officeart/2005/8/layout/lProcess2"/>
    <dgm:cxn modelId="{6C269A7C-4206-4C50-A82F-A2DF3624D856}" type="presOf" srcId="{C2A3C877-DFA1-4813-92E0-91895E5CDBF4}" destId="{B5924C92-5D89-48C7-9EF6-568E269AF2B1}" srcOrd="0" destOrd="0" presId="urn:microsoft.com/office/officeart/2005/8/layout/lProcess2"/>
    <dgm:cxn modelId="{A2C0AD82-FC07-4A9E-A231-1A0317500A81}" type="presOf" srcId="{7F88383C-CC6D-4A14-B20C-27A3844DCA1E}" destId="{175B3319-788D-4F1D-A546-6E83551A1A01}" srcOrd="0" destOrd="0" presId="urn:microsoft.com/office/officeart/2005/8/layout/lProcess2"/>
    <dgm:cxn modelId="{8B9DAC84-51C9-42AA-A632-B6AFFE0F57FA}" srcId="{4BAD23F7-02A6-474E-AAC7-363D4A3AA906}" destId="{92C6982B-3DE2-47B4-BF30-59F739D8A1D4}" srcOrd="0" destOrd="0" parTransId="{6EB6F247-07B0-4CD8-A47A-B83FC76BDEF2}" sibTransId="{7A7E41B6-41F7-4058-A1CF-8B968D5620DD}"/>
    <dgm:cxn modelId="{120EFD86-AEAE-4DFA-AA42-07DE1FEBF48B}" srcId="{4BAD23F7-02A6-474E-AAC7-363D4A3AA906}" destId="{3168FEA0-4157-47A9-B65D-EFA94316B28B}" srcOrd="1" destOrd="0" parTransId="{036011CF-BBBB-46BD-89C3-76A8E6E587E9}" sibTransId="{D2A667E1-9E55-493B-988E-70C9784C6942}"/>
    <dgm:cxn modelId="{53D7B788-00A9-4B0C-A72B-319C898B2482}" type="presOf" srcId="{DE6FCAF4-2A35-47B2-95BA-48D340F8559B}" destId="{73C62C5D-4B80-4FCA-99B4-06F69A730CA3}" srcOrd="0" destOrd="0" presId="urn:microsoft.com/office/officeart/2005/8/layout/lProcess2"/>
    <dgm:cxn modelId="{6109348E-7009-40AD-8587-AD10AE123846}" srcId="{55DD7619-B8CB-4E13-AAB6-B7170096AB1D}" destId="{9F5564AB-FC0E-4821-ADB4-AC2C8A4BAB25}" srcOrd="2" destOrd="0" parTransId="{3EC7773A-447A-4CE0-A484-0A52FE5DE88F}" sibTransId="{C1F13152-0295-42AE-841D-8E3323EE2687}"/>
    <dgm:cxn modelId="{A033788E-F376-4C8D-B7F8-440CCD05B5DE}" srcId="{E43E70E9-2FE7-4CAE-9227-AD881EE5407E}" destId="{6C80B507-54F7-45A8-8FE6-5253E1E300CB}" srcOrd="1" destOrd="0" parTransId="{F9D1C326-61BE-4BB5-B466-81A6ADAE1DFD}" sibTransId="{9A28CE63-35AF-402A-A482-76AE9B17A3E5}"/>
    <dgm:cxn modelId="{23D60594-512A-40F4-AE9D-98F5ED14FFBA}" srcId="{D98507E7-7B2C-4D0F-BE37-ECDAB798DF95}" destId="{288D2FC0-BBE1-45A8-9063-E008586AE4A2}" srcOrd="6" destOrd="0" parTransId="{03817E7B-782E-4B19-8C14-B7FBDD7C2C7D}" sibTransId="{5B3E3E13-B04E-47D0-BE5D-327657FF2754}"/>
    <dgm:cxn modelId="{CB937397-9D9F-4A41-A241-A034C637EFF8}" type="presOf" srcId="{1056C2BD-3D86-45FF-94B9-96E6B6BF4927}" destId="{8AED2AC4-E3E3-4C7F-AF53-657A913055B9}" srcOrd="0" destOrd="1" presId="urn:microsoft.com/office/officeart/2005/8/layout/lProcess2"/>
    <dgm:cxn modelId="{55D75C99-96CE-4F44-BC7D-A2D2AF2C8E15}" srcId="{E43E70E9-2FE7-4CAE-9227-AD881EE5407E}" destId="{C29C87E2-9770-4014-B456-ECBA4D348CFF}" srcOrd="0" destOrd="0" parTransId="{2CA9BCF9-24FA-4F23-BD00-81DDB7558942}" sibTransId="{6D07C3F4-D0DE-4492-AFCA-8B7018D7B3A6}"/>
    <dgm:cxn modelId="{5A0D679B-55CD-48F0-80D2-6CEB0CF1EDF1}" type="presOf" srcId="{506B0ADB-56ED-4411-BE98-17DC0C2925B5}" destId="{5C98AD91-9FB8-4CA1-8D7B-7CCE156C48B6}" srcOrd="0" destOrd="0" presId="urn:microsoft.com/office/officeart/2005/8/layout/lProcess2"/>
    <dgm:cxn modelId="{E260479B-CDE5-4206-9AAD-1924C664BE5B}" type="presOf" srcId="{288D2FC0-BBE1-45A8-9063-E008586AE4A2}" destId="{F35FA195-10EB-4CFC-97C4-F059F59E2C0F}" srcOrd="1" destOrd="0" presId="urn:microsoft.com/office/officeart/2005/8/layout/lProcess2"/>
    <dgm:cxn modelId="{2894C59B-48C0-4408-92DD-EFBDFFDD0E12}" srcId="{B57D116D-3A1E-4373-B2BA-4E059EEE5C65}" destId="{CAA83B8B-724A-47C9-9AAF-C797C8F7AFE1}" srcOrd="1" destOrd="0" parTransId="{8AE01381-C9CA-4DE4-A837-0F4CB1693543}" sibTransId="{820856D4-ECB3-41EB-A6AE-060B554D863B}"/>
    <dgm:cxn modelId="{85BCCA9E-8BBE-4DB4-B83C-0D784CF0DD83}" type="presOf" srcId="{634ABC3D-890B-446F-8256-7A014579F33A}" destId="{46C83851-BAF1-4778-B0A2-DE6D53F4BD15}" srcOrd="0" destOrd="0" presId="urn:microsoft.com/office/officeart/2005/8/layout/lProcess2"/>
    <dgm:cxn modelId="{0A720E9F-39E3-4A11-BB9A-C6ABD9554CED}" type="presOf" srcId="{288D2FC0-BBE1-45A8-9063-E008586AE4A2}" destId="{579C8623-E94B-40B9-BFCE-55FB5C12FA0D}" srcOrd="0" destOrd="0" presId="urn:microsoft.com/office/officeart/2005/8/layout/lProcess2"/>
    <dgm:cxn modelId="{96C7499F-F835-4B6D-B2CB-25AF03F5113C}" type="presOf" srcId="{FBC5DB17-24ED-4ED4-BC75-2D19C0267DF2}" destId="{282CF7EC-7F03-42F7-AE9A-B91BDC2582A7}" srcOrd="0" destOrd="4" presId="urn:microsoft.com/office/officeart/2005/8/layout/lProcess2"/>
    <dgm:cxn modelId="{5E50ABA2-7FA0-412C-A7A6-BF722372F6FB}" srcId="{B57D116D-3A1E-4373-B2BA-4E059EEE5C65}" destId="{1460D79F-F05D-45F9-B333-03A29741DF90}" srcOrd="2" destOrd="0" parTransId="{FF6C85A6-CD7F-438A-9E32-CA4E463E89C7}" sibTransId="{D4DC3AEE-A3E1-4724-9E35-C7E6528BE5BA}"/>
    <dgm:cxn modelId="{15803AA5-6EDC-4FCD-89D6-7AD895F45831}" srcId="{BFDFF7AB-9618-402F-8CCF-88B9E3ABC0FF}" destId="{1056C2BD-3D86-45FF-94B9-96E6B6BF4927}" srcOrd="0" destOrd="0" parTransId="{63A461AA-ED4A-4336-976C-0D15D1E99240}" sibTransId="{8D1F48EB-F90B-4488-8214-9A1B8DB04B52}"/>
    <dgm:cxn modelId="{6E4229A8-4A46-4C60-A4D5-708692B6C381}" srcId="{FE5C9924-036F-49B1-81AC-F53578893169}" destId="{519EF48D-9708-4F2C-B81E-0AC3412348B0}" srcOrd="0" destOrd="0" parTransId="{18095B49-14AC-4B6C-AF65-08564A0FCCFF}" sibTransId="{5742E8B5-65C8-4A96-8BFB-03A71636A652}"/>
    <dgm:cxn modelId="{982919A9-0E8C-4DC3-A5AF-FF4D628E10AC}" srcId="{D98507E7-7B2C-4D0F-BE37-ECDAB798DF95}" destId="{E43E70E9-2FE7-4CAE-9227-AD881EE5407E}" srcOrd="7" destOrd="0" parTransId="{4ED7FF11-80A6-4368-8A0E-77D04C9C8C19}" sibTransId="{0FB66B94-F10A-42F0-98E0-A95D5F14D9FF}"/>
    <dgm:cxn modelId="{A74F94AE-10C5-410A-977E-07705729360A}" srcId="{B57D116D-3A1E-4373-B2BA-4E059EEE5C65}" destId="{AD8C8F7B-8617-4A02-BDD3-ED71B8536DF6}" srcOrd="0" destOrd="0" parTransId="{E52150EC-E031-436A-9705-C38A2056A70A}" sibTransId="{4FD4AB36-E6C9-4B87-A343-2D90696A4F86}"/>
    <dgm:cxn modelId="{94412CB0-CED7-4335-9248-3F5D5BB2F294}" type="presOf" srcId="{9F5564AB-FC0E-4821-ADB4-AC2C8A4BAB25}" destId="{E38F7EAD-0570-487F-9E61-B4109180F23C}" srcOrd="0" destOrd="0" presId="urn:microsoft.com/office/officeart/2005/8/layout/lProcess2"/>
    <dgm:cxn modelId="{14E06BB0-B7E8-4233-A4FE-8A9BA0D12A72}" srcId="{2093BC31-67B5-4C48-9C9C-0DC0DB34B97F}" destId="{96095E8B-A867-437A-BB57-83596DE35885}" srcOrd="0" destOrd="0" parTransId="{277F7084-7245-494F-9F8D-19DF88A8A481}" sibTransId="{42A1F183-9344-4C23-8A7E-530699EC3B5A}"/>
    <dgm:cxn modelId="{4BED88B2-8D11-4203-9D7E-FCCD7FB387AE}" srcId="{C2A3C877-DFA1-4813-92E0-91895E5CDBF4}" destId="{BFDFF7AB-9618-402F-8CCF-88B9E3ABC0FF}" srcOrd="0" destOrd="0" parTransId="{0373A459-8F23-4BA2-BFED-561D52BD2A34}" sibTransId="{C679C659-2A4B-40A9-9C5D-B9768C2E947C}"/>
    <dgm:cxn modelId="{F19310B3-EC6E-47B5-A1D2-8F30EFC3789B}" type="presOf" srcId="{2093BC31-67B5-4C48-9C9C-0DC0DB34B97F}" destId="{06A0AD53-DF8A-4F92-A216-F7E509028882}" srcOrd="0" destOrd="0" presId="urn:microsoft.com/office/officeart/2005/8/layout/lProcess2"/>
    <dgm:cxn modelId="{6D68D2B4-D1A4-4E13-BD4A-27C5B40B14BA}" type="presOf" srcId="{DDD8E90D-459A-4341-8846-6D0616A91527}" destId="{8BB23C54-4353-4D9D-9D98-F6BDED16DB7E}" srcOrd="0" destOrd="0" presId="urn:microsoft.com/office/officeart/2005/8/layout/lProcess2"/>
    <dgm:cxn modelId="{5ECE49B6-D3FB-4897-B2C1-C9A8FC928757}" type="presOf" srcId="{AB2397B7-F4E0-4F28-911F-104848D0C732}" destId="{360B9D8E-7F56-4588-BCF1-3E7B29030453}" srcOrd="0" destOrd="5" presId="urn:microsoft.com/office/officeart/2005/8/layout/lProcess2"/>
    <dgm:cxn modelId="{8865E5B9-FFEC-4FF6-BD08-B98BE781BD83}" srcId="{FE5C9924-036F-49B1-81AC-F53578893169}" destId="{AB2397B7-F4E0-4F28-911F-104848D0C732}" srcOrd="4" destOrd="0" parTransId="{E25E814D-A7A7-4C66-A34A-03B6B639578C}" sibTransId="{B65E70B0-3E41-4E54-BE14-ECE048074486}"/>
    <dgm:cxn modelId="{F233C9BA-26FE-4B08-83A3-80A365663953}" srcId="{FE5C9924-036F-49B1-81AC-F53578893169}" destId="{DEE1DBC1-E2F5-4DFF-8445-A69F0E0B1FA8}" srcOrd="6" destOrd="0" parTransId="{935443A9-AE99-4CC7-94FD-975BCFE1FD07}" sibTransId="{19812F6C-9CE4-41E8-BDC6-50AE21B9CAE0}"/>
    <dgm:cxn modelId="{6E69E5BA-399A-46D4-84CB-278EF961D869}" type="presOf" srcId="{6D9C3EFF-E7A1-40C9-9E69-6944BB6DB08D}" destId="{360B9D8E-7F56-4588-BCF1-3E7B29030453}" srcOrd="0" destOrd="2" presId="urn:microsoft.com/office/officeart/2005/8/layout/lProcess2"/>
    <dgm:cxn modelId="{01D1D7BD-19A6-4D71-B0AB-35555C639EA2}" type="presOf" srcId="{1460D79F-F05D-45F9-B333-03A29741DF90}" destId="{282CF7EC-7F03-42F7-AE9A-B91BDC2582A7}" srcOrd="0" destOrd="3" presId="urn:microsoft.com/office/officeart/2005/8/layout/lProcess2"/>
    <dgm:cxn modelId="{E673FEC6-7F22-403F-81CD-207599B9F872}" srcId="{288D2FC0-BBE1-45A8-9063-E008586AE4A2}" destId="{FE5C9924-036F-49B1-81AC-F53578893169}" srcOrd="1" destOrd="0" parTransId="{FEBAC944-F139-407D-96D9-D3E1577A6B62}" sibTransId="{1032D9A9-3586-49B6-AB31-FB6D9C030710}"/>
    <dgm:cxn modelId="{6C6A54C7-83B6-4A5D-A272-84F74F69619E}" srcId="{DDD8E90D-459A-4341-8846-6D0616A91527}" destId="{3B8316B4-59D4-4738-BC8D-A1F4D48E8EB9}" srcOrd="1" destOrd="0" parTransId="{E80AE72F-2DEC-404A-89C5-0B87A33CE71B}" sibTransId="{DEF53C31-25A1-4919-B71F-8FECC780FE11}"/>
    <dgm:cxn modelId="{6233D3C7-6060-49BC-9680-878876634317}" type="presOf" srcId="{6C80B507-54F7-45A8-8FE6-5253E1E300CB}" destId="{DD975A78-2718-41B3-971E-A1DE3AEEF2F1}" srcOrd="0" destOrd="0" presId="urn:microsoft.com/office/officeart/2005/8/layout/lProcess2"/>
    <dgm:cxn modelId="{8ABB2AC9-FFDF-4B9E-B554-0DD2E67D18ED}" type="presOf" srcId="{DE35E6BB-9029-4A9F-A4AC-79566958C07A}" destId="{06A0AD53-DF8A-4F92-A216-F7E509028882}" srcOrd="0" destOrd="2" presId="urn:microsoft.com/office/officeart/2005/8/layout/lProcess2"/>
    <dgm:cxn modelId="{4ABB5DCF-197A-410A-8A06-F537BA66CAAB}" srcId="{55DD7619-B8CB-4E13-AAB6-B7170096AB1D}" destId="{266964BE-793E-482C-B7B9-AD9755157195}" srcOrd="4" destOrd="0" parTransId="{2569C9C0-36A2-415F-B831-AF1EDDE9B7FC}" sibTransId="{A9194052-F3C6-4BCF-8EBB-12E78E3952C2}"/>
    <dgm:cxn modelId="{7B648CD2-D57E-4B7A-8809-EFD65B251A41}" type="presOf" srcId="{01684104-82A8-433B-843B-9067C77E6A89}" destId="{8AED2AC4-E3E3-4C7F-AF53-657A913055B9}" srcOrd="0" destOrd="3" presId="urn:microsoft.com/office/officeart/2005/8/layout/lProcess2"/>
    <dgm:cxn modelId="{45FBC3DA-4004-43BD-805F-8059C3FB654F}" srcId="{AB8AF8F4-A175-427C-9352-75EF220107A3}" destId="{E448DFBB-57C7-4E41-AD0B-A9C58183DFF1}" srcOrd="1" destOrd="0" parTransId="{E428454F-6410-473A-A7A6-41D7B30C2518}" sibTransId="{0ACB336F-3BEA-4F53-90C1-EA5D05683387}"/>
    <dgm:cxn modelId="{B9A6CCDA-55E6-4357-B8F7-C824DED4B4CB}" srcId="{55DD7619-B8CB-4E13-AAB6-B7170096AB1D}" destId="{03B7EB66-3F1C-4B3B-93D1-6B85E1516ACC}" srcOrd="0" destOrd="0" parTransId="{09D83934-1D56-4931-9F96-16D032F30FA9}" sibTransId="{DFF56190-4416-458E-B2E3-BB2D6A5A8031}"/>
    <dgm:cxn modelId="{72146EDD-6CF9-431C-91F7-6BF841525E39}" type="presOf" srcId="{6D76FC4D-448B-4648-9349-46C30885EEAB}" destId="{DEFDA65D-6050-4578-9152-F5BF95983CEE}" srcOrd="1" destOrd="0" presId="urn:microsoft.com/office/officeart/2005/8/layout/lProcess2"/>
    <dgm:cxn modelId="{BC705FE1-250A-4B18-9B56-5D7F9B308F1F}" srcId="{FE5C9924-036F-49B1-81AC-F53578893169}" destId="{C2A93D00-FD56-40E5-B238-280393F5047E}" srcOrd="5" destOrd="0" parTransId="{E8E46788-66E0-493A-918F-68AB78325D79}" sibTransId="{62A9AE7B-655E-4A97-ABA1-0112AE1DB0CC}"/>
    <dgm:cxn modelId="{910A65E3-ED72-45E6-B8CC-F80109BB466D}" srcId="{6D76FC4D-448B-4648-9349-46C30885EEAB}" destId="{506B0ADB-56ED-4411-BE98-17DC0C2925B5}" srcOrd="1" destOrd="0" parTransId="{7832919D-CCD3-40A2-9F84-7C19DD0103C0}" sibTransId="{F81F7C5A-795D-4B23-A777-797BAB175E72}"/>
    <dgm:cxn modelId="{B8701DE5-9FF5-4C36-8C1F-B6F9657F99D2}" type="presOf" srcId="{28CCA9A3-DE79-4B56-AD3C-250B12E6D7C2}" destId="{5CDEA415-2EF1-4A33-B082-C3E4B3116E31}" srcOrd="0" destOrd="0" presId="urn:microsoft.com/office/officeart/2005/8/layout/lProcess2"/>
    <dgm:cxn modelId="{0B742CE5-E2DB-4CE5-A3E2-4BC208728A43}" type="presOf" srcId="{380D342B-1751-4A33-852D-F89856C63B0D}" destId="{2F2815BF-8F46-4FF5-9452-E6F30EE9E80C}" srcOrd="0" destOrd="0" presId="urn:microsoft.com/office/officeart/2005/8/layout/lProcess2"/>
    <dgm:cxn modelId="{79566BE7-569F-4E27-9901-10D1FD379C8B}" srcId="{FE5C9924-036F-49B1-81AC-F53578893169}" destId="{53C1DC24-E1C3-49FD-AF03-0E2586D0A9E7}" srcOrd="2" destOrd="0" parTransId="{07CF89DB-B519-48BD-BBE5-ECE091930404}" sibTransId="{23E561B8-5141-4B9B-9A8E-32FD9050696C}"/>
    <dgm:cxn modelId="{34D96AEA-8F67-4394-BABD-9BA6C7D4B491}" srcId="{FE5C9924-036F-49B1-81AC-F53578893169}" destId="{6D9C3EFF-E7A1-40C9-9E69-6944BB6DB08D}" srcOrd="1" destOrd="0" parTransId="{A71AEE4F-C7D2-4436-919C-F033D25FF42C}" sibTransId="{087A3B09-E2D3-4323-9037-A3296D223A37}"/>
    <dgm:cxn modelId="{82A456EC-8101-4792-A290-987900850A64}" srcId="{DDD8E90D-459A-4341-8846-6D0616A91527}" destId="{081E5439-11FB-4CF5-B4AC-4E0F138AEFA9}" srcOrd="0" destOrd="0" parTransId="{79742C93-E7F5-4E78-92E1-15F9B0A5CE54}" sibTransId="{51B4F7E0-A567-4EFF-A9D7-173B8B0C4C65}"/>
    <dgm:cxn modelId="{19A868EF-8DD8-4744-AAA7-504720C449E0}" srcId="{2093BC31-67B5-4C48-9C9C-0DC0DB34B97F}" destId="{05C48BD8-5E3B-4D9E-8FF4-B9B15839E04F}" srcOrd="2" destOrd="0" parTransId="{B142A0A6-92C8-45F5-8DE1-95C4DBA73791}" sibTransId="{C3884265-2714-4802-953B-1BC45D5B50CB}"/>
    <dgm:cxn modelId="{866E73F3-60DE-412A-82A0-E6F82CF0AE0A}" type="presOf" srcId="{05C48BD8-5E3B-4D9E-8FF4-B9B15839E04F}" destId="{06A0AD53-DF8A-4F92-A216-F7E509028882}" srcOrd="0" destOrd="3" presId="urn:microsoft.com/office/officeart/2005/8/layout/lProcess2"/>
    <dgm:cxn modelId="{5A959CF3-E2F0-4F30-A2BE-6BE96941B920}" type="presOf" srcId="{92C6982B-3DE2-47B4-BF30-59F739D8A1D4}" destId="{F318119B-EC30-4C13-A8E9-1563D66A8E70}" srcOrd="0" destOrd="1" presId="urn:microsoft.com/office/officeart/2005/8/layout/lProcess2"/>
    <dgm:cxn modelId="{595855F4-BE6B-4E1F-AE4E-C2AB7E55D73D}" type="presOf" srcId="{53C1DC24-E1C3-49FD-AF03-0E2586D0A9E7}" destId="{360B9D8E-7F56-4588-BCF1-3E7B29030453}" srcOrd="0" destOrd="3" presId="urn:microsoft.com/office/officeart/2005/8/layout/lProcess2"/>
    <dgm:cxn modelId="{A158ABF4-BCEC-4596-96EC-B0245CFC01C5}" srcId="{AB8AF8F4-A175-427C-9352-75EF220107A3}" destId="{28CCA9A3-DE79-4B56-AD3C-250B12E6D7C2}" srcOrd="0" destOrd="0" parTransId="{D3D1B954-F6CD-44B6-B31F-8CBCF851692E}" sibTransId="{5567C320-4FF1-4B70-90C6-5BEF5BF48A84}"/>
    <dgm:cxn modelId="{3683ADF4-94D6-4CB3-A8A4-A822F5317F50}" srcId="{288D2FC0-BBE1-45A8-9063-E008586AE4A2}" destId="{4BAD23F7-02A6-474E-AAC7-363D4A3AA906}" srcOrd="0" destOrd="0" parTransId="{1D2C54EB-1178-46FC-BA0B-7EBCCAB3EA78}" sibTransId="{07765672-E59D-4E72-85D3-CCC13488E122}"/>
    <dgm:cxn modelId="{9EF9D6F4-2827-4BC3-A1D2-AF07D490EF62}" type="presOf" srcId="{081E5439-11FB-4CF5-B4AC-4E0F138AEFA9}" destId="{8BB23C54-4353-4D9D-9D98-F6BDED16DB7E}" srcOrd="0" destOrd="1" presId="urn:microsoft.com/office/officeart/2005/8/layout/lProcess2"/>
    <dgm:cxn modelId="{BEB15CF6-6A8E-410D-90E7-4AAAACE3570E}" type="presOf" srcId="{519EF48D-9708-4F2C-B81E-0AC3412348B0}" destId="{360B9D8E-7F56-4588-BCF1-3E7B29030453}" srcOrd="0" destOrd="1" presId="urn:microsoft.com/office/officeart/2005/8/layout/lProcess2"/>
    <dgm:cxn modelId="{7DF98EF7-F22F-4A06-9EBD-193ADA1EC5A5}" type="presOf" srcId="{DF010E95-0D5B-4062-A2C1-2DF934ACED84}" destId="{5783ACC6-AFA8-4C08-A9B2-381FE786C341}" srcOrd="0" destOrd="0" presId="urn:microsoft.com/office/officeart/2005/8/layout/lProcess2"/>
    <dgm:cxn modelId="{4D3773FE-FA0A-4BE9-8065-9C0228EFA905}" srcId="{DF010E95-0D5B-4062-A2C1-2DF934ACED84}" destId="{2E006984-3103-4BFA-A82E-D96149B68923}" srcOrd="0" destOrd="0" parTransId="{EA12379D-AE8B-4C60-8541-9D370E216990}" sibTransId="{992AB04C-713F-4FE0-B632-D0018B035871}"/>
    <dgm:cxn modelId="{5F668BFE-98F3-4EE0-99BC-270D6FCD0B2D}" type="presOf" srcId="{DF010E95-0D5B-4062-A2C1-2DF934ACED84}" destId="{F15E76E7-0AF0-4F18-A60B-8E1FB5FA635E}" srcOrd="1" destOrd="0" presId="urn:microsoft.com/office/officeart/2005/8/layout/lProcess2"/>
    <dgm:cxn modelId="{C9888DF1-8258-416D-BAC8-BFC3B93BA759}" type="presParOf" srcId="{F428381C-2DB7-4661-9E47-33B79ACEE43D}" destId="{70465DCE-67A5-4FC5-98E7-EE008FE2A4CD}" srcOrd="0" destOrd="0" presId="urn:microsoft.com/office/officeart/2005/8/layout/lProcess2"/>
    <dgm:cxn modelId="{D3AAE30B-800D-43B8-905E-0B8D195B1A5F}" type="presParOf" srcId="{70465DCE-67A5-4FC5-98E7-EE008FE2A4CD}" destId="{5783ACC6-AFA8-4C08-A9B2-381FE786C341}" srcOrd="0" destOrd="0" presId="urn:microsoft.com/office/officeart/2005/8/layout/lProcess2"/>
    <dgm:cxn modelId="{A93EC4B9-6D76-4F3B-92CB-816B338A9EBF}" type="presParOf" srcId="{70465DCE-67A5-4FC5-98E7-EE008FE2A4CD}" destId="{F15E76E7-0AF0-4F18-A60B-8E1FB5FA635E}" srcOrd="1" destOrd="0" presId="urn:microsoft.com/office/officeart/2005/8/layout/lProcess2"/>
    <dgm:cxn modelId="{392DFD7D-63E8-4B9B-B1D3-49BC4327AEAA}" type="presParOf" srcId="{70465DCE-67A5-4FC5-98E7-EE008FE2A4CD}" destId="{4CCA0465-44AA-406C-8E26-9D02183DC447}" srcOrd="2" destOrd="0" presId="urn:microsoft.com/office/officeart/2005/8/layout/lProcess2"/>
    <dgm:cxn modelId="{C528B572-91B0-4875-A355-2CE83390F5FD}" type="presParOf" srcId="{4CCA0465-44AA-406C-8E26-9D02183DC447}" destId="{D34FBF7B-D5B0-4C8B-88AC-CDA76C793B11}" srcOrd="0" destOrd="0" presId="urn:microsoft.com/office/officeart/2005/8/layout/lProcess2"/>
    <dgm:cxn modelId="{B514D9D0-9C37-46E3-B06B-0A72FE9298F1}" type="presParOf" srcId="{D34FBF7B-D5B0-4C8B-88AC-CDA76C793B11}" destId="{BE659A78-4093-4815-BCE5-8851B0A92FB0}" srcOrd="0" destOrd="0" presId="urn:microsoft.com/office/officeart/2005/8/layout/lProcess2"/>
    <dgm:cxn modelId="{8E3F0583-A487-4AD8-8655-29D3ABD80B3A}" type="presParOf" srcId="{D34FBF7B-D5B0-4C8B-88AC-CDA76C793B11}" destId="{52DE9436-B6C0-449A-A743-799F1B464E95}" srcOrd="1" destOrd="0" presId="urn:microsoft.com/office/officeart/2005/8/layout/lProcess2"/>
    <dgm:cxn modelId="{89D28547-1905-4C20-A24E-B30B3C6A8293}" type="presParOf" srcId="{D34FBF7B-D5B0-4C8B-88AC-CDA76C793B11}" destId="{2F2815BF-8F46-4FF5-9452-E6F30EE9E80C}" srcOrd="2" destOrd="0" presId="urn:microsoft.com/office/officeart/2005/8/layout/lProcess2"/>
    <dgm:cxn modelId="{81BF6032-4C57-497B-BDA1-3082CB28278A}" type="presParOf" srcId="{D34FBF7B-D5B0-4C8B-88AC-CDA76C793B11}" destId="{887F98B5-F361-4792-B7F8-C2257EBCB869}" srcOrd="3" destOrd="0" presId="urn:microsoft.com/office/officeart/2005/8/layout/lProcess2"/>
    <dgm:cxn modelId="{130E4E09-C9A5-40AB-9293-3933022DF9CA}" type="presParOf" srcId="{D34FBF7B-D5B0-4C8B-88AC-CDA76C793B11}" destId="{73C62C5D-4B80-4FCA-99B4-06F69A730CA3}" srcOrd="4" destOrd="0" presId="urn:microsoft.com/office/officeart/2005/8/layout/lProcess2"/>
    <dgm:cxn modelId="{230A9D98-1C01-4210-ADD8-6CFBA61B549D}" type="presParOf" srcId="{F428381C-2DB7-4661-9E47-33B79ACEE43D}" destId="{F85F641E-C1E5-4462-90D9-33B9EF5F361D}" srcOrd="1" destOrd="0" presId="urn:microsoft.com/office/officeart/2005/8/layout/lProcess2"/>
    <dgm:cxn modelId="{FFFAAEE1-B575-4DCD-9A8A-D9B6D8CD61D7}" type="presParOf" srcId="{F428381C-2DB7-4661-9E47-33B79ACEE43D}" destId="{59941E25-2E00-4F8F-9871-F3F2766E5F47}" srcOrd="2" destOrd="0" presId="urn:microsoft.com/office/officeart/2005/8/layout/lProcess2"/>
    <dgm:cxn modelId="{5B422A38-A495-45F8-8175-C88504502BC0}" type="presParOf" srcId="{59941E25-2E00-4F8F-9871-F3F2766E5F47}" destId="{B6D8D6FF-5DCE-44C7-9250-4580D5C8EF1D}" srcOrd="0" destOrd="0" presId="urn:microsoft.com/office/officeart/2005/8/layout/lProcess2"/>
    <dgm:cxn modelId="{C4C0A3C7-D9BB-462D-BF73-AF4A04F0896F}" type="presParOf" srcId="{59941E25-2E00-4F8F-9871-F3F2766E5F47}" destId="{D9B558C3-1173-49DE-AEDC-1136B5EC5DA1}" srcOrd="1" destOrd="0" presId="urn:microsoft.com/office/officeart/2005/8/layout/lProcess2"/>
    <dgm:cxn modelId="{CB29CF70-BC87-487A-A802-AC05292E92C9}" type="presParOf" srcId="{59941E25-2E00-4F8F-9871-F3F2766E5F47}" destId="{33983172-F975-482F-8ABC-69AD85735E08}" srcOrd="2" destOrd="0" presId="urn:microsoft.com/office/officeart/2005/8/layout/lProcess2"/>
    <dgm:cxn modelId="{F546452B-6708-4286-BF75-277D8F93103B}" type="presParOf" srcId="{33983172-F975-482F-8ABC-69AD85735E08}" destId="{F285A37C-F55A-4B61-8A6B-EBA6833B6460}" srcOrd="0" destOrd="0" presId="urn:microsoft.com/office/officeart/2005/8/layout/lProcess2"/>
    <dgm:cxn modelId="{076EC6C9-BD4B-46B2-9C34-D05603182FA7}" type="presParOf" srcId="{F285A37C-F55A-4B61-8A6B-EBA6833B6460}" destId="{282CF7EC-7F03-42F7-AE9A-B91BDC2582A7}" srcOrd="0" destOrd="0" presId="urn:microsoft.com/office/officeart/2005/8/layout/lProcess2"/>
    <dgm:cxn modelId="{45F0AC0D-0351-4172-B3F9-D490FD5DFCD3}" type="presParOf" srcId="{F285A37C-F55A-4B61-8A6B-EBA6833B6460}" destId="{C5CAADC7-42B3-4C4B-A938-93C338C73C4C}" srcOrd="1" destOrd="0" presId="urn:microsoft.com/office/officeart/2005/8/layout/lProcess2"/>
    <dgm:cxn modelId="{5804EA9A-1195-4BA4-B786-0D459669BB9E}" type="presParOf" srcId="{F285A37C-F55A-4B61-8A6B-EBA6833B6460}" destId="{06A0AD53-DF8A-4F92-A216-F7E509028882}" srcOrd="2" destOrd="0" presId="urn:microsoft.com/office/officeart/2005/8/layout/lProcess2"/>
    <dgm:cxn modelId="{E097CB04-AAA3-4F6A-A6C4-718DF45688F9}" type="presParOf" srcId="{F428381C-2DB7-4661-9E47-33B79ACEE43D}" destId="{B5FE16FD-B2B8-4CC5-94C0-4C06B9B28C01}" srcOrd="3" destOrd="0" presId="urn:microsoft.com/office/officeart/2005/8/layout/lProcess2"/>
    <dgm:cxn modelId="{B6C6DDDF-399B-47AC-9261-47D062BC7F23}" type="presParOf" srcId="{F428381C-2DB7-4661-9E47-33B79ACEE43D}" destId="{23073581-B4CF-4385-8F7A-6097617B6D14}" srcOrd="4" destOrd="0" presId="urn:microsoft.com/office/officeart/2005/8/layout/lProcess2"/>
    <dgm:cxn modelId="{EEBE99D3-9C34-409A-8FCA-C2656433D784}" type="presParOf" srcId="{23073581-B4CF-4385-8F7A-6097617B6D14}" destId="{37530E83-37E3-448C-A7EC-D569816240A0}" srcOrd="0" destOrd="0" presId="urn:microsoft.com/office/officeart/2005/8/layout/lProcess2"/>
    <dgm:cxn modelId="{5A68E6F1-BEC3-4B40-B02E-48E58D593726}" type="presParOf" srcId="{23073581-B4CF-4385-8F7A-6097617B6D14}" destId="{D98DA80C-7D7A-4647-9221-552FD1FB2E26}" srcOrd="1" destOrd="0" presId="urn:microsoft.com/office/officeart/2005/8/layout/lProcess2"/>
    <dgm:cxn modelId="{E437728D-1A2F-4272-B0D7-E0787BEEACE5}" type="presParOf" srcId="{23073581-B4CF-4385-8F7A-6097617B6D14}" destId="{8A61733A-593A-4669-B6CF-0C465BAB9E80}" srcOrd="2" destOrd="0" presId="urn:microsoft.com/office/officeart/2005/8/layout/lProcess2"/>
    <dgm:cxn modelId="{021C186A-11C7-4803-9CEB-66418368FC6A}" type="presParOf" srcId="{8A61733A-593A-4669-B6CF-0C465BAB9E80}" destId="{4AA8EF9D-4AFA-4109-B80B-599FD159C278}" srcOrd="0" destOrd="0" presId="urn:microsoft.com/office/officeart/2005/8/layout/lProcess2"/>
    <dgm:cxn modelId="{710B0E37-DB87-40E5-824A-1F3BF5505FC9}" type="presParOf" srcId="{4AA8EF9D-4AFA-4109-B80B-599FD159C278}" destId="{5CDEA415-2EF1-4A33-B082-C3E4B3116E31}" srcOrd="0" destOrd="0" presId="urn:microsoft.com/office/officeart/2005/8/layout/lProcess2"/>
    <dgm:cxn modelId="{CB9E4836-4D47-46F9-9D91-35C7B5BAEDD9}" type="presParOf" srcId="{4AA8EF9D-4AFA-4109-B80B-599FD159C278}" destId="{EA5D260E-50A7-4CA3-A855-A42B2CCED262}" srcOrd="1" destOrd="0" presId="urn:microsoft.com/office/officeart/2005/8/layout/lProcess2"/>
    <dgm:cxn modelId="{4BB09841-B811-4A28-B3A0-6F9F3284972B}" type="presParOf" srcId="{4AA8EF9D-4AFA-4109-B80B-599FD159C278}" destId="{6B0A26E3-9ED8-47BD-8783-0EEAAAFB8AAA}" srcOrd="2" destOrd="0" presId="urn:microsoft.com/office/officeart/2005/8/layout/lProcess2"/>
    <dgm:cxn modelId="{44FF4B60-48B2-45AB-9EDE-A99D1D4BFF75}" type="presParOf" srcId="{4AA8EF9D-4AFA-4109-B80B-599FD159C278}" destId="{A077251A-D136-46A3-AC50-90AD26D69904}" srcOrd="3" destOrd="0" presId="urn:microsoft.com/office/officeart/2005/8/layout/lProcess2"/>
    <dgm:cxn modelId="{472A29EA-001E-4A5F-ABA3-6E434D355DC7}" type="presParOf" srcId="{4AA8EF9D-4AFA-4109-B80B-599FD159C278}" destId="{175B3319-788D-4F1D-A546-6E83551A1A01}" srcOrd="4" destOrd="0" presId="urn:microsoft.com/office/officeart/2005/8/layout/lProcess2"/>
    <dgm:cxn modelId="{10060EA4-1D64-401E-9FF1-42CAEA0E2372}" type="presParOf" srcId="{F428381C-2DB7-4661-9E47-33B79ACEE43D}" destId="{A083A271-FE03-4AAB-8874-493DC1AD2CE6}" srcOrd="5" destOrd="0" presId="urn:microsoft.com/office/officeart/2005/8/layout/lProcess2"/>
    <dgm:cxn modelId="{6D5731FE-F2F7-449F-875B-81F5B0290D91}" type="presParOf" srcId="{F428381C-2DB7-4661-9E47-33B79ACEE43D}" destId="{F05FB5A6-0921-4612-971E-154A6E930A9B}" srcOrd="6" destOrd="0" presId="urn:microsoft.com/office/officeart/2005/8/layout/lProcess2"/>
    <dgm:cxn modelId="{8EF27928-71DB-4871-AB9B-AD45A9112636}" type="presParOf" srcId="{F05FB5A6-0921-4612-971E-154A6E930A9B}" destId="{B5924C92-5D89-48C7-9EF6-568E269AF2B1}" srcOrd="0" destOrd="0" presId="urn:microsoft.com/office/officeart/2005/8/layout/lProcess2"/>
    <dgm:cxn modelId="{CE51DFBD-673F-4266-BD50-B6ACAE596E91}" type="presParOf" srcId="{F05FB5A6-0921-4612-971E-154A6E930A9B}" destId="{FAAB81BF-FD85-41A7-BE48-E064789E260E}" srcOrd="1" destOrd="0" presId="urn:microsoft.com/office/officeart/2005/8/layout/lProcess2"/>
    <dgm:cxn modelId="{A417FB6F-9ADD-4D26-A967-7396ACDE002E}" type="presParOf" srcId="{F05FB5A6-0921-4612-971E-154A6E930A9B}" destId="{12D5BAFA-EF8E-481B-A56A-6136AC26B423}" srcOrd="2" destOrd="0" presId="urn:microsoft.com/office/officeart/2005/8/layout/lProcess2"/>
    <dgm:cxn modelId="{5F981981-2BD5-4C3B-9FA4-4A224FC52C33}" type="presParOf" srcId="{12D5BAFA-EF8E-481B-A56A-6136AC26B423}" destId="{B4FAEF0E-B676-49D1-8CF6-5E139232CCA1}" srcOrd="0" destOrd="0" presId="urn:microsoft.com/office/officeart/2005/8/layout/lProcess2"/>
    <dgm:cxn modelId="{2EEC28D1-4DAD-4BF4-9484-F4925B1ECF6B}" type="presParOf" srcId="{B4FAEF0E-B676-49D1-8CF6-5E139232CCA1}" destId="{8AED2AC4-E3E3-4C7F-AF53-657A913055B9}" srcOrd="0" destOrd="0" presId="urn:microsoft.com/office/officeart/2005/8/layout/lProcess2"/>
    <dgm:cxn modelId="{18FD7582-9C03-4412-8801-46523A079527}" type="presParOf" srcId="{B4FAEF0E-B676-49D1-8CF6-5E139232CCA1}" destId="{66DDA262-4AE2-4B30-B788-FAC4690EC5DA}" srcOrd="1" destOrd="0" presId="urn:microsoft.com/office/officeart/2005/8/layout/lProcess2"/>
    <dgm:cxn modelId="{2EBE44D4-D6CC-44F7-9505-0EB9825D286A}" type="presParOf" srcId="{B4FAEF0E-B676-49D1-8CF6-5E139232CCA1}" destId="{8BB23C54-4353-4D9D-9D98-F6BDED16DB7E}" srcOrd="2" destOrd="0" presId="urn:microsoft.com/office/officeart/2005/8/layout/lProcess2"/>
    <dgm:cxn modelId="{E92590C0-44F3-4028-BAFD-9271CEE63B6B}" type="presParOf" srcId="{F428381C-2DB7-4661-9E47-33B79ACEE43D}" destId="{0AA6B1D0-ACF5-4E38-B4ED-EB6C46A3D41F}" srcOrd="7" destOrd="0" presId="urn:microsoft.com/office/officeart/2005/8/layout/lProcess2"/>
    <dgm:cxn modelId="{DF963A0A-24ED-4E47-8470-4727A60630F7}" type="presParOf" srcId="{F428381C-2DB7-4661-9E47-33B79ACEE43D}" destId="{AB50CD31-D7F4-4C4C-985C-E0BA6C358CBF}" srcOrd="8" destOrd="0" presId="urn:microsoft.com/office/officeart/2005/8/layout/lProcess2"/>
    <dgm:cxn modelId="{8C975FA0-4853-4FD3-AA92-4F06F207F0DF}" type="presParOf" srcId="{AB50CD31-D7F4-4C4C-985C-E0BA6C358CBF}" destId="{DAE4FE2B-DD8F-4137-A717-B11B3B748E88}" srcOrd="0" destOrd="0" presId="urn:microsoft.com/office/officeart/2005/8/layout/lProcess2"/>
    <dgm:cxn modelId="{0CD9B04A-C678-4F5B-8D5D-4451D54EE105}" type="presParOf" srcId="{AB50CD31-D7F4-4C4C-985C-E0BA6C358CBF}" destId="{3B53CA87-84DB-434D-AA40-F79F8FA19D55}" srcOrd="1" destOrd="0" presId="urn:microsoft.com/office/officeart/2005/8/layout/lProcess2"/>
    <dgm:cxn modelId="{136485AB-22C3-4A10-B831-9AFA887CEB9F}" type="presParOf" srcId="{AB50CD31-D7F4-4C4C-985C-E0BA6C358CBF}" destId="{3E562956-F7F6-465A-9B6C-3E45C85C5697}" srcOrd="2" destOrd="0" presId="urn:microsoft.com/office/officeart/2005/8/layout/lProcess2"/>
    <dgm:cxn modelId="{67C16A54-2123-4896-95CE-4E725327B78F}" type="presParOf" srcId="{3E562956-F7F6-465A-9B6C-3E45C85C5697}" destId="{63C88AD6-C24F-4F08-AD17-33737E62BCEB}" srcOrd="0" destOrd="0" presId="urn:microsoft.com/office/officeart/2005/8/layout/lProcess2"/>
    <dgm:cxn modelId="{B06E7A4F-056C-4258-9F5E-7391C84BC06B}" type="presParOf" srcId="{63C88AD6-C24F-4F08-AD17-33737E62BCEB}" destId="{8AD911C0-FDBF-48C9-A103-696F6FE8F66A}" srcOrd="0" destOrd="0" presId="urn:microsoft.com/office/officeart/2005/8/layout/lProcess2"/>
    <dgm:cxn modelId="{FEE069BF-3D92-49E8-94B5-889D3DDFD2BD}" type="presParOf" srcId="{63C88AD6-C24F-4F08-AD17-33737E62BCEB}" destId="{37C633B0-C113-43A9-ADD3-A9E249E650E3}" srcOrd="1" destOrd="0" presId="urn:microsoft.com/office/officeart/2005/8/layout/lProcess2"/>
    <dgm:cxn modelId="{FAD3E520-64BF-4C14-9E58-52EA01B896FA}" type="presParOf" srcId="{63C88AD6-C24F-4F08-AD17-33737E62BCEB}" destId="{46C83851-BAF1-4778-B0A2-DE6D53F4BD15}" srcOrd="2" destOrd="0" presId="urn:microsoft.com/office/officeart/2005/8/layout/lProcess2"/>
    <dgm:cxn modelId="{33EF5274-79D9-4BCA-B8BF-84C506C45662}" type="presParOf" srcId="{63C88AD6-C24F-4F08-AD17-33737E62BCEB}" destId="{64366128-A01A-4066-8836-64301D589038}" srcOrd="3" destOrd="0" presId="urn:microsoft.com/office/officeart/2005/8/layout/lProcess2"/>
    <dgm:cxn modelId="{58E27B7A-4850-40A9-8185-2EFA6767FAF5}" type="presParOf" srcId="{63C88AD6-C24F-4F08-AD17-33737E62BCEB}" destId="{E38F7EAD-0570-487F-9E61-B4109180F23C}" srcOrd="4" destOrd="0" presId="urn:microsoft.com/office/officeart/2005/8/layout/lProcess2"/>
    <dgm:cxn modelId="{AA48C4D5-4E04-49F3-8318-90E9FB1CF78C}" type="presParOf" srcId="{63C88AD6-C24F-4F08-AD17-33737E62BCEB}" destId="{BCBA8866-3B9A-4C60-BD49-B3D4EE77DA44}" srcOrd="5" destOrd="0" presId="urn:microsoft.com/office/officeart/2005/8/layout/lProcess2"/>
    <dgm:cxn modelId="{C43D52B1-59BF-4E33-8F36-7BFAF4622E1F}" type="presParOf" srcId="{63C88AD6-C24F-4F08-AD17-33737E62BCEB}" destId="{CB3466CA-94FC-442F-8D98-07ED49C7B93F}" srcOrd="6" destOrd="0" presId="urn:microsoft.com/office/officeart/2005/8/layout/lProcess2"/>
    <dgm:cxn modelId="{D5E53E15-1727-4191-BC3A-C5E63FEFACB8}" type="presParOf" srcId="{63C88AD6-C24F-4F08-AD17-33737E62BCEB}" destId="{0C75819A-DC38-45A4-8D5B-A65A742BB6FE}" srcOrd="7" destOrd="0" presId="urn:microsoft.com/office/officeart/2005/8/layout/lProcess2"/>
    <dgm:cxn modelId="{B2C4194A-CF87-4CA0-B7F8-BD278CF4AB02}" type="presParOf" srcId="{63C88AD6-C24F-4F08-AD17-33737E62BCEB}" destId="{83B00C8D-F561-417E-A177-11D1A1CE3278}" srcOrd="8" destOrd="0" presId="urn:microsoft.com/office/officeart/2005/8/layout/lProcess2"/>
    <dgm:cxn modelId="{6541982F-E64F-4FDF-A809-632366184D97}" type="presParOf" srcId="{F428381C-2DB7-4661-9E47-33B79ACEE43D}" destId="{EFDB804D-DF69-44B9-9037-0BD407BA7D46}" srcOrd="9" destOrd="0" presId="urn:microsoft.com/office/officeart/2005/8/layout/lProcess2"/>
    <dgm:cxn modelId="{A1EC22EA-CB6E-4C31-8D1A-3C79DAAFA177}" type="presParOf" srcId="{F428381C-2DB7-4661-9E47-33B79ACEE43D}" destId="{B769675C-8EFD-4038-9ABB-5D71C90099A8}" srcOrd="10" destOrd="0" presId="urn:microsoft.com/office/officeart/2005/8/layout/lProcess2"/>
    <dgm:cxn modelId="{9430E553-82AC-4FA9-A985-8236ABF13CDC}" type="presParOf" srcId="{B769675C-8EFD-4038-9ABB-5D71C90099A8}" destId="{EDC3A663-DF0C-4C86-9C7E-53EC050AE632}" srcOrd="0" destOrd="0" presId="urn:microsoft.com/office/officeart/2005/8/layout/lProcess2"/>
    <dgm:cxn modelId="{FCF86DBF-FADC-44D5-A2D4-A258F938068C}" type="presParOf" srcId="{B769675C-8EFD-4038-9ABB-5D71C90099A8}" destId="{DEFDA65D-6050-4578-9152-F5BF95983CEE}" srcOrd="1" destOrd="0" presId="urn:microsoft.com/office/officeart/2005/8/layout/lProcess2"/>
    <dgm:cxn modelId="{12DE3A5C-DE0A-4F15-8E22-DC115C6B579D}" type="presParOf" srcId="{B769675C-8EFD-4038-9ABB-5D71C90099A8}" destId="{2DC0D274-175B-4CA9-B603-7EC4C3DB2A49}" srcOrd="2" destOrd="0" presId="urn:microsoft.com/office/officeart/2005/8/layout/lProcess2"/>
    <dgm:cxn modelId="{14821FA9-C9D1-45D0-924B-19F1237B2D7D}" type="presParOf" srcId="{2DC0D274-175B-4CA9-B603-7EC4C3DB2A49}" destId="{44FAA52E-8FA1-4D9D-8373-B752C491DE07}" srcOrd="0" destOrd="0" presId="urn:microsoft.com/office/officeart/2005/8/layout/lProcess2"/>
    <dgm:cxn modelId="{A4FAEF44-A8EB-4677-B3AF-E07099B895EF}" type="presParOf" srcId="{44FAA52E-8FA1-4D9D-8373-B752C491DE07}" destId="{5ACC7C6E-B272-4557-932E-2F2C41F67CB2}" srcOrd="0" destOrd="0" presId="urn:microsoft.com/office/officeart/2005/8/layout/lProcess2"/>
    <dgm:cxn modelId="{C142433F-C491-4010-93A1-8DC3C2D5CC57}" type="presParOf" srcId="{44FAA52E-8FA1-4D9D-8373-B752C491DE07}" destId="{8C5FA130-B92A-45B8-B52C-DA73235679D4}" srcOrd="1" destOrd="0" presId="urn:microsoft.com/office/officeart/2005/8/layout/lProcess2"/>
    <dgm:cxn modelId="{159BDB04-F834-46C9-BA3F-D0D02720643B}" type="presParOf" srcId="{44FAA52E-8FA1-4D9D-8373-B752C491DE07}" destId="{5C98AD91-9FB8-4CA1-8D7B-7CCE156C48B6}" srcOrd="2" destOrd="0" presId="urn:microsoft.com/office/officeart/2005/8/layout/lProcess2"/>
    <dgm:cxn modelId="{7440160C-A24A-4C71-A6C7-0CC7028D503C}" type="presParOf" srcId="{F428381C-2DB7-4661-9E47-33B79ACEE43D}" destId="{662DCBC5-8C99-4675-B08E-1375D817B1CC}" srcOrd="11" destOrd="0" presId="urn:microsoft.com/office/officeart/2005/8/layout/lProcess2"/>
    <dgm:cxn modelId="{2F6E4025-177E-4B3D-8173-016FAEE56F17}" type="presParOf" srcId="{F428381C-2DB7-4661-9E47-33B79ACEE43D}" destId="{A0B8B0F5-B70E-483E-8FD7-0F64F6AC5773}" srcOrd="12" destOrd="0" presId="urn:microsoft.com/office/officeart/2005/8/layout/lProcess2"/>
    <dgm:cxn modelId="{93C01DA0-35BD-4B2D-8CA6-70E0882DD7A3}" type="presParOf" srcId="{A0B8B0F5-B70E-483E-8FD7-0F64F6AC5773}" destId="{579C8623-E94B-40B9-BFCE-55FB5C12FA0D}" srcOrd="0" destOrd="0" presId="urn:microsoft.com/office/officeart/2005/8/layout/lProcess2"/>
    <dgm:cxn modelId="{5F56DABE-60F7-4CD9-B1DB-2EFCA68A951F}" type="presParOf" srcId="{A0B8B0F5-B70E-483E-8FD7-0F64F6AC5773}" destId="{F35FA195-10EB-4CFC-97C4-F059F59E2C0F}" srcOrd="1" destOrd="0" presId="urn:microsoft.com/office/officeart/2005/8/layout/lProcess2"/>
    <dgm:cxn modelId="{7BC53EF0-6783-477D-A085-31E038A5686C}" type="presParOf" srcId="{A0B8B0F5-B70E-483E-8FD7-0F64F6AC5773}" destId="{2F44EAEF-49E3-4528-8B49-11387BFE113E}" srcOrd="2" destOrd="0" presId="urn:microsoft.com/office/officeart/2005/8/layout/lProcess2"/>
    <dgm:cxn modelId="{0B329D6F-1E0A-44A6-9BEE-3211001DA42D}" type="presParOf" srcId="{2F44EAEF-49E3-4528-8B49-11387BFE113E}" destId="{25AA3C69-DD30-4B3F-AD5A-1DC3CF4C02BB}" srcOrd="0" destOrd="0" presId="urn:microsoft.com/office/officeart/2005/8/layout/lProcess2"/>
    <dgm:cxn modelId="{21D9DBC9-A10E-4A22-A279-83EB5B61AA5F}" type="presParOf" srcId="{25AA3C69-DD30-4B3F-AD5A-1DC3CF4C02BB}" destId="{F318119B-EC30-4C13-A8E9-1563D66A8E70}" srcOrd="0" destOrd="0" presId="urn:microsoft.com/office/officeart/2005/8/layout/lProcess2"/>
    <dgm:cxn modelId="{F02402CD-2253-44B9-B2B7-3E6A0AED0497}" type="presParOf" srcId="{25AA3C69-DD30-4B3F-AD5A-1DC3CF4C02BB}" destId="{0F894AA9-3759-44E6-B40B-D40187AF8929}" srcOrd="1" destOrd="0" presId="urn:microsoft.com/office/officeart/2005/8/layout/lProcess2"/>
    <dgm:cxn modelId="{1E163683-62EE-4ED9-8BF1-8E883ED58E43}" type="presParOf" srcId="{25AA3C69-DD30-4B3F-AD5A-1DC3CF4C02BB}" destId="{360B9D8E-7F56-4588-BCF1-3E7B29030453}" srcOrd="2" destOrd="0" presId="urn:microsoft.com/office/officeart/2005/8/layout/lProcess2"/>
    <dgm:cxn modelId="{4C0380C6-BD8F-471B-A961-3979ECD3EDF2}" type="presParOf" srcId="{F428381C-2DB7-4661-9E47-33B79ACEE43D}" destId="{116F1471-B302-4E3F-839F-DF10B57F03E8}" srcOrd="13" destOrd="0" presId="urn:microsoft.com/office/officeart/2005/8/layout/lProcess2"/>
    <dgm:cxn modelId="{65DF5BC4-9016-4325-8457-184F69F92B3B}" type="presParOf" srcId="{F428381C-2DB7-4661-9E47-33B79ACEE43D}" destId="{E9F50DD3-AC5D-49BB-8513-3F5D1FE994C7}" srcOrd="14" destOrd="0" presId="urn:microsoft.com/office/officeart/2005/8/layout/lProcess2"/>
    <dgm:cxn modelId="{283F677A-241A-40AE-AC30-9BD259D61239}" type="presParOf" srcId="{E9F50DD3-AC5D-49BB-8513-3F5D1FE994C7}" destId="{1433F885-24B2-4A72-8AC7-F60EBD487887}" srcOrd="0" destOrd="0" presId="urn:microsoft.com/office/officeart/2005/8/layout/lProcess2"/>
    <dgm:cxn modelId="{2D8F8DC3-09B1-4059-9A7B-A1F4B09ED2BB}" type="presParOf" srcId="{E9F50DD3-AC5D-49BB-8513-3F5D1FE994C7}" destId="{653F4D17-AE8D-4C38-8272-0B38A85A85B1}" srcOrd="1" destOrd="0" presId="urn:microsoft.com/office/officeart/2005/8/layout/lProcess2"/>
    <dgm:cxn modelId="{58286473-73EE-43B8-A149-0B45B50C2B3F}" type="presParOf" srcId="{E9F50DD3-AC5D-49BB-8513-3F5D1FE994C7}" destId="{FBD4F852-5514-4F81-A9DF-C7A0E551A47A}" srcOrd="2" destOrd="0" presId="urn:microsoft.com/office/officeart/2005/8/layout/lProcess2"/>
    <dgm:cxn modelId="{29FA5C63-70EF-4B50-8FAB-A8C1B9AAB633}" type="presParOf" srcId="{FBD4F852-5514-4F81-A9DF-C7A0E551A47A}" destId="{C4A4FA41-2448-4CD3-86E0-0A0AF1AAC983}" srcOrd="0" destOrd="0" presId="urn:microsoft.com/office/officeart/2005/8/layout/lProcess2"/>
    <dgm:cxn modelId="{87EF2EC6-3A5A-4455-919A-69EEF6290029}" type="presParOf" srcId="{C4A4FA41-2448-4CD3-86E0-0A0AF1AAC983}" destId="{683785AB-2FDF-4860-B92B-A2CFA9453F84}" srcOrd="0" destOrd="0" presId="urn:microsoft.com/office/officeart/2005/8/layout/lProcess2"/>
    <dgm:cxn modelId="{B569DF60-ADDE-422B-B5F6-95A55F0C55FB}" type="presParOf" srcId="{C4A4FA41-2448-4CD3-86E0-0A0AF1AAC983}" destId="{CF79C28C-883F-401D-8625-B9E4233A1A18}" srcOrd="1" destOrd="0" presId="urn:microsoft.com/office/officeart/2005/8/layout/lProcess2"/>
    <dgm:cxn modelId="{5B7E63F2-CDEC-4E50-9345-21DD9949CB06}" type="presParOf" srcId="{C4A4FA41-2448-4CD3-86E0-0A0AF1AAC983}" destId="{DD975A78-2718-41B3-971E-A1DE3AEEF2F1}"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98507E7-7B2C-4D0F-BE37-ECDAB798DF95}"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DF010E95-0D5B-4062-A2C1-2DF934ACED84}">
      <dgm:prSet phldrT="[Text]" custT="1"/>
      <dgm:spPr/>
      <dgm:t>
        <a:bodyPr/>
        <a:lstStyle/>
        <a:p>
          <a:r>
            <a:rPr lang="en-US" sz="1200" u="sng">
              <a:latin typeface="Calibri" panose="020F0502020204030204" pitchFamily="34" charset="0"/>
              <a:cs typeface="Calibri" panose="020F0502020204030204" pitchFamily="34" charset="0"/>
            </a:rPr>
            <a:t>Secure Access to Code and Image repository</a:t>
          </a:r>
        </a:p>
      </dgm:t>
    </dgm:pt>
    <dgm:pt modelId="{EF667F4E-74E8-43D7-A022-5D54C189FEDC}" type="parTrans" cxnId="{C953891B-D5E7-411F-98F4-E79B8419623E}">
      <dgm:prSet/>
      <dgm:spPr/>
      <dgm:t>
        <a:bodyPr/>
        <a:lstStyle/>
        <a:p>
          <a:endParaRPr lang="en-US" sz="1200"/>
        </a:p>
      </dgm:t>
    </dgm:pt>
    <dgm:pt modelId="{93EADE0A-8DBC-42C4-99BF-BEE40EAF109B}" type="sibTrans" cxnId="{C953891B-D5E7-411F-98F4-E79B8419623E}">
      <dgm:prSet/>
      <dgm:spPr/>
      <dgm:t>
        <a:bodyPr/>
        <a:lstStyle/>
        <a:p>
          <a:endParaRPr lang="en-US" sz="1200"/>
        </a:p>
      </dgm:t>
    </dgm:pt>
    <dgm:pt modelId="{AB8AF8F4-A175-427C-9352-75EF220107A3}">
      <dgm:prSet phldrT="[Text]" custT="1"/>
      <dgm:spPr/>
      <dgm:t>
        <a:bodyPr/>
        <a:lstStyle/>
        <a:p>
          <a:r>
            <a:rPr lang="en-US" sz="1200" u="sng">
              <a:latin typeface="Calibri" panose="020F0502020204030204" pitchFamily="34" charset="0"/>
              <a:cs typeface="Calibri" panose="020F0502020204030204" pitchFamily="34" charset="0"/>
            </a:rPr>
            <a:t>Secure access to CI service</a:t>
          </a:r>
        </a:p>
      </dgm:t>
    </dgm:pt>
    <dgm:pt modelId="{45B535C6-8EFA-4BC5-BC0A-8D5AC58F1E79}" type="parTrans" cxnId="{85F89C06-19FB-413F-9722-82310209CC47}">
      <dgm:prSet/>
      <dgm:spPr/>
      <dgm:t>
        <a:bodyPr/>
        <a:lstStyle/>
        <a:p>
          <a:endParaRPr lang="en-US" sz="1200"/>
        </a:p>
      </dgm:t>
    </dgm:pt>
    <dgm:pt modelId="{7B1D8411-5DA8-4993-94CC-230A9E4C68C2}" type="sibTrans" cxnId="{85F89C06-19FB-413F-9722-82310209CC47}">
      <dgm:prSet/>
      <dgm:spPr/>
      <dgm:t>
        <a:bodyPr/>
        <a:lstStyle/>
        <a:p>
          <a:endParaRPr lang="en-US" sz="1200"/>
        </a:p>
      </dgm:t>
    </dgm:pt>
    <dgm:pt modelId="{C2A3C877-DFA1-4813-92E0-91895E5CDBF4}">
      <dgm:prSet phldrT="[Text]" custT="1"/>
      <dgm:spPr/>
      <dgm:t>
        <a:bodyPr/>
        <a:lstStyle/>
        <a:p>
          <a:r>
            <a:rPr lang="en-US" sz="1200" u="sng">
              <a:latin typeface="Calibri" panose="020F0502020204030204" pitchFamily="34" charset="0"/>
              <a:cs typeface="Calibri" panose="020F0502020204030204" pitchFamily="34" charset="0"/>
            </a:rPr>
            <a:t>Code Analysis and SCA</a:t>
          </a:r>
        </a:p>
      </dgm:t>
    </dgm:pt>
    <dgm:pt modelId="{73336AEB-DA33-4F19-A37B-7B5B650ED71A}" type="parTrans" cxnId="{C64AA80C-C2DA-4527-851C-0792049A21E5}">
      <dgm:prSet/>
      <dgm:spPr/>
      <dgm:t>
        <a:bodyPr/>
        <a:lstStyle/>
        <a:p>
          <a:endParaRPr lang="en-US" sz="1200"/>
        </a:p>
      </dgm:t>
    </dgm:pt>
    <dgm:pt modelId="{F01457B5-0231-4CD8-950F-99365D08AFDA}" type="sibTrans" cxnId="{C64AA80C-C2DA-4527-851C-0792049A21E5}">
      <dgm:prSet/>
      <dgm:spPr/>
      <dgm:t>
        <a:bodyPr/>
        <a:lstStyle/>
        <a:p>
          <a:endParaRPr lang="en-US" sz="1200"/>
        </a:p>
      </dgm:t>
    </dgm:pt>
    <dgm:pt modelId="{BFDFF7AB-9618-402F-8CCF-88B9E3ABC0FF}">
      <dgm:prSet phldr="0" custT="1"/>
      <dgm:spPr/>
      <dgm:t>
        <a:bodyPr/>
        <a:lstStyle/>
        <a:p>
          <a:pPr rtl="0"/>
          <a:r>
            <a:rPr lang="en-US" sz="1200">
              <a:latin typeface="Calibri" panose="020F0502020204030204" pitchFamily="34" charset="0"/>
              <a:cs typeface="Calibri" panose="020F0502020204030204" pitchFamily="34" charset="0"/>
            </a:rPr>
            <a:t>SCA Automation</a:t>
          </a:r>
        </a:p>
      </dgm:t>
    </dgm:pt>
    <dgm:pt modelId="{0373A459-8F23-4BA2-BFED-561D52BD2A34}" type="parTrans" cxnId="{4BED88B2-8D11-4203-9D7E-FCCD7FB387AE}">
      <dgm:prSet/>
      <dgm:spPr/>
      <dgm:t>
        <a:bodyPr/>
        <a:lstStyle/>
        <a:p>
          <a:endParaRPr lang="en-US" sz="1200"/>
        </a:p>
      </dgm:t>
    </dgm:pt>
    <dgm:pt modelId="{C679C659-2A4B-40A9-9C5D-B9768C2E947C}" type="sibTrans" cxnId="{4BED88B2-8D11-4203-9D7E-FCCD7FB387AE}">
      <dgm:prSet/>
      <dgm:spPr/>
      <dgm:t>
        <a:bodyPr/>
        <a:lstStyle/>
        <a:p>
          <a:endParaRPr lang="en-US" sz="1200"/>
        </a:p>
      </dgm:t>
    </dgm:pt>
    <dgm:pt modelId="{DDD8E90D-459A-4341-8846-6D0616A91527}">
      <dgm:prSet custT="1"/>
      <dgm:spPr/>
      <dgm:t>
        <a:bodyPr/>
        <a:lstStyle/>
        <a:p>
          <a:r>
            <a:rPr lang="en-US" sz="1200" u="sng">
              <a:latin typeface="Calibri" panose="020F0502020204030204" pitchFamily="34" charset="0"/>
              <a:cs typeface="Calibri" panose="020F0502020204030204" pitchFamily="34" charset="0"/>
            </a:rPr>
            <a:t>Composition analysis</a:t>
          </a:r>
          <a:endParaRPr lang="en-US" sz="1200">
            <a:latin typeface="Calibri" panose="020F0502020204030204" pitchFamily="34" charset="0"/>
            <a:cs typeface="Calibri" panose="020F0502020204030204" pitchFamily="34" charset="0"/>
          </a:endParaRPr>
        </a:p>
      </dgm:t>
    </dgm:pt>
    <dgm:pt modelId="{ACE8C1DD-815C-4A3B-B431-B5C12B661E6B}" type="parTrans" cxnId="{0914B12C-7395-49DE-A431-1C7C9C3FABB4}">
      <dgm:prSet/>
      <dgm:spPr/>
      <dgm:t>
        <a:bodyPr/>
        <a:lstStyle/>
        <a:p>
          <a:endParaRPr lang="en-US" sz="1200"/>
        </a:p>
      </dgm:t>
    </dgm:pt>
    <dgm:pt modelId="{1965EC5E-630E-4745-AE10-3E5AEFE47EAA}" type="sibTrans" cxnId="{0914B12C-7395-49DE-A431-1C7C9C3FABB4}">
      <dgm:prSet/>
      <dgm:spPr/>
      <dgm:t>
        <a:bodyPr/>
        <a:lstStyle/>
        <a:p>
          <a:endParaRPr lang="en-US" sz="1200"/>
        </a:p>
      </dgm:t>
    </dgm:pt>
    <dgm:pt modelId="{BE9CD78E-7500-4157-B8F2-BCD52D99FA6D}">
      <dgm:prSet phldr="0" custT="1"/>
      <dgm:spPr/>
      <dgm:t>
        <a:bodyPr/>
        <a:lstStyle/>
        <a:p>
          <a:pPr rtl="0"/>
          <a:r>
            <a:rPr lang="en-US" sz="1200">
              <a:latin typeface="Calibri"/>
              <a:cs typeface="Calibri"/>
            </a:rPr>
            <a:t>test environment  isolation from production subscription</a:t>
          </a:r>
        </a:p>
      </dgm:t>
    </dgm:pt>
    <dgm:pt modelId="{48F3E0E1-A103-4842-9163-4F34CE696F96}" type="parTrans" cxnId="{CE967D63-FB09-4E18-A863-91681EFE0427}">
      <dgm:prSet/>
      <dgm:spPr/>
      <dgm:t>
        <a:bodyPr/>
        <a:lstStyle/>
        <a:p>
          <a:endParaRPr lang="en-US" sz="1200"/>
        </a:p>
      </dgm:t>
    </dgm:pt>
    <dgm:pt modelId="{C5010267-E6A1-424E-83F4-D5147CB439F7}" type="sibTrans" cxnId="{CE967D63-FB09-4E18-A863-91681EFE0427}">
      <dgm:prSet/>
      <dgm:spPr/>
      <dgm:t>
        <a:bodyPr/>
        <a:lstStyle/>
        <a:p>
          <a:endParaRPr lang="en-US" sz="1200"/>
        </a:p>
      </dgm:t>
    </dgm:pt>
    <dgm:pt modelId="{6D76FC4D-448B-4648-9349-46C30885EEAB}">
      <dgm:prSet custT="1"/>
      <dgm:spPr/>
      <dgm:t>
        <a:bodyPr/>
        <a:lstStyle/>
        <a:p>
          <a:r>
            <a:rPr lang="en-US" sz="1200" u="sng">
              <a:latin typeface="Calibri" panose="020F0502020204030204" pitchFamily="34" charset="0"/>
              <a:cs typeface="Calibri" panose="020F0502020204030204" pitchFamily="34" charset="0"/>
            </a:rPr>
            <a:t>Deploys to Test</a:t>
          </a:r>
        </a:p>
      </dgm:t>
    </dgm:pt>
    <dgm:pt modelId="{A41A9EB9-5F5E-42FC-BBE1-AF8308C00597}" type="parTrans" cxnId="{6962AA28-3C6E-4034-978B-D6301B880220}">
      <dgm:prSet/>
      <dgm:spPr/>
      <dgm:t>
        <a:bodyPr/>
        <a:lstStyle/>
        <a:p>
          <a:endParaRPr lang="en-US" sz="1200"/>
        </a:p>
      </dgm:t>
    </dgm:pt>
    <dgm:pt modelId="{4FCA4F2A-D4BA-4FBA-8EB5-01884F87F011}" type="sibTrans" cxnId="{6962AA28-3C6E-4034-978B-D6301B880220}">
      <dgm:prSet/>
      <dgm:spPr/>
      <dgm:t>
        <a:bodyPr/>
        <a:lstStyle/>
        <a:p>
          <a:endParaRPr lang="en-US" sz="1200"/>
        </a:p>
      </dgm:t>
    </dgm:pt>
    <dgm:pt modelId="{E43E70E9-2FE7-4CAE-9227-AD881EE5407E}">
      <dgm:prSet custT="1"/>
      <dgm:spPr/>
      <dgm:t>
        <a:bodyPr/>
        <a:lstStyle/>
        <a:p>
          <a:r>
            <a:rPr lang="en-US" sz="1200" u="sng">
              <a:latin typeface="Calibri" panose="020F0502020204030204" pitchFamily="34" charset="0"/>
              <a:cs typeface="Calibri" panose="020F0502020204030204" pitchFamily="34" charset="0"/>
            </a:rPr>
            <a:t>Image Assurance</a:t>
          </a:r>
        </a:p>
      </dgm:t>
    </dgm:pt>
    <dgm:pt modelId="{4ED7FF11-80A6-4368-8A0E-77D04C9C8C19}" type="parTrans" cxnId="{982919A9-0E8C-4DC3-A5AF-FF4D628E10AC}">
      <dgm:prSet/>
      <dgm:spPr/>
      <dgm:t>
        <a:bodyPr/>
        <a:lstStyle/>
        <a:p>
          <a:endParaRPr lang="en-US" sz="1200"/>
        </a:p>
      </dgm:t>
    </dgm:pt>
    <dgm:pt modelId="{0FB66B94-F10A-42F0-98E0-A95D5F14D9FF}" type="sibTrans" cxnId="{982919A9-0E8C-4DC3-A5AF-FF4D628E10AC}">
      <dgm:prSet/>
      <dgm:spPr/>
      <dgm:t>
        <a:bodyPr/>
        <a:lstStyle/>
        <a:p>
          <a:endParaRPr lang="en-US" sz="1200"/>
        </a:p>
      </dgm:t>
    </dgm:pt>
    <dgm:pt modelId="{C29C87E2-9770-4014-B456-ECBA4D348CFF}">
      <dgm:prSet custT="1"/>
      <dgm:spPr/>
      <dgm:t>
        <a:bodyPr/>
        <a:lstStyle/>
        <a:p>
          <a:pPr rtl="0"/>
          <a:r>
            <a:rPr lang="en-US" sz="1200">
              <a:latin typeface="Calibri"/>
              <a:cs typeface="Calibri"/>
            </a:rPr>
            <a:t>certify OS images for vulnerability using vulnerability data feeds</a:t>
          </a:r>
        </a:p>
      </dgm:t>
    </dgm:pt>
    <dgm:pt modelId="{2CA9BCF9-24FA-4F23-BD00-81DDB7558942}" type="parTrans" cxnId="{55D75C99-96CE-4F44-BC7D-A2D2AF2C8E15}">
      <dgm:prSet/>
      <dgm:spPr/>
      <dgm:t>
        <a:bodyPr/>
        <a:lstStyle/>
        <a:p>
          <a:endParaRPr lang="en-US" sz="1200"/>
        </a:p>
      </dgm:t>
    </dgm:pt>
    <dgm:pt modelId="{6D07C3F4-D0DE-4492-AFCA-8B7018D7B3A6}" type="sibTrans" cxnId="{55D75C99-96CE-4F44-BC7D-A2D2AF2C8E15}">
      <dgm:prSet/>
      <dgm:spPr/>
      <dgm:t>
        <a:bodyPr/>
        <a:lstStyle/>
        <a:p>
          <a:endParaRPr lang="en-US" sz="1200"/>
        </a:p>
      </dgm:t>
    </dgm:pt>
    <dgm:pt modelId="{E9744856-B20B-4BAC-A072-ABE02AF34D80}">
      <dgm:prSet phldrT="[Text]" custT="1"/>
      <dgm:spPr/>
      <dgm:t>
        <a:bodyPr/>
        <a:lstStyle/>
        <a:p>
          <a:r>
            <a:rPr lang="en-US" sz="1200">
              <a:latin typeface="Calibri"/>
              <a:cs typeface="Calibri"/>
            </a:rPr>
            <a:t>Multifactor Git Authentication</a:t>
          </a:r>
          <a:endParaRPr lang="en-US" sz="1200" u="sng">
            <a:latin typeface="Calibri"/>
            <a:cs typeface="Calibri"/>
          </a:endParaRPr>
        </a:p>
      </dgm:t>
    </dgm:pt>
    <dgm:pt modelId="{721AA1EC-BA02-4A7D-A825-D77170442B54}" type="parTrans" cxnId="{B28203E5-CF01-44D1-9824-489399CDCA10}">
      <dgm:prSet/>
      <dgm:spPr/>
      <dgm:t>
        <a:bodyPr/>
        <a:lstStyle/>
        <a:p>
          <a:endParaRPr lang="en-US"/>
        </a:p>
      </dgm:t>
    </dgm:pt>
    <dgm:pt modelId="{45F64080-FE3F-44EB-8F5F-5BA1317FE2E6}" type="sibTrans" cxnId="{B28203E5-CF01-44D1-9824-489399CDCA10}">
      <dgm:prSet/>
      <dgm:spPr/>
      <dgm:t>
        <a:bodyPr/>
        <a:lstStyle/>
        <a:p>
          <a:endParaRPr lang="en-US"/>
        </a:p>
      </dgm:t>
    </dgm:pt>
    <dgm:pt modelId="{0C1ED120-4C6D-48D4-944A-9A8031E7734C}">
      <dgm:prSet custT="1"/>
      <dgm:spPr/>
      <dgm:t>
        <a:bodyPr/>
        <a:lstStyle/>
        <a:p>
          <a:r>
            <a:rPr lang="en-US" sz="1200">
              <a:latin typeface="Calibri"/>
              <a:cs typeface="Calibri"/>
            </a:rPr>
            <a:t>Integration with SSO</a:t>
          </a:r>
        </a:p>
      </dgm:t>
    </dgm:pt>
    <dgm:pt modelId="{86DD7F46-F77A-44C9-9978-C4D9CFC824F5}" type="parTrans" cxnId="{F613E07A-008D-4490-A8E5-0733F915DB53}">
      <dgm:prSet/>
      <dgm:spPr/>
      <dgm:t>
        <a:bodyPr/>
        <a:lstStyle/>
        <a:p>
          <a:endParaRPr lang="en-US"/>
        </a:p>
      </dgm:t>
    </dgm:pt>
    <dgm:pt modelId="{EF621D3C-E1F2-4FA5-971C-3CB748BFD3E6}" type="sibTrans" cxnId="{F613E07A-008D-4490-A8E5-0733F915DB53}">
      <dgm:prSet/>
      <dgm:spPr/>
      <dgm:t>
        <a:bodyPr/>
        <a:lstStyle/>
        <a:p>
          <a:endParaRPr lang="en-US"/>
        </a:p>
      </dgm:t>
    </dgm:pt>
    <dgm:pt modelId="{F982DFA9-4F5F-4B63-93AC-A3956612542B}">
      <dgm:prSet custT="1"/>
      <dgm:spPr/>
      <dgm:t>
        <a:bodyPr/>
        <a:lstStyle/>
        <a:p>
          <a:r>
            <a:rPr lang="en-US" sz="1200">
              <a:latin typeface="Calibri"/>
              <a:cs typeface="Calibri"/>
            </a:rPr>
            <a:t>Fine grained Repository Role Based Access Control</a:t>
          </a:r>
        </a:p>
      </dgm:t>
    </dgm:pt>
    <dgm:pt modelId="{CF869BD8-2127-4919-B2E2-9268E59A7A18}" type="parTrans" cxnId="{2325F54E-1144-43D8-A410-09CE3AE9F997}">
      <dgm:prSet/>
      <dgm:spPr/>
      <dgm:t>
        <a:bodyPr/>
        <a:lstStyle/>
        <a:p>
          <a:endParaRPr lang="en-US"/>
        </a:p>
      </dgm:t>
    </dgm:pt>
    <dgm:pt modelId="{E7B9F3A5-9AC4-4190-AC2B-C82B0B19A399}" type="sibTrans" cxnId="{2325F54E-1144-43D8-A410-09CE3AE9F997}">
      <dgm:prSet/>
      <dgm:spPr/>
      <dgm:t>
        <a:bodyPr/>
        <a:lstStyle/>
        <a:p>
          <a:endParaRPr lang="en-US"/>
        </a:p>
      </dgm:t>
    </dgm:pt>
    <dgm:pt modelId="{E55CBF97-FCE2-4983-9030-480AE9B7DA29}">
      <dgm:prSet custT="1"/>
      <dgm:spPr/>
      <dgm:t>
        <a:bodyPr/>
        <a:lstStyle/>
        <a:p>
          <a:r>
            <a:rPr lang="en-US" sz="1200">
              <a:latin typeface="Calibri"/>
              <a:cs typeface="Calibri"/>
            </a:rPr>
            <a:t>Automated Secrets/config scanning</a:t>
          </a:r>
        </a:p>
      </dgm:t>
    </dgm:pt>
    <dgm:pt modelId="{CEBD07DA-4AED-4393-B122-9DEC18E7FE28}" type="parTrans" cxnId="{DC04EE93-FFBC-4D2F-95D9-11DAB916DB77}">
      <dgm:prSet/>
      <dgm:spPr/>
      <dgm:t>
        <a:bodyPr/>
        <a:lstStyle/>
        <a:p>
          <a:endParaRPr lang="en-US"/>
        </a:p>
      </dgm:t>
    </dgm:pt>
    <dgm:pt modelId="{2C900016-3E60-428A-A860-75BE2FB6C04F}" type="sibTrans" cxnId="{DC04EE93-FFBC-4D2F-95D9-11DAB916DB77}">
      <dgm:prSet/>
      <dgm:spPr/>
      <dgm:t>
        <a:bodyPr/>
        <a:lstStyle/>
        <a:p>
          <a:endParaRPr lang="en-US"/>
        </a:p>
      </dgm:t>
    </dgm:pt>
    <dgm:pt modelId="{C7D54A15-D126-4BBE-8786-58CA210F9BE4}">
      <dgm:prSet custT="1"/>
      <dgm:spPr/>
      <dgm:t>
        <a:bodyPr/>
        <a:lstStyle/>
        <a:p>
          <a:r>
            <a:rPr lang="en-US" sz="1200">
              <a:latin typeface="Calibri" panose="020F0502020204030204" pitchFamily="34" charset="0"/>
              <a:cs typeface="Calibri" panose="020F0502020204030204" pitchFamily="34" charset="0"/>
            </a:rPr>
            <a:t>JIT access to cloud resources</a:t>
          </a:r>
        </a:p>
      </dgm:t>
    </dgm:pt>
    <dgm:pt modelId="{9351A986-CF96-48C7-AEB0-656E1C1CE87E}" type="parTrans" cxnId="{9A9223E4-B93D-4A88-9338-103D273500BD}">
      <dgm:prSet/>
      <dgm:spPr/>
      <dgm:t>
        <a:bodyPr/>
        <a:lstStyle/>
        <a:p>
          <a:endParaRPr lang="en-US"/>
        </a:p>
      </dgm:t>
    </dgm:pt>
    <dgm:pt modelId="{BDBF67D8-8420-4E6E-95E0-35367FB56282}" type="sibTrans" cxnId="{9A9223E4-B93D-4A88-9338-103D273500BD}">
      <dgm:prSet/>
      <dgm:spPr/>
      <dgm:t>
        <a:bodyPr/>
        <a:lstStyle/>
        <a:p>
          <a:endParaRPr lang="en-US"/>
        </a:p>
      </dgm:t>
    </dgm:pt>
    <dgm:pt modelId="{6D2DFA6A-E943-4334-B25E-C35BCAECF15B}">
      <dgm:prSet custT="1"/>
      <dgm:spPr/>
      <dgm:t>
        <a:bodyPr/>
        <a:lstStyle/>
        <a:p>
          <a:r>
            <a:rPr lang="en-US" sz="1200">
              <a:latin typeface="Calibri" panose="020F0502020204030204" pitchFamily="34" charset="0"/>
              <a:cs typeface="Calibri" panose="020F0502020204030204" pitchFamily="34" charset="0"/>
            </a:rPr>
            <a:t>SSH keys and Personal Access Tokens Rotation</a:t>
          </a:r>
        </a:p>
      </dgm:t>
    </dgm:pt>
    <dgm:pt modelId="{2DF6DBCE-A275-4941-A55A-54CB77E1BB19}" type="parTrans" cxnId="{6E1EE74B-F2A5-42AE-9AD7-D20D1C1C8677}">
      <dgm:prSet/>
      <dgm:spPr/>
      <dgm:t>
        <a:bodyPr/>
        <a:lstStyle/>
        <a:p>
          <a:endParaRPr lang="en-US"/>
        </a:p>
      </dgm:t>
    </dgm:pt>
    <dgm:pt modelId="{D887F2E5-A541-4EA6-AF32-1D6E4C7F85F9}" type="sibTrans" cxnId="{6E1EE74B-F2A5-42AE-9AD7-D20D1C1C8677}">
      <dgm:prSet/>
      <dgm:spPr/>
      <dgm:t>
        <a:bodyPr/>
        <a:lstStyle/>
        <a:p>
          <a:endParaRPr lang="en-US"/>
        </a:p>
      </dgm:t>
    </dgm:pt>
    <dgm:pt modelId="{D7A1D618-CDF4-421C-B109-4C0B0C3DBE3D}">
      <dgm:prSet custT="1"/>
      <dgm:spPr/>
      <dgm:t>
        <a:bodyPr/>
        <a:lstStyle/>
        <a:p>
          <a:r>
            <a:rPr lang="en-US" sz="1200">
              <a:latin typeface="Calibri"/>
              <a:cs typeface="Calibri"/>
            </a:rPr>
            <a:t>pre-commit security hooks integration</a:t>
          </a:r>
        </a:p>
      </dgm:t>
    </dgm:pt>
    <dgm:pt modelId="{0030FD0D-57F7-46A6-BD32-216029D288F8}" type="parTrans" cxnId="{E7E46BA2-3B13-44AF-BB15-CFA5D7C77116}">
      <dgm:prSet/>
      <dgm:spPr/>
      <dgm:t>
        <a:bodyPr/>
        <a:lstStyle/>
        <a:p>
          <a:endParaRPr lang="en-US"/>
        </a:p>
      </dgm:t>
    </dgm:pt>
    <dgm:pt modelId="{0B58820E-3E1F-446D-B0CA-907747FE14DB}" type="sibTrans" cxnId="{E7E46BA2-3B13-44AF-BB15-CFA5D7C77116}">
      <dgm:prSet/>
      <dgm:spPr/>
      <dgm:t>
        <a:bodyPr/>
        <a:lstStyle/>
        <a:p>
          <a:endParaRPr lang="en-US"/>
        </a:p>
      </dgm:t>
    </dgm:pt>
    <dgm:pt modelId="{65EC7BE9-19E0-423E-A924-0583E094ED96}">
      <dgm:prSet phldr="0" custT="1"/>
      <dgm:spPr/>
      <dgm:t>
        <a:bodyPr/>
        <a:lstStyle/>
        <a:p>
          <a:r>
            <a:rPr lang="en-US" sz="1200">
              <a:latin typeface="Calibri"/>
              <a:cs typeface="Calibri"/>
            </a:rPr>
            <a:t>Integration with organization Active Directory / Enable Single Sign on</a:t>
          </a:r>
          <a:endParaRPr lang="en-US" sz="1200" u="sng">
            <a:latin typeface="Calibri"/>
            <a:cs typeface="Calibri"/>
          </a:endParaRPr>
        </a:p>
      </dgm:t>
    </dgm:pt>
    <dgm:pt modelId="{9C233B30-7128-4572-A53E-05F7AFB9B1C2}" type="parTrans" cxnId="{F2DC85D5-F160-4329-B98E-CC807721E138}">
      <dgm:prSet/>
      <dgm:spPr/>
      <dgm:t>
        <a:bodyPr/>
        <a:lstStyle/>
        <a:p>
          <a:endParaRPr lang="en-US"/>
        </a:p>
      </dgm:t>
    </dgm:pt>
    <dgm:pt modelId="{812311ED-45F7-4D5D-9726-B54FF1469224}" type="sibTrans" cxnId="{F2DC85D5-F160-4329-B98E-CC807721E138}">
      <dgm:prSet/>
      <dgm:spPr/>
      <dgm:t>
        <a:bodyPr/>
        <a:lstStyle/>
        <a:p>
          <a:endParaRPr lang="en-US"/>
        </a:p>
      </dgm:t>
    </dgm:pt>
    <dgm:pt modelId="{8394E725-D0F3-4A9A-B6F8-A4E33F2F816C}">
      <dgm:prSet phldr="0" custT="1"/>
      <dgm:spPr/>
      <dgm:t>
        <a:bodyPr/>
        <a:lstStyle/>
        <a:p>
          <a:r>
            <a:rPr lang="en-US" sz="1200">
              <a:latin typeface="Calibri" panose="020F0502020204030204" pitchFamily="34" charset="0"/>
              <a:cs typeface="Calibri" panose="020F0502020204030204" pitchFamily="34" charset="0"/>
            </a:rPr>
            <a:t>POLP for user RBAC </a:t>
          </a:r>
        </a:p>
      </dgm:t>
    </dgm:pt>
    <dgm:pt modelId="{C9A6D9CB-9A5A-4366-930D-814D8CD9BECC}" type="parTrans" cxnId="{2703FE95-A485-41DF-A732-4F3D1A0C7E42}">
      <dgm:prSet/>
      <dgm:spPr/>
      <dgm:t>
        <a:bodyPr/>
        <a:lstStyle/>
        <a:p>
          <a:endParaRPr lang="en-US"/>
        </a:p>
      </dgm:t>
    </dgm:pt>
    <dgm:pt modelId="{407AB1BC-843D-4F73-AF56-6CB53044B788}" type="sibTrans" cxnId="{2703FE95-A485-41DF-A732-4F3D1A0C7E42}">
      <dgm:prSet/>
      <dgm:spPr/>
      <dgm:t>
        <a:bodyPr/>
        <a:lstStyle/>
        <a:p>
          <a:endParaRPr lang="en-US"/>
        </a:p>
      </dgm:t>
    </dgm:pt>
    <dgm:pt modelId="{2637DA24-0ABA-412E-A8B6-88F9E6A61CD5}">
      <dgm:prSet phldr="0" custT="1"/>
      <dgm:spPr/>
      <dgm:t>
        <a:bodyPr/>
        <a:lstStyle/>
        <a:p>
          <a:r>
            <a:rPr lang="en-US" sz="1200">
              <a:latin typeface="Calibri"/>
              <a:cs typeface="Calibri"/>
            </a:rPr>
            <a:t>fine-grained permissions for build pipelines tasks</a:t>
          </a:r>
        </a:p>
      </dgm:t>
    </dgm:pt>
    <dgm:pt modelId="{8C865E3C-6499-480F-9190-58654D2CBBCC}" type="parTrans" cxnId="{4B6E7D0D-EEB7-407E-A4D3-B04CC95C4211}">
      <dgm:prSet/>
      <dgm:spPr/>
      <dgm:t>
        <a:bodyPr/>
        <a:lstStyle/>
        <a:p>
          <a:endParaRPr lang="en-US"/>
        </a:p>
      </dgm:t>
    </dgm:pt>
    <dgm:pt modelId="{466F6134-28DA-4505-835C-32A6A1F30745}" type="sibTrans" cxnId="{4B6E7D0D-EEB7-407E-A4D3-B04CC95C4211}">
      <dgm:prSet/>
      <dgm:spPr/>
      <dgm:t>
        <a:bodyPr/>
        <a:lstStyle/>
        <a:p>
          <a:endParaRPr lang="en-US"/>
        </a:p>
      </dgm:t>
    </dgm:pt>
    <dgm:pt modelId="{45FA89C9-3ADD-4DA5-A5BC-30F352739E7B}">
      <dgm:prSet phldr="0" custT="1"/>
      <dgm:spPr/>
      <dgm:t>
        <a:bodyPr/>
        <a:lstStyle/>
        <a:p>
          <a:pPr rtl="0"/>
          <a:r>
            <a:rPr lang="en-US" sz="1200">
              <a:latin typeface="Calibri" panose="020F0502020204030204" pitchFamily="34" charset="0"/>
              <a:cs typeface="Calibri" panose="020F0502020204030204" pitchFamily="34" charset="0"/>
            </a:rPr>
            <a:t> CI environment hardening</a:t>
          </a:r>
        </a:p>
      </dgm:t>
    </dgm:pt>
    <dgm:pt modelId="{93A06499-987E-4710-B4C2-24550854F22A}" type="parTrans" cxnId="{6B3250B8-0F5A-445E-9A9B-989A707F9749}">
      <dgm:prSet/>
      <dgm:spPr/>
      <dgm:t>
        <a:bodyPr/>
        <a:lstStyle/>
        <a:p>
          <a:endParaRPr lang="en-US"/>
        </a:p>
      </dgm:t>
    </dgm:pt>
    <dgm:pt modelId="{400ED1E9-BF56-4084-ACE0-816316DF7EF5}" type="sibTrans" cxnId="{6B3250B8-0F5A-445E-9A9B-989A707F9749}">
      <dgm:prSet/>
      <dgm:spPr/>
      <dgm:t>
        <a:bodyPr/>
        <a:lstStyle/>
        <a:p>
          <a:endParaRPr lang="en-US"/>
        </a:p>
      </dgm:t>
    </dgm:pt>
    <dgm:pt modelId="{A08A0C98-39C0-46A4-813A-0E406608390D}">
      <dgm:prSet phldr="0" custT="1"/>
      <dgm:spPr/>
      <dgm:t>
        <a:bodyPr/>
        <a:lstStyle/>
        <a:p>
          <a:r>
            <a:rPr lang="en-US" sz="1200">
              <a:latin typeface="Calibri"/>
              <a:cs typeface="Calibri"/>
            </a:rPr>
            <a:t>Automated CI Patch management</a:t>
          </a:r>
        </a:p>
      </dgm:t>
    </dgm:pt>
    <dgm:pt modelId="{FC23EC2E-8ED3-4329-B17F-08382B34D898}" type="parTrans" cxnId="{574E78EE-966B-4BFF-8FEA-909F84A1C462}">
      <dgm:prSet/>
      <dgm:spPr/>
      <dgm:t>
        <a:bodyPr/>
        <a:lstStyle/>
        <a:p>
          <a:endParaRPr lang="en-US"/>
        </a:p>
      </dgm:t>
    </dgm:pt>
    <dgm:pt modelId="{3D2CBA27-B15A-421E-AB35-D3FC20318481}" type="sibTrans" cxnId="{574E78EE-966B-4BFF-8FEA-909F84A1C462}">
      <dgm:prSet/>
      <dgm:spPr/>
      <dgm:t>
        <a:bodyPr/>
        <a:lstStyle/>
        <a:p>
          <a:endParaRPr lang="en-US"/>
        </a:p>
      </dgm:t>
    </dgm:pt>
    <dgm:pt modelId="{40898C3A-56E9-43DB-81CD-A82B75534AFE}">
      <dgm:prSet phldr="0" custT="1"/>
      <dgm:spPr/>
      <dgm:t>
        <a:bodyPr/>
        <a:lstStyle/>
        <a:p>
          <a:pPr rtl="0"/>
          <a:r>
            <a:rPr lang="en-US" sz="1200">
              <a:latin typeface="Calibri"/>
              <a:cs typeface="Calibri"/>
            </a:rPr>
            <a:t>unsafe environment variable values Filtering</a:t>
          </a:r>
        </a:p>
      </dgm:t>
    </dgm:pt>
    <dgm:pt modelId="{566F1834-C32A-446E-AE55-82105981593A}" type="parTrans" cxnId="{2530AFC5-CFAC-4F73-946E-2C81FAEFD571}">
      <dgm:prSet/>
      <dgm:spPr/>
      <dgm:t>
        <a:bodyPr/>
        <a:lstStyle/>
        <a:p>
          <a:endParaRPr lang="en-US"/>
        </a:p>
      </dgm:t>
    </dgm:pt>
    <dgm:pt modelId="{D97ED690-C4BB-4DAE-BE51-8266329E56AE}" type="sibTrans" cxnId="{2530AFC5-CFAC-4F73-946E-2C81FAEFD571}">
      <dgm:prSet/>
      <dgm:spPr/>
      <dgm:t>
        <a:bodyPr/>
        <a:lstStyle/>
        <a:p>
          <a:endParaRPr lang="en-US"/>
        </a:p>
      </dgm:t>
    </dgm:pt>
    <dgm:pt modelId="{FA6145DF-5F8E-4F14-8CD0-B50AE0023A3F}">
      <dgm:prSet phldr="0" custT="1"/>
      <dgm:spPr/>
      <dgm:t>
        <a:bodyPr/>
        <a:lstStyle/>
        <a:p>
          <a:r>
            <a:rPr lang="en-US" sz="1200">
              <a:latin typeface="Calibri"/>
              <a:cs typeface="Calibri"/>
            </a:rPr>
            <a:t>fine-grained permissions control on Agents</a:t>
          </a:r>
        </a:p>
      </dgm:t>
    </dgm:pt>
    <dgm:pt modelId="{18ADD9D8-B913-44ED-AAB2-EAE98C54B285}" type="parTrans" cxnId="{BAA53500-5A0B-4241-9A1E-3D0222DF03B2}">
      <dgm:prSet/>
      <dgm:spPr/>
      <dgm:t>
        <a:bodyPr/>
        <a:lstStyle/>
        <a:p>
          <a:endParaRPr lang="en-US"/>
        </a:p>
      </dgm:t>
    </dgm:pt>
    <dgm:pt modelId="{64588586-72D3-4484-8EAD-4BC13EDB8749}" type="sibTrans" cxnId="{BAA53500-5A0B-4241-9A1E-3D0222DF03B2}">
      <dgm:prSet/>
      <dgm:spPr/>
      <dgm:t>
        <a:bodyPr/>
        <a:lstStyle/>
        <a:p>
          <a:endParaRPr lang="en-US"/>
        </a:p>
      </dgm:t>
    </dgm:pt>
    <dgm:pt modelId="{854FA24E-9EF9-4DFB-AB80-0C4807F5D375}">
      <dgm:prSet phldr="0" custT="1"/>
      <dgm:spPr/>
      <dgm:t>
        <a:bodyPr/>
        <a:lstStyle/>
        <a:p>
          <a:r>
            <a:rPr lang="en-US" sz="1200">
              <a:latin typeface="Calibri" panose="020F0502020204030204" pitchFamily="34" charset="0"/>
              <a:cs typeface="Calibri" panose="020F0502020204030204" pitchFamily="34" charset="0"/>
            </a:rPr>
            <a:t>OWASP Dependency-Check plugin for publishing results</a:t>
          </a:r>
        </a:p>
      </dgm:t>
    </dgm:pt>
    <dgm:pt modelId="{9A6F09A3-84C3-4275-9CCA-7C55A5C723FF}" type="parTrans" cxnId="{AEEEBB41-67F2-4AEC-92CF-72A9A2F422CE}">
      <dgm:prSet/>
      <dgm:spPr/>
      <dgm:t>
        <a:bodyPr/>
        <a:lstStyle/>
        <a:p>
          <a:endParaRPr lang="en-US"/>
        </a:p>
      </dgm:t>
    </dgm:pt>
    <dgm:pt modelId="{0BF48A28-B816-4C1F-98D8-C2B66A72E646}" type="sibTrans" cxnId="{AEEEBB41-67F2-4AEC-92CF-72A9A2F422CE}">
      <dgm:prSet/>
      <dgm:spPr/>
      <dgm:t>
        <a:bodyPr/>
        <a:lstStyle/>
        <a:p>
          <a:endParaRPr lang="en-US"/>
        </a:p>
      </dgm:t>
    </dgm:pt>
    <dgm:pt modelId="{97279BED-04D2-4316-A0C3-EC227A5A9C3E}">
      <dgm:prSet phldr="0" custT="1"/>
      <dgm:spPr/>
      <dgm:t>
        <a:bodyPr/>
        <a:lstStyle/>
        <a:p>
          <a:pPr rtl="0"/>
          <a:r>
            <a:rPr lang="en-US" sz="1200">
              <a:latin typeface="Calibri" panose="020F0502020204030204" pitchFamily="34" charset="0"/>
              <a:cs typeface="Calibri" panose="020F0502020204030204" pitchFamily="34" charset="0"/>
            </a:rPr>
            <a:t>SCA Automation</a:t>
          </a:r>
        </a:p>
      </dgm:t>
    </dgm:pt>
    <dgm:pt modelId="{79567310-39E0-444D-92F8-5A4C73770BA4}" type="parTrans" cxnId="{BECF56CF-1B8E-4E03-8DDB-E1C9E2CCF1BA}">
      <dgm:prSet/>
      <dgm:spPr/>
      <dgm:t>
        <a:bodyPr/>
        <a:lstStyle/>
        <a:p>
          <a:endParaRPr lang="en-US"/>
        </a:p>
      </dgm:t>
    </dgm:pt>
    <dgm:pt modelId="{2FD78400-C6E9-4D68-AB25-85F5564B2C08}" type="sibTrans" cxnId="{BECF56CF-1B8E-4E03-8DDB-E1C9E2CCF1BA}">
      <dgm:prSet/>
      <dgm:spPr/>
      <dgm:t>
        <a:bodyPr/>
        <a:lstStyle/>
        <a:p>
          <a:endParaRPr lang="en-US"/>
        </a:p>
      </dgm:t>
    </dgm:pt>
    <dgm:pt modelId="{9D88D04D-859C-4EF4-84A6-B69A1E8E72CF}">
      <dgm:prSet phldr="0" custT="1"/>
      <dgm:spPr/>
      <dgm:t>
        <a:bodyPr/>
        <a:lstStyle/>
        <a:p>
          <a:r>
            <a:rPr lang="en-US" sz="1200">
              <a:latin typeface="Calibri" panose="020F0502020204030204" pitchFamily="34" charset="0"/>
              <a:cs typeface="Calibri" panose="020F0502020204030204" pitchFamily="34" charset="0"/>
            </a:rPr>
            <a:t>OWASP Dependency-Check plugin for publishing results</a:t>
          </a:r>
        </a:p>
      </dgm:t>
    </dgm:pt>
    <dgm:pt modelId="{73121FB1-74FD-4F8B-A901-77EE7AEEDF13}" type="parTrans" cxnId="{9A925CCF-D2CC-476F-B851-B3EDA6571EE1}">
      <dgm:prSet/>
      <dgm:spPr/>
      <dgm:t>
        <a:bodyPr/>
        <a:lstStyle/>
        <a:p>
          <a:endParaRPr lang="en-US"/>
        </a:p>
      </dgm:t>
    </dgm:pt>
    <dgm:pt modelId="{0F28F2AA-0D0A-4314-A6F0-622E176E6ADF}" type="sibTrans" cxnId="{9A925CCF-D2CC-476F-B851-B3EDA6571EE1}">
      <dgm:prSet/>
      <dgm:spPr/>
      <dgm:t>
        <a:bodyPr/>
        <a:lstStyle/>
        <a:p>
          <a:endParaRPr lang="en-US"/>
        </a:p>
      </dgm:t>
    </dgm:pt>
    <dgm:pt modelId="{D3899AF3-E548-4C64-AD57-14B7094CD586}">
      <dgm:prSet phldr="0" custT="1"/>
      <dgm:spPr/>
      <dgm:t>
        <a:bodyPr/>
        <a:lstStyle/>
        <a:p>
          <a:r>
            <a:rPr lang="en-US" sz="1200">
              <a:latin typeface="Calibri"/>
              <a:cs typeface="Calibri"/>
            </a:rPr>
            <a:t>Strict perimeter security</a:t>
          </a:r>
        </a:p>
      </dgm:t>
    </dgm:pt>
    <dgm:pt modelId="{929A446F-5317-4E71-B64F-CC7413D54FBC}" type="parTrans" cxnId="{14CD4FF8-9DFB-430D-9C53-32526EA0B8E3}">
      <dgm:prSet/>
      <dgm:spPr/>
      <dgm:t>
        <a:bodyPr/>
        <a:lstStyle/>
        <a:p>
          <a:endParaRPr lang="en-US"/>
        </a:p>
      </dgm:t>
    </dgm:pt>
    <dgm:pt modelId="{6099827A-AE35-4B50-AC34-FDD887CD5B29}" type="sibTrans" cxnId="{14CD4FF8-9DFB-430D-9C53-32526EA0B8E3}">
      <dgm:prSet/>
      <dgm:spPr/>
      <dgm:t>
        <a:bodyPr/>
        <a:lstStyle/>
        <a:p>
          <a:endParaRPr lang="en-US"/>
        </a:p>
      </dgm:t>
    </dgm:pt>
    <dgm:pt modelId="{E09D3C56-5545-4BB7-8E7E-EDD07E3F0BB7}">
      <dgm:prSet phldr="0" custT="1"/>
      <dgm:spPr/>
      <dgm:t>
        <a:bodyPr/>
        <a:lstStyle/>
        <a:p>
          <a:r>
            <a:rPr lang="en-US" sz="1200">
              <a:latin typeface="Calibri"/>
              <a:cs typeface="Calibri"/>
            </a:rPr>
            <a:t>Identical to Prod Setup</a:t>
          </a:r>
        </a:p>
      </dgm:t>
    </dgm:pt>
    <dgm:pt modelId="{7002A040-5489-4B30-9128-F0C825668D3F}" type="parTrans" cxnId="{ADE30FEC-7A99-4A01-8286-03B0215CDD4A}">
      <dgm:prSet/>
      <dgm:spPr/>
      <dgm:t>
        <a:bodyPr/>
        <a:lstStyle/>
        <a:p>
          <a:endParaRPr lang="en-US"/>
        </a:p>
      </dgm:t>
    </dgm:pt>
    <dgm:pt modelId="{BA6EA68A-6FCF-4074-A06D-ECDD93092BFC}" type="sibTrans" cxnId="{ADE30FEC-7A99-4A01-8286-03B0215CDD4A}">
      <dgm:prSet/>
      <dgm:spPr/>
      <dgm:t>
        <a:bodyPr/>
        <a:lstStyle/>
        <a:p>
          <a:endParaRPr lang="en-US"/>
        </a:p>
      </dgm:t>
    </dgm:pt>
    <dgm:pt modelId="{5E8EB34A-B778-48BD-9078-99BA4501DCA5}">
      <dgm:prSet phldr="0" custT="1"/>
      <dgm:spPr/>
      <dgm:t>
        <a:bodyPr/>
        <a:lstStyle/>
        <a:p>
          <a:pPr rtl="0"/>
          <a:r>
            <a:rPr lang="en-US" sz="1200">
              <a:latin typeface="Calibri" panose="020F0502020204030204" pitchFamily="34" charset="0"/>
              <a:cs typeface="Calibri" panose="020F0502020204030204" pitchFamily="34" charset="0"/>
            </a:rPr>
            <a:t> POLP for RBAC</a:t>
          </a:r>
        </a:p>
      </dgm:t>
    </dgm:pt>
    <dgm:pt modelId="{8C722CE3-782F-42E8-93A8-1A020A3268CA}" type="parTrans" cxnId="{D41BFE11-F65F-4702-B7EE-C5144F606052}">
      <dgm:prSet/>
      <dgm:spPr/>
      <dgm:t>
        <a:bodyPr/>
        <a:lstStyle/>
        <a:p>
          <a:endParaRPr lang="en-US"/>
        </a:p>
      </dgm:t>
    </dgm:pt>
    <dgm:pt modelId="{189CD3B6-5B7F-4391-9817-7DA8C9DF9C42}" type="sibTrans" cxnId="{D41BFE11-F65F-4702-B7EE-C5144F606052}">
      <dgm:prSet/>
      <dgm:spPr/>
      <dgm:t>
        <a:bodyPr/>
        <a:lstStyle/>
        <a:p>
          <a:endParaRPr lang="en-US"/>
        </a:p>
      </dgm:t>
    </dgm:pt>
    <dgm:pt modelId="{47BE45D6-439E-4ECA-B84D-222DADEEF1CA}">
      <dgm:prSet phldr="0" custT="1"/>
      <dgm:spPr/>
      <dgm:t>
        <a:bodyPr/>
        <a:lstStyle/>
        <a:p>
          <a:pPr rtl="0"/>
          <a:r>
            <a:rPr lang="en-US" sz="1200">
              <a:latin typeface="Calibri"/>
              <a:cs typeface="Calibri"/>
            </a:rPr>
            <a:t>Secret Filtering in IaC</a:t>
          </a:r>
        </a:p>
      </dgm:t>
    </dgm:pt>
    <dgm:pt modelId="{2BD250F5-1B08-4257-A43C-DC4708CFF563}" type="parTrans" cxnId="{42F97951-2B32-45E6-8F9E-B1B63B30C1F8}">
      <dgm:prSet/>
      <dgm:spPr/>
      <dgm:t>
        <a:bodyPr/>
        <a:lstStyle/>
        <a:p>
          <a:endParaRPr lang="en-US"/>
        </a:p>
      </dgm:t>
    </dgm:pt>
    <dgm:pt modelId="{12289D53-0774-4F1A-81C6-C9D96CFEF16E}" type="sibTrans" cxnId="{42F97951-2B32-45E6-8F9E-B1B63B30C1F8}">
      <dgm:prSet/>
      <dgm:spPr/>
      <dgm:t>
        <a:bodyPr/>
        <a:lstStyle/>
        <a:p>
          <a:endParaRPr lang="en-US"/>
        </a:p>
      </dgm:t>
    </dgm:pt>
    <dgm:pt modelId="{216C8CF1-D461-4D19-AB78-DCB2E6409D85}">
      <dgm:prSet phldr="0" custT="1"/>
      <dgm:spPr/>
      <dgm:t>
        <a:bodyPr/>
        <a:lstStyle/>
        <a:p>
          <a:pPr rtl="0"/>
          <a:r>
            <a:rPr lang="en-US" sz="1200">
              <a:latin typeface="Calibri"/>
              <a:cs typeface="Calibri"/>
            </a:rPr>
            <a:t>State files Isolation, encryption and versioning </a:t>
          </a:r>
        </a:p>
      </dgm:t>
    </dgm:pt>
    <dgm:pt modelId="{D1109CC9-20CB-4A07-8337-9957234F2278}" type="parTrans" cxnId="{83D5053D-D3CC-4683-BCBA-839B79E529AF}">
      <dgm:prSet/>
      <dgm:spPr/>
      <dgm:t>
        <a:bodyPr/>
        <a:lstStyle/>
        <a:p>
          <a:endParaRPr lang="en-US"/>
        </a:p>
      </dgm:t>
    </dgm:pt>
    <dgm:pt modelId="{40819301-7995-4E43-BF35-2BF7C3857F6C}" type="sibTrans" cxnId="{83D5053D-D3CC-4683-BCBA-839B79E529AF}">
      <dgm:prSet/>
      <dgm:spPr/>
      <dgm:t>
        <a:bodyPr/>
        <a:lstStyle/>
        <a:p>
          <a:endParaRPr lang="en-US"/>
        </a:p>
      </dgm:t>
    </dgm:pt>
    <dgm:pt modelId="{7B10E7B0-DF8D-47C2-BB47-D6DABB16212E}">
      <dgm:prSet custT="1"/>
      <dgm:spPr/>
      <dgm:t>
        <a:bodyPr/>
        <a:lstStyle/>
        <a:p>
          <a:r>
            <a:rPr lang="en-US" sz="1200">
              <a:latin typeface="Calibri"/>
              <a:cs typeface="Calibri"/>
            </a:rPr>
            <a:t>Hardened images meeting requirements of CIS benchmarks</a:t>
          </a:r>
        </a:p>
      </dgm:t>
    </dgm:pt>
    <dgm:pt modelId="{5480ADBA-3431-481B-935D-7DF89C7F1FA2}" type="parTrans" cxnId="{D93AD787-1DE9-45F4-ACFA-4F7D5EDBA715}">
      <dgm:prSet/>
      <dgm:spPr/>
      <dgm:t>
        <a:bodyPr/>
        <a:lstStyle/>
        <a:p>
          <a:endParaRPr lang="en-US"/>
        </a:p>
      </dgm:t>
    </dgm:pt>
    <dgm:pt modelId="{590898FC-11B8-4A72-BE60-EF3515FA6B01}" type="sibTrans" cxnId="{D93AD787-1DE9-45F4-ACFA-4F7D5EDBA715}">
      <dgm:prSet/>
      <dgm:spPr/>
      <dgm:t>
        <a:bodyPr/>
        <a:lstStyle/>
        <a:p>
          <a:endParaRPr lang="en-US"/>
        </a:p>
      </dgm:t>
    </dgm:pt>
    <dgm:pt modelId="{23CE6556-3792-4356-B24D-22EA71867B04}">
      <dgm:prSet custT="1"/>
      <dgm:spPr/>
      <dgm:t>
        <a:bodyPr/>
        <a:lstStyle/>
        <a:p>
          <a:r>
            <a:rPr lang="en-US" sz="1200">
              <a:latin typeface="Calibri"/>
              <a:cs typeface="Calibri"/>
            </a:rPr>
            <a:t>Static analyze for non-OS data using National Vulnerability Database (NVD) which includes RPM, Deb, APK, PIP, Ruby Gems etc.,</a:t>
          </a:r>
        </a:p>
      </dgm:t>
    </dgm:pt>
    <dgm:pt modelId="{323060A9-B12B-465A-AFBC-3153A36CC78E}" type="parTrans" cxnId="{E2F7F943-0966-4A78-8C43-047E1BABEEF9}">
      <dgm:prSet/>
      <dgm:spPr/>
      <dgm:t>
        <a:bodyPr/>
        <a:lstStyle/>
        <a:p>
          <a:endParaRPr lang="en-US"/>
        </a:p>
      </dgm:t>
    </dgm:pt>
    <dgm:pt modelId="{5CE81EF5-E2B1-4265-8CC3-46C3793C15A2}" type="sibTrans" cxnId="{E2F7F943-0966-4A78-8C43-047E1BABEEF9}">
      <dgm:prSet/>
      <dgm:spPr/>
      <dgm:t>
        <a:bodyPr/>
        <a:lstStyle/>
        <a:p>
          <a:endParaRPr lang="en-US"/>
        </a:p>
      </dgm:t>
    </dgm:pt>
    <dgm:pt modelId="{474D0C12-2596-4912-BC63-422E74562FFD}">
      <dgm:prSet custT="1"/>
      <dgm:spPr/>
      <dgm:t>
        <a:bodyPr/>
        <a:lstStyle/>
        <a:p>
          <a:pPr rtl="0"/>
          <a:r>
            <a:rPr lang="en-US" sz="1200">
              <a:latin typeface="Calibri"/>
              <a:cs typeface="Calibri"/>
            </a:rPr>
            <a:t> Image Scanning using anti-virus </a:t>
          </a:r>
        </a:p>
      </dgm:t>
    </dgm:pt>
    <dgm:pt modelId="{DAB6E264-45B4-4A96-A58C-C3BFFD1FA944}" type="parTrans" cxnId="{7FED2CE1-40A9-462D-B84F-11AF5C93BE1D}">
      <dgm:prSet/>
      <dgm:spPr/>
      <dgm:t>
        <a:bodyPr/>
        <a:lstStyle/>
        <a:p>
          <a:endParaRPr lang="en-US"/>
        </a:p>
      </dgm:t>
    </dgm:pt>
    <dgm:pt modelId="{E3F89D4E-667D-4AA5-AFBF-A09583DB72FE}" type="sibTrans" cxnId="{7FED2CE1-40A9-462D-B84F-11AF5C93BE1D}">
      <dgm:prSet/>
      <dgm:spPr/>
      <dgm:t>
        <a:bodyPr/>
        <a:lstStyle/>
        <a:p>
          <a:endParaRPr lang="en-US"/>
        </a:p>
      </dgm:t>
    </dgm:pt>
    <dgm:pt modelId="{5AC94CB5-9084-41E6-A079-A44838E37951}" type="pres">
      <dgm:prSet presAssocID="{D98507E7-7B2C-4D0F-BE37-ECDAB798DF95}" presName="Name0" presStyleCnt="0">
        <dgm:presLayoutVars>
          <dgm:dir/>
          <dgm:animLvl val="lvl"/>
          <dgm:resizeHandles val="exact"/>
        </dgm:presLayoutVars>
      </dgm:prSet>
      <dgm:spPr/>
    </dgm:pt>
    <dgm:pt modelId="{3CF420FD-A8B3-4BBC-97A0-66D33E3C17E9}" type="pres">
      <dgm:prSet presAssocID="{DF010E95-0D5B-4062-A2C1-2DF934ACED84}" presName="composite" presStyleCnt="0"/>
      <dgm:spPr/>
    </dgm:pt>
    <dgm:pt modelId="{42C9C666-1A45-4CDF-9461-F3EBBA4BED88}" type="pres">
      <dgm:prSet presAssocID="{DF010E95-0D5B-4062-A2C1-2DF934ACED84}" presName="parTx" presStyleLbl="alignNode1" presStyleIdx="0" presStyleCnt="6">
        <dgm:presLayoutVars>
          <dgm:chMax val="0"/>
          <dgm:chPref val="0"/>
          <dgm:bulletEnabled val="1"/>
        </dgm:presLayoutVars>
      </dgm:prSet>
      <dgm:spPr/>
    </dgm:pt>
    <dgm:pt modelId="{C3CD6DC7-F381-404F-8B5C-C2F8B6485F65}" type="pres">
      <dgm:prSet presAssocID="{DF010E95-0D5B-4062-A2C1-2DF934ACED84}" presName="desTx" presStyleLbl="alignAccFollowNode1" presStyleIdx="0" presStyleCnt="6">
        <dgm:presLayoutVars>
          <dgm:bulletEnabled val="1"/>
        </dgm:presLayoutVars>
      </dgm:prSet>
      <dgm:spPr/>
    </dgm:pt>
    <dgm:pt modelId="{F339B8DC-96A8-4991-A5D8-CEB5C9C8B247}" type="pres">
      <dgm:prSet presAssocID="{93EADE0A-8DBC-42C4-99BF-BEE40EAF109B}" presName="space" presStyleCnt="0"/>
      <dgm:spPr/>
    </dgm:pt>
    <dgm:pt modelId="{8795F4D7-6CB8-4B12-ADEE-E65F9530A7C4}" type="pres">
      <dgm:prSet presAssocID="{AB8AF8F4-A175-427C-9352-75EF220107A3}" presName="composite" presStyleCnt="0"/>
      <dgm:spPr/>
    </dgm:pt>
    <dgm:pt modelId="{D11165D0-B430-4FB0-80A6-75A6721FE8F9}" type="pres">
      <dgm:prSet presAssocID="{AB8AF8F4-A175-427C-9352-75EF220107A3}" presName="parTx" presStyleLbl="alignNode1" presStyleIdx="1" presStyleCnt="6">
        <dgm:presLayoutVars>
          <dgm:chMax val="0"/>
          <dgm:chPref val="0"/>
          <dgm:bulletEnabled val="1"/>
        </dgm:presLayoutVars>
      </dgm:prSet>
      <dgm:spPr/>
    </dgm:pt>
    <dgm:pt modelId="{7BB28E64-3196-4F8F-958D-AE2BB427BAEE}" type="pres">
      <dgm:prSet presAssocID="{AB8AF8F4-A175-427C-9352-75EF220107A3}" presName="desTx" presStyleLbl="alignAccFollowNode1" presStyleIdx="1" presStyleCnt="6">
        <dgm:presLayoutVars>
          <dgm:bulletEnabled val="1"/>
        </dgm:presLayoutVars>
      </dgm:prSet>
      <dgm:spPr/>
    </dgm:pt>
    <dgm:pt modelId="{75C6B0BF-5FE8-45E8-AA6D-563DEA3F1F06}" type="pres">
      <dgm:prSet presAssocID="{7B1D8411-5DA8-4993-94CC-230A9E4C68C2}" presName="space" presStyleCnt="0"/>
      <dgm:spPr/>
    </dgm:pt>
    <dgm:pt modelId="{C01709D9-F3DF-4D11-8A2C-CC0AB9879F68}" type="pres">
      <dgm:prSet presAssocID="{C2A3C877-DFA1-4813-92E0-91895E5CDBF4}" presName="composite" presStyleCnt="0"/>
      <dgm:spPr/>
    </dgm:pt>
    <dgm:pt modelId="{08D67809-9A82-4B57-A7B7-8F4CCBCB444D}" type="pres">
      <dgm:prSet presAssocID="{C2A3C877-DFA1-4813-92E0-91895E5CDBF4}" presName="parTx" presStyleLbl="alignNode1" presStyleIdx="2" presStyleCnt="6">
        <dgm:presLayoutVars>
          <dgm:chMax val="0"/>
          <dgm:chPref val="0"/>
          <dgm:bulletEnabled val="1"/>
        </dgm:presLayoutVars>
      </dgm:prSet>
      <dgm:spPr/>
    </dgm:pt>
    <dgm:pt modelId="{22341744-9225-4C0B-9C07-C35B0059A976}" type="pres">
      <dgm:prSet presAssocID="{C2A3C877-DFA1-4813-92E0-91895E5CDBF4}" presName="desTx" presStyleLbl="alignAccFollowNode1" presStyleIdx="2" presStyleCnt="6">
        <dgm:presLayoutVars>
          <dgm:bulletEnabled val="1"/>
        </dgm:presLayoutVars>
      </dgm:prSet>
      <dgm:spPr/>
    </dgm:pt>
    <dgm:pt modelId="{4E8774DE-977A-42C4-991B-0A2FF007B103}" type="pres">
      <dgm:prSet presAssocID="{F01457B5-0231-4CD8-950F-99365D08AFDA}" presName="space" presStyleCnt="0"/>
      <dgm:spPr/>
    </dgm:pt>
    <dgm:pt modelId="{1AE2A57C-A42F-414F-8B2D-EC5B05D9DCAE}" type="pres">
      <dgm:prSet presAssocID="{DDD8E90D-459A-4341-8846-6D0616A91527}" presName="composite" presStyleCnt="0"/>
      <dgm:spPr/>
    </dgm:pt>
    <dgm:pt modelId="{470DC0F6-07D0-4411-B83D-A339C8E8C147}" type="pres">
      <dgm:prSet presAssocID="{DDD8E90D-459A-4341-8846-6D0616A91527}" presName="parTx" presStyleLbl="alignNode1" presStyleIdx="3" presStyleCnt="6">
        <dgm:presLayoutVars>
          <dgm:chMax val="0"/>
          <dgm:chPref val="0"/>
          <dgm:bulletEnabled val="1"/>
        </dgm:presLayoutVars>
      </dgm:prSet>
      <dgm:spPr/>
    </dgm:pt>
    <dgm:pt modelId="{F1600245-E775-4456-9E9A-A07E77B4F7ED}" type="pres">
      <dgm:prSet presAssocID="{DDD8E90D-459A-4341-8846-6D0616A91527}" presName="desTx" presStyleLbl="alignAccFollowNode1" presStyleIdx="3" presStyleCnt="6">
        <dgm:presLayoutVars>
          <dgm:bulletEnabled val="1"/>
        </dgm:presLayoutVars>
      </dgm:prSet>
      <dgm:spPr/>
    </dgm:pt>
    <dgm:pt modelId="{06A2C8A5-FB4D-4ECC-8E90-D0E90F5333E8}" type="pres">
      <dgm:prSet presAssocID="{1965EC5E-630E-4745-AE10-3E5AEFE47EAA}" presName="space" presStyleCnt="0"/>
      <dgm:spPr/>
    </dgm:pt>
    <dgm:pt modelId="{E1F9ADC5-E5F2-4E2E-906F-7456D1C3BB3C}" type="pres">
      <dgm:prSet presAssocID="{6D76FC4D-448B-4648-9349-46C30885EEAB}" presName="composite" presStyleCnt="0"/>
      <dgm:spPr/>
    </dgm:pt>
    <dgm:pt modelId="{6B137513-2567-4838-8474-362713E51B37}" type="pres">
      <dgm:prSet presAssocID="{6D76FC4D-448B-4648-9349-46C30885EEAB}" presName="parTx" presStyleLbl="alignNode1" presStyleIdx="4" presStyleCnt="6">
        <dgm:presLayoutVars>
          <dgm:chMax val="0"/>
          <dgm:chPref val="0"/>
          <dgm:bulletEnabled val="1"/>
        </dgm:presLayoutVars>
      </dgm:prSet>
      <dgm:spPr/>
    </dgm:pt>
    <dgm:pt modelId="{22025250-04BC-4444-9685-440B1A87BD04}" type="pres">
      <dgm:prSet presAssocID="{6D76FC4D-448B-4648-9349-46C30885EEAB}" presName="desTx" presStyleLbl="alignAccFollowNode1" presStyleIdx="4" presStyleCnt="6">
        <dgm:presLayoutVars>
          <dgm:bulletEnabled val="1"/>
        </dgm:presLayoutVars>
      </dgm:prSet>
      <dgm:spPr/>
    </dgm:pt>
    <dgm:pt modelId="{DBC63889-1D9B-4AAC-9AB0-8F7470D9990F}" type="pres">
      <dgm:prSet presAssocID="{4FCA4F2A-D4BA-4FBA-8EB5-01884F87F011}" presName="space" presStyleCnt="0"/>
      <dgm:spPr/>
    </dgm:pt>
    <dgm:pt modelId="{DC8F4995-4AD0-4E8E-B7D0-F02467D4011E}" type="pres">
      <dgm:prSet presAssocID="{E43E70E9-2FE7-4CAE-9227-AD881EE5407E}" presName="composite" presStyleCnt="0"/>
      <dgm:spPr/>
    </dgm:pt>
    <dgm:pt modelId="{0249A14D-B322-4D93-ABFA-C2BE9019F488}" type="pres">
      <dgm:prSet presAssocID="{E43E70E9-2FE7-4CAE-9227-AD881EE5407E}" presName="parTx" presStyleLbl="alignNode1" presStyleIdx="5" presStyleCnt="6">
        <dgm:presLayoutVars>
          <dgm:chMax val="0"/>
          <dgm:chPref val="0"/>
          <dgm:bulletEnabled val="1"/>
        </dgm:presLayoutVars>
      </dgm:prSet>
      <dgm:spPr/>
    </dgm:pt>
    <dgm:pt modelId="{BD46FC2E-3C38-4E9A-B592-5171856E1CD9}" type="pres">
      <dgm:prSet presAssocID="{E43E70E9-2FE7-4CAE-9227-AD881EE5407E}" presName="desTx" presStyleLbl="alignAccFollowNode1" presStyleIdx="5" presStyleCnt="6">
        <dgm:presLayoutVars>
          <dgm:bulletEnabled val="1"/>
        </dgm:presLayoutVars>
      </dgm:prSet>
      <dgm:spPr/>
    </dgm:pt>
  </dgm:ptLst>
  <dgm:cxnLst>
    <dgm:cxn modelId="{BAA53500-5A0B-4241-9A1E-3D0222DF03B2}" srcId="{AB8AF8F4-A175-427C-9352-75EF220107A3}" destId="{FA6145DF-5F8E-4F14-8CD0-B50AE0023A3F}" srcOrd="6" destOrd="0" parTransId="{18ADD9D8-B913-44ED-AAB2-EAE98C54B285}" sibTransId="{64588586-72D3-4484-8EAD-4BC13EDB8749}"/>
    <dgm:cxn modelId="{85F89C06-19FB-413F-9722-82310209CC47}" srcId="{D98507E7-7B2C-4D0F-BE37-ECDAB798DF95}" destId="{AB8AF8F4-A175-427C-9352-75EF220107A3}" srcOrd="1" destOrd="0" parTransId="{45B535C6-8EFA-4BC5-BC0A-8D5AC58F1E79}" sibTransId="{7B1D8411-5DA8-4993-94CC-230A9E4C68C2}"/>
    <dgm:cxn modelId="{C64AA80C-C2DA-4527-851C-0792049A21E5}" srcId="{D98507E7-7B2C-4D0F-BE37-ECDAB798DF95}" destId="{C2A3C877-DFA1-4813-92E0-91895E5CDBF4}" srcOrd="2" destOrd="0" parTransId="{73336AEB-DA33-4F19-A37B-7B5B650ED71A}" sibTransId="{F01457B5-0231-4CD8-950F-99365D08AFDA}"/>
    <dgm:cxn modelId="{4B6E7D0D-EEB7-407E-A4D3-B04CC95C4211}" srcId="{AB8AF8F4-A175-427C-9352-75EF220107A3}" destId="{2637DA24-0ABA-412E-A8B6-88F9E6A61CD5}" srcOrd="2" destOrd="0" parTransId="{8C865E3C-6499-480F-9190-58654D2CBBCC}" sibTransId="{466F6134-28DA-4505-835C-32A6A1F30745}"/>
    <dgm:cxn modelId="{F3636F0F-BFE8-4A5E-84BC-A82BB9841FB0}" type="presOf" srcId="{9D88D04D-859C-4EF4-84A6-B69A1E8E72CF}" destId="{F1600245-E775-4456-9E9A-A07E77B4F7ED}" srcOrd="0" destOrd="1" presId="urn:microsoft.com/office/officeart/2005/8/layout/hList1"/>
    <dgm:cxn modelId="{0776FF0F-E2CF-4DA2-9542-F3D725304E42}" type="presOf" srcId="{7B10E7B0-DF8D-47C2-BB47-D6DABB16212E}" destId="{BD46FC2E-3C38-4E9A-B592-5171856E1CD9}" srcOrd="0" destOrd="1" presId="urn:microsoft.com/office/officeart/2005/8/layout/hList1"/>
    <dgm:cxn modelId="{D41BFE11-F65F-4702-B7EE-C5144F606052}" srcId="{6D76FC4D-448B-4648-9349-46C30885EEAB}" destId="{5E8EB34A-B778-48BD-9078-99BA4501DCA5}" srcOrd="3" destOrd="0" parTransId="{8C722CE3-782F-42E8-93A8-1A020A3268CA}" sibTransId="{189CD3B6-5B7F-4391-9817-7DA8C9DF9C42}"/>
    <dgm:cxn modelId="{9EA81719-6F8C-45F2-A17D-C2D0C82B9E95}" type="presOf" srcId="{854FA24E-9EF9-4DFB-AB80-0C4807F5D375}" destId="{22341744-9225-4C0B-9C07-C35B0059A976}" srcOrd="0" destOrd="1" presId="urn:microsoft.com/office/officeart/2005/8/layout/hList1"/>
    <dgm:cxn modelId="{C953891B-D5E7-411F-98F4-E79B8419623E}" srcId="{D98507E7-7B2C-4D0F-BE37-ECDAB798DF95}" destId="{DF010E95-0D5B-4062-A2C1-2DF934ACED84}" srcOrd="0" destOrd="0" parTransId="{EF667F4E-74E8-43D7-A022-5D54C189FEDC}" sibTransId="{93EADE0A-8DBC-42C4-99BF-BEE40EAF109B}"/>
    <dgm:cxn modelId="{11FD5F1E-9149-4448-9E12-E271C1231AF1}" type="presOf" srcId="{6D76FC4D-448B-4648-9349-46C30885EEAB}" destId="{6B137513-2567-4838-8474-362713E51B37}" srcOrd="0" destOrd="0" presId="urn:microsoft.com/office/officeart/2005/8/layout/hList1"/>
    <dgm:cxn modelId="{95CF5F28-ADD8-40E2-AB1F-4C2B5BE48372}" type="presOf" srcId="{8394E725-D0F3-4A9A-B6F8-A4E33F2F816C}" destId="{7BB28E64-3196-4F8F-958D-AE2BB427BAEE}" srcOrd="0" destOrd="1" presId="urn:microsoft.com/office/officeart/2005/8/layout/hList1"/>
    <dgm:cxn modelId="{6962AA28-3C6E-4034-978B-D6301B880220}" srcId="{D98507E7-7B2C-4D0F-BE37-ECDAB798DF95}" destId="{6D76FC4D-448B-4648-9349-46C30885EEAB}" srcOrd="4" destOrd="0" parTransId="{A41A9EB9-5F5E-42FC-BBE1-AF8308C00597}" sibTransId="{4FCA4F2A-D4BA-4FBA-8EB5-01884F87F011}"/>
    <dgm:cxn modelId="{0914B12C-7395-49DE-A431-1C7C9C3FABB4}" srcId="{D98507E7-7B2C-4D0F-BE37-ECDAB798DF95}" destId="{DDD8E90D-459A-4341-8846-6D0616A91527}" srcOrd="3" destOrd="0" parTransId="{ACE8C1DD-815C-4A3B-B431-B5C12B661E6B}" sibTransId="{1965EC5E-630E-4745-AE10-3E5AEFE47EAA}"/>
    <dgm:cxn modelId="{F24DBF2D-090F-44C0-86AC-5399D7A0AB79}" type="presOf" srcId="{474D0C12-2596-4912-BC63-422E74562FFD}" destId="{BD46FC2E-3C38-4E9A-B592-5171856E1CD9}" srcOrd="0" destOrd="3" presId="urn:microsoft.com/office/officeart/2005/8/layout/hList1"/>
    <dgm:cxn modelId="{4F288B32-A296-4715-AB81-62BD66C9C95E}" type="presOf" srcId="{A08A0C98-39C0-46A4-813A-0E406608390D}" destId="{7BB28E64-3196-4F8F-958D-AE2BB427BAEE}" srcOrd="0" destOrd="4" presId="urn:microsoft.com/office/officeart/2005/8/layout/hList1"/>
    <dgm:cxn modelId="{A0CB703B-17A6-445D-ACAC-D58B0A6CEB8E}" type="presOf" srcId="{BFDFF7AB-9618-402F-8CCF-88B9E3ABC0FF}" destId="{22341744-9225-4C0B-9C07-C35B0059A976}" srcOrd="0" destOrd="0" presId="urn:microsoft.com/office/officeart/2005/8/layout/hList1"/>
    <dgm:cxn modelId="{83D5053D-D3CC-4683-BCBA-839B79E529AF}" srcId="{6D76FC4D-448B-4648-9349-46C30885EEAB}" destId="{216C8CF1-D461-4D19-AB78-DCB2E6409D85}" srcOrd="5" destOrd="0" parTransId="{D1109CC9-20CB-4A07-8337-9957234F2278}" sibTransId="{40819301-7995-4E43-BF35-2BF7C3857F6C}"/>
    <dgm:cxn modelId="{7711BA5F-B712-4F3C-B225-2C6A4A61C1C3}" type="presOf" srcId="{DDD8E90D-459A-4341-8846-6D0616A91527}" destId="{470DC0F6-07D0-4411-B83D-A339C8E8C147}" srcOrd="0" destOrd="0" presId="urn:microsoft.com/office/officeart/2005/8/layout/hList1"/>
    <dgm:cxn modelId="{AEEEBB41-67F2-4AEC-92CF-72A9A2F422CE}" srcId="{C2A3C877-DFA1-4813-92E0-91895E5CDBF4}" destId="{854FA24E-9EF9-4DFB-AB80-0C4807F5D375}" srcOrd="1" destOrd="0" parTransId="{9A6F09A3-84C3-4275-9CCA-7C55A5C723FF}" sibTransId="{0BF48A28-B816-4C1F-98D8-C2B66A72E646}"/>
    <dgm:cxn modelId="{CE967D63-FB09-4E18-A863-91681EFE0427}" srcId="{6D76FC4D-448B-4648-9349-46C30885EEAB}" destId="{BE9CD78E-7500-4157-B8F2-BCD52D99FA6D}" srcOrd="0" destOrd="0" parTransId="{48F3E0E1-A103-4842-9163-4F34CE696F96}" sibTransId="{C5010267-E6A1-424E-83F4-D5147CB439F7}"/>
    <dgm:cxn modelId="{E2F7F943-0966-4A78-8C43-047E1BABEEF9}" srcId="{E43E70E9-2FE7-4CAE-9227-AD881EE5407E}" destId="{23CE6556-3792-4356-B24D-22EA71867B04}" srcOrd="2" destOrd="0" parTransId="{323060A9-B12B-465A-AFBC-3153A36CC78E}" sibTransId="{5CE81EF5-E2B1-4265-8CC3-46C3793C15A2}"/>
    <dgm:cxn modelId="{0FE19768-DCEA-4C27-80BD-6987F7B02DE1}" type="presOf" srcId="{6D2DFA6A-E943-4334-B25E-C35BCAECF15B}" destId="{C3CD6DC7-F381-404F-8B5C-C2F8B6485F65}" srcOrd="0" destOrd="5" presId="urn:microsoft.com/office/officeart/2005/8/layout/hList1"/>
    <dgm:cxn modelId="{9718A96A-0702-460B-AF99-FE419B1A766B}" type="presOf" srcId="{45FA89C9-3ADD-4DA5-A5BC-30F352739E7B}" destId="{7BB28E64-3196-4F8F-958D-AE2BB427BAEE}" srcOrd="0" destOrd="3" presId="urn:microsoft.com/office/officeart/2005/8/layout/hList1"/>
    <dgm:cxn modelId="{CD4C006B-A35B-46E2-8E04-F1C5FE2E6FCD}" type="presOf" srcId="{C29C87E2-9770-4014-B456-ECBA4D348CFF}" destId="{BD46FC2E-3C38-4E9A-B592-5171856E1CD9}" srcOrd="0" destOrd="0" presId="urn:microsoft.com/office/officeart/2005/8/layout/hList1"/>
    <dgm:cxn modelId="{6E1EE74B-F2A5-42AE-9AD7-D20D1C1C8677}" srcId="{DF010E95-0D5B-4062-A2C1-2DF934ACED84}" destId="{6D2DFA6A-E943-4334-B25E-C35BCAECF15B}" srcOrd="5" destOrd="0" parTransId="{2DF6DBCE-A275-4941-A55A-54CB77E1BB19}" sibTransId="{D887F2E5-A541-4EA6-AF32-1D6E4C7F85F9}"/>
    <dgm:cxn modelId="{786E174D-F844-457C-80A1-71BEBF609546}" type="presOf" srcId="{2637DA24-0ABA-412E-A8B6-88F9E6A61CD5}" destId="{7BB28E64-3196-4F8F-958D-AE2BB427BAEE}" srcOrd="0" destOrd="2" presId="urn:microsoft.com/office/officeart/2005/8/layout/hList1"/>
    <dgm:cxn modelId="{2325F54E-1144-43D8-A410-09CE3AE9F997}" srcId="{DF010E95-0D5B-4062-A2C1-2DF934ACED84}" destId="{F982DFA9-4F5F-4B63-93AC-A3956612542B}" srcOrd="2" destOrd="0" parTransId="{CF869BD8-2127-4919-B2E2-9268E59A7A18}" sibTransId="{E7B9F3A5-9AC4-4190-AC2B-C82B0B19A399}"/>
    <dgm:cxn modelId="{90C9FF6E-A60C-4A51-9256-23D9A8392ACF}" type="presOf" srcId="{D3899AF3-E548-4C64-AD57-14B7094CD586}" destId="{22025250-04BC-4444-9685-440B1A87BD04}" srcOrd="0" destOrd="1" presId="urn:microsoft.com/office/officeart/2005/8/layout/hList1"/>
    <dgm:cxn modelId="{42F97951-2B32-45E6-8F9E-B1B63B30C1F8}" srcId="{6D76FC4D-448B-4648-9349-46C30885EEAB}" destId="{47BE45D6-439E-4ECA-B84D-222DADEEF1CA}" srcOrd="4" destOrd="0" parTransId="{2BD250F5-1B08-4257-A43C-DC4708CFF563}" sibTransId="{12289D53-0774-4F1A-81C6-C9D96CFEF16E}"/>
    <dgm:cxn modelId="{6551F571-BC46-43D5-B084-630B9948B692}" type="presOf" srcId="{DF010E95-0D5B-4062-A2C1-2DF934ACED84}" destId="{42C9C666-1A45-4CDF-9461-F3EBBA4BED88}" srcOrd="0" destOrd="0" presId="urn:microsoft.com/office/officeart/2005/8/layout/hList1"/>
    <dgm:cxn modelId="{E9562954-4FA3-460C-8879-38A63EB48A32}" type="presOf" srcId="{0C1ED120-4C6D-48D4-944A-9A8031E7734C}" destId="{C3CD6DC7-F381-404F-8B5C-C2F8B6485F65}" srcOrd="0" destOrd="1" presId="urn:microsoft.com/office/officeart/2005/8/layout/hList1"/>
    <dgm:cxn modelId="{F613E07A-008D-4490-A8E5-0733F915DB53}" srcId="{DF010E95-0D5B-4062-A2C1-2DF934ACED84}" destId="{0C1ED120-4C6D-48D4-944A-9A8031E7734C}" srcOrd="1" destOrd="0" parTransId="{86DD7F46-F77A-44C9-9978-C4D9CFC824F5}" sibTransId="{EF621D3C-E1F2-4FA5-971C-3CB748BFD3E6}"/>
    <dgm:cxn modelId="{0861C57B-1CE0-4602-9083-8765672ACCB4}" type="presOf" srcId="{40898C3A-56E9-43DB-81CD-A82B75534AFE}" destId="{7BB28E64-3196-4F8F-958D-AE2BB427BAEE}" srcOrd="0" destOrd="5" presId="urn:microsoft.com/office/officeart/2005/8/layout/hList1"/>
    <dgm:cxn modelId="{F9E1A47E-F24E-4A1E-B1E2-62119CF458EE}" type="presOf" srcId="{D98507E7-7B2C-4D0F-BE37-ECDAB798DF95}" destId="{5AC94CB5-9084-41E6-A079-A44838E37951}" srcOrd="0" destOrd="0" presId="urn:microsoft.com/office/officeart/2005/8/layout/hList1"/>
    <dgm:cxn modelId="{CA9A1787-23CA-4FAB-9F14-44A80BCC4C66}" type="presOf" srcId="{D7A1D618-CDF4-421C-B109-4C0B0C3DBE3D}" destId="{C3CD6DC7-F381-404F-8B5C-C2F8B6485F65}" srcOrd="0" destOrd="6" presId="urn:microsoft.com/office/officeart/2005/8/layout/hList1"/>
    <dgm:cxn modelId="{D93AD787-1DE9-45F4-ACFA-4F7D5EDBA715}" srcId="{E43E70E9-2FE7-4CAE-9227-AD881EE5407E}" destId="{7B10E7B0-DF8D-47C2-BB47-D6DABB16212E}" srcOrd="1" destOrd="0" parTransId="{5480ADBA-3431-481B-935D-7DF89C7F1FA2}" sibTransId="{590898FC-11B8-4A72-BE60-EF3515FA6B01}"/>
    <dgm:cxn modelId="{2847B288-906B-4D0F-8F5B-EE500FAC881D}" type="presOf" srcId="{E9744856-B20B-4BAC-A072-ABE02AF34D80}" destId="{C3CD6DC7-F381-404F-8B5C-C2F8B6485F65}" srcOrd="0" destOrd="0" presId="urn:microsoft.com/office/officeart/2005/8/layout/hList1"/>
    <dgm:cxn modelId="{DC04EE93-FFBC-4D2F-95D9-11DAB916DB77}" srcId="{DF010E95-0D5B-4062-A2C1-2DF934ACED84}" destId="{E55CBF97-FCE2-4983-9030-480AE9B7DA29}" srcOrd="3" destOrd="0" parTransId="{CEBD07DA-4AED-4393-B122-9DEC18E7FE28}" sibTransId="{2C900016-3E60-428A-A860-75BE2FB6C04F}"/>
    <dgm:cxn modelId="{2703FE95-A485-41DF-A732-4F3D1A0C7E42}" srcId="{AB8AF8F4-A175-427C-9352-75EF220107A3}" destId="{8394E725-D0F3-4A9A-B6F8-A4E33F2F816C}" srcOrd="1" destOrd="0" parTransId="{C9A6D9CB-9A5A-4366-930D-814D8CD9BECC}" sibTransId="{407AB1BC-843D-4F73-AF56-6CB53044B788}"/>
    <dgm:cxn modelId="{91DB2C98-457D-490F-95A5-D7522C3DF224}" type="presOf" srcId="{5E8EB34A-B778-48BD-9078-99BA4501DCA5}" destId="{22025250-04BC-4444-9685-440B1A87BD04}" srcOrd="0" destOrd="3" presId="urn:microsoft.com/office/officeart/2005/8/layout/hList1"/>
    <dgm:cxn modelId="{55D75C99-96CE-4F44-BC7D-A2D2AF2C8E15}" srcId="{E43E70E9-2FE7-4CAE-9227-AD881EE5407E}" destId="{C29C87E2-9770-4014-B456-ECBA4D348CFF}" srcOrd="0" destOrd="0" parTransId="{2CA9BCF9-24FA-4F23-BD00-81DDB7558942}" sibTransId="{6D07C3F4-D0DE-4492-AFCA-8B7018D7B3A6}"/>
    <dgm:cxn modelId="{02DC219A-38CA-450E-A390-94C2000C9E97}" type="presOf" srcId="{23CE6556-3792-4356-B24D-22EA71867B04}" destId="{BD46FC2E-3C38-4E9A-B592-5171856E1CD9}" srcOrd="0" destOrd="2" presId="urn:microsoft.com/office/officeart/2005/8/layout/hList1"/>
    <dgm:cxn modelId="{13A7C39D-072C-4481-B36D-2D6144B18108}" type="presOf" srcId="{65EC7BE9-19E0-423E-A924-0583E094ED96}" destId="{7BB28E64-3196-4F8F-958D-AE2BB427BAEE}" srcOrd="0" destOrd="0" presId="urn:microsoft.com/office/officeart/2005/8/layout/hList1"/>
    <dgm:cxn modelId="{E7E46BA2-3B13-44AF-BB15-CFA5D7C77116}" srcId="{DF010E95-0D5B-4062-A2C1-2DF934ACED84}" destId="{D7A1D618-CDF4-421C-B109-4C0B0C3DBE3D}" srcOrd="6" destOrd="0" parTransId="{0030FD0D-57F7-46A6-BD32-216029D288F8}" sibTransId="{0B58820E-3E1F-446D-B0CA-907747FE14DB}"/>
    <dgm:cxn modelId="{982919A9-0E8C-4DC3-A5AF-FF4D628E10AC}" srcId="{D98507E7-7B2C-4D0F-BE37-ECDAB798DF95}" destId="{E43E70E9-2FE7-4CAE-9227-AD881EE5407E}" srcOrd="5" destOrd="0" parTransId="{4ED7FF11-80A6-4368-8A0E-77D04C9C8C19}" sibTransId="{0FB66B94-F10A-42F0-98E0-A95D5F14D9FF}"/>
    <dgm:cxn modelId="{4BED88B2-8D11-4203-9D7E-FCCD7FB387AE}" srcId="{C2A3C877-DFA1-4813-92E0-91895E5CDBF4}" destId="{BFDFF7AB-9618-402F-8CCF-88B9E3ABC0FF}" srcOrd="0" destOrd="0" parTransId="{0373A459-8F23-4BA2-BFED-561D52BD2A34}" sibTransId="{C679C659-2A4B-40A9-9C5D-B9768C2E947C}"/>
    <dgm:cxn modelId="{6B3250B8-0F5A-445E-9A9B-989A707F9749}" srcId="{AB8AF8F4-A175-427C-9352-75EF220107A3}" destId="{45FA89C9-3ADD-4DA5-A5BC-30F352739E7B}" srcOrd="3" destOrd="0" parTransId="{93A06499-987E-4710-B4C2-24550854F22A}" sibTransId="{400ED1E9-BF56-4084-ACE0-816316DF7EF5}"/>
    <dgm:cxn modelId="{7952DEBC-F4A6-4F14-B9B4-44863EE00667}" type="presOf" srcId="{AB8AF8F4-A175-427C-9352-75EF220107A3}" destId="{D11165D0-B430-4FB0-80A6-75A6721FE8F9}" srcOrd="0" destOrd="0" presId="urn:microsoft.com/office/officeart/2005/8/layout/hList1"/>
    <dgm:cxn modelId="{7C667BC1-CA83-4EF3-B57D-0C8C8B8EB435}" type="presOf" srcId="{E43E70E9-2FE7-4CAE-9227-AD881EE5407E}" destId="{0249A14D-B322-4D93-ABFA-C2BE9019F488}" srcOrd="0" destOrd="0" presId="urn:microsoft.com/office/officeart/2005/8/layout/hList1"/>
    <dgm:cxn modelId="{DE8896C5-4783-4CB9-848F-25918AB34726}" type="presOf" srcId="{97279BED-04D2-4316-A0C3-EC227A5A9C3E}" destId="{F1600245-E775-4456-9E9A-A07E77B4F7ED}" srcOrd="0" destOrd="0" presId="urn:microsoft.com/office/officeart/2005/8/layout/hList1"/>
    <dgm:cxn modelId="{2530AFC5-CFAC-4F73-946E-2C81FAEFD571}" srcId="{AB8AF8F4-A175-427C-9352-75EF220107A3}" destId="{40898C3A-56E9-43DB-81CD-A82B75534AFE}" srcOrd="5" destOrd="0" parTransId="{566F1834-C32A-446E-AE55-82105981593A}" sibTransId="{D97ED690-C4BB-4DAE-BE51-8266329E56AE}"/>
    <dgm:cxn modelId="{277CEBC6-3A27-4740-BCC8-CEC8A1C557FA}" type="presOf" srcId="{C7D54A15-D126-4BBE-8786-58CA210F9BE4}" destId="{C3CD6DC7-F381-404F-8B5C-C2F8B6485F65}" srcOrd="0" destOrd="4" presId="urn:microsoft.com/office/officeart/2005/8/layout/hList1"/>
    <dgm:cxn modelId="{9A925CCF-D2CC-476F-B851-B3EDA6571EE1}" srcId="{DDD8E90D-459A-4341-8846-6D0616A91527}" destId="{9D88D04D-859C-4EF4-84A6-B69A1E8E72CF}" srcOrd="1" destOrd="0" parTransId="{73121FB1-74FD-4F8B-A901-77EE7AEEDF13}" sibTransId="{0F28F2AA-0D0A-4314-A6F0-622E176E6ADF}"/>
    <dgm:cxn modelId="{BECF56CF-1B8E-4E03-8DDB-E1C9E2CCF1BA}" srcId="{DDD8E90D-459A-4341-8846-6D0616A91527}" destId="{97279BED-04D2-4316-A0C3-EC227A5A9C3E}" srcOrd="0" destOrd="0" parTransId="{79567310-39E0-444D-92F8-5A4C73770BA4}" sibTransId="{2FD78400-C6E9-4D68-AB25-85F5564B2C08}"/>
    <dgm:cxn modelId="{DBA529D0-0D2D-4D69-A120-624F4A1EE437}" type="presOf" srcId="{BE9CD78E-7500-4157-B8F2-BCD52D99FA6D}" destId="{22025250-04BC-4444-9685-440B1A87BD04}" srcOrd="0" destOrd="0" presId="urn:microsoft.com/office/officeart/2005/8/layout/hList1"/>
    <dgm:cxn modelId="{EEC1FDD0-04DF-4193-8F59-8DBC090B2B91}" type="presOf" srcId="{E09D3C56-5545-4BB7-8E7E-EDD07E3F0BB7}" destId="{22025250-04BC-4444-9685-440B1A87BD04}" srcOrd="0" destOrd="2" presId="urn:microsoft.com/office/officeart/2005/8/layout/hList1"/>
    <dgm:cxn modelId="{F2DC85D5-F160-4329-B98E-CC807721E138}" srcId="{AB8AF8F4-A175-427C-9352-75EF220107A3}" destId="{65EC7BE9-19E0-423E-A924-0583E094ED96}" srcOrd="0" destOrd="0" parTransId="{9C233B30-7128-4572-A53E-05F7AFB9B1C2}" sibTransId="{812311ED-45F7-4D5D-9726-B54FF1469224}"/>
    <dgm:cxn modelId="{36D391DD-E2F1-40C0-BC1F-4494A3D2488D}" type="presOf" srcId="{47BE45D6-439E-4ECA-B84D-222DADEEF1CA}" destId="{22025250-04BC-4444-9685-440B1A87BD04}" srcOrd="0" destOrd="4" presId="urn:microsoft.com/office/officeart/2005/8/layout/hList1"/>
    <dgm:cxn modelId="{7FED2CE1-40A9-462D-B84F-11AF5C93BE1D}" srcId="{E43E70E9-2FE7-4CAE-9227-AD881EE5407E}" destId="{474D0C12-2596-4912-BC63-422E74562FFD}" srcOrd="3" destOrd="0" parTransId="{DAB6E264-45B4-4A96-A58C-C3BFFD1FA944}" sibTransId="{E3F89D4E-667D-4AA5-AFBF-A09583DB72FE}"/>
    <dgm:cxn modelId="{9A9223E4-B93D-4A88-9338-103D273500BD}" srcId="{DF010E95-0D5B-4062-A2C1-2DF934ACED84}" destId="{C7D54A15-D126-4BBE-8786-58CA210F9BE4}" srcOrd="4" destOrd="0" parTransId="{9351A986-CF96-48C7-AEB0-656E1C1CE87E}" sibTransId="{BDBF67D8-8420-4E6E-95E0-35367FB56282}"/>
    <dgm:cxn modelId="{B28203E5-CF01-44D1-9824-489399CDCA10}" srcId="{DF010E95-0D5B-4062-A2C1-2DF934ACED84}" destId="{E9744856-B20B-4BAC-A072-ABE02AF34D80}" srcOrd="0" destOrd="0" parTransId="{721AA1EC-BA02-4A7D-A825-D77170442B54}" sibTransId="{45F64080-FE3F-44EB-8F5F-5BA1317FE2E6}"/>
    <dgm:cxn modelId="{2F5D2BEB-E3F0-42BF-80A4-5465F9851EA1}" type="presOf" srcId="{216C8CF1-D461-4D19-AB78-DCB2E6409D85}" destId="{22025250-04BC-4444-9685-440B1A87BD04}" srcOrd="0" destOrd="5" presId="urn:microsoft.com/office/officeart/2005/8/layout/hList1"/>
    <dgm:cxn modelId="{ADE30FEC-7A99-4A01-8286-03B0215CDD4A}" srcId="{6D76FC4D-448B-4648-9349-46C30885EEAB}" destId="{E09D3C56-5545-4BB7-8E7E-EDD07E3F0BB7}" srcOrd="2" destOrd="0" parTransId="{7002A040-5489-4B30-9128-F0C825668D3F}" sibTransId="{BA6EA68A-6FCF-4074-A06D-ECDD93092BFC}"/>
    <dgm:cxn modelId="{574E78EE-966B-4BFF-8FEA-909F84A1C462}" srcId="{AB8AF8F4-A175-427C-9352-75EF220107A3}" destId="{A08A0C98-39C0-46A4-813A-0E406608390D}" srcOrd="4" destOrd="0" parTransId="{FC23EC2E-8ED3-4329-B17F-08382B34D898}" sibTransId="{3D2CBA27-B15A-421E-AB35-D3FC20318481}"/>
    <dgm:cxn modelId="{827F92F2-6A5E-4279-979A-7003A9CA57CE}" type="presOf" srcId="{E55CBF97-FCE2-4983-9030-480AE9B7DA29}" destId="{C3CD6DC7-F381-404F-8B5C-C2F8B6485F65}" srcOrd="0" destOrd="3" presId="urn:microsoft.com/office/officeart/2005/8/layout/hList1"/>
    <dgm:cxn modelId="{19FC29F4-50DC-43A7-8073-E9A421F5FB9B}" type="presOf" srcId="{F982DFA9-4F5F-4B63-93AC-A3956612542B}" destId="{C3CD6DC7-F381-404F-8B5C-C2F8B6485F65}" srcOrd="0" destOrd="2" presId="urn:microsoft.com/office/officeart/2005/8/layout/hList1"/>
    <dgm:cxn modelId="{14CD4FF8-9DFB-430D-9C53-32526EA0B8E3}" srcId="{6D76FC4D-448B-4648-9349-46C30885EEAB}" destId="{D3899AF3-E548-4C64-AD57-14B7094CD586}" srcOrd="1" destOrd="0" parTransId="{929A446F-5317-4E71-B64F-CC7413D54FBC}" sibTransId="{6099827A-AE35-4B50-AC34-FDD887CD5B29}"/>
    <dgm:cxn modelId="{14397CFB-10E6-44F0-B535-6AF539F69992}" type="presOf" srcId="{C2A3C877-DFA1-4813-92E0-91895E5CDBF4}" destId="{08D67809-9A82-4B57-A7B7-8F4CCBCB444D}" srcOrd="0" destOrd="0" presId="urn:microsoft.com/office/officeart/2005/8/layout/hList1"/>
    <dgm:cxn modelId="{7B0DC2FB-C5B2-48A9-B419-549D7109F0CB}" type="presOf" srcId="{FA6145DF-5F8E-4F14-8CD0-B50AE0023A3F}" destId="{7BB28E64-3196-4F8F-958D-AE2BB427BAEE}" srcOrd="0" destOrd="6" presId="urn:microsoft.com/office/officeart/2005/8/layout/hList1"/>
    <dgm:cxn modelId="{729A59DC-B28D-44E7-B0FC-451AA66525FB}" type="presParOf" srcId="{5AC94CB5-9084-41E6-A079-A44838E37951}" destId="{3CF420FD-A8B3-4BBC-97A0-66D33E3C17E9}" srcOrd="0" destOrd="0" presId="urn:microsoft.com/office/officeart/2005/8/layout/hList1"/>
    <dgm:cxn modelId="{C6100060-3CBB-4979-8FB6-903DFD3665E3}" type="presParOf" srcId="{3CF420FD-A8B3-4BBC-97A0-66D33E3C17E9}" destId="{42C9C666-1A45-4CDF-9461-F3EBBA4BED88}" srcOrd="0" destOrd="0" presId="urn:microsoft.com/office/officeart/2005/8/layout/hList1"/>
    <dgm:cxn modelId="{2860FEF3-0E4D-42D6-B56B-7D4C4EFE5352}" type="presParOf" srcId="{3CF420FD-A8B3-4BBC-97A0-66D33E3C17E9}" destId="{C3CD6DC7-F381-404F-8B5C-C2F8B6485F65}" srcOrd="1" destOrd="0" presId="urn:microsoft.com/office/officeart/2005/8/layout/hList1"/>
    <dgm:cxn modelId="{DF46DA63-555D-4A56-AD39-0230AF59FED5}" type="presParOf" srcId="{5AC94CB5-9084-41E6-A079-A44838E37951}" destId="{F339B8DC-96A8-4991-A5D8-CEB5C9C8B247}" srcOrd="1" destOrd="0" presId="urn:microsoft.com/office/officeart/2005/8/layout/hList1"/>
    <dgm:cxn modelId="{A7B69255-6C18-4B9A-B707-2A674E2707B7}" type="presParOf" srcId="{5AC94CB5-9084-41E6-A079-A44838E37951}" destId="{8795F4D7-6CB8-4B12-ADEE-E65F9530A7C4}" srcOrd="2" destOrd="0" presId="urn:microsoft.com/office/officeart/2005/8/layout/hList1"/>
    <dgm:cxn modelId="{C936CC37-148C-4C6D-AAD3-BA9978F35AF9}" type="presParOf" srcId="{8795F4D7-6CB8-4B12-ADEE-E65F9530A7C4}" destId="{D11165D0-B430-4FB0-80A6-75A6721FE8F9}" srcOrd="0" destOrd="0" presId="urn:microsoft.com/office/officeart/2005/8/layout/hList1"/>
    <dgm:cxn modelId="{AB54E9A3-ADB8-4942-A420-CED418D294F1}" type="presParOf" srcId="{8795F4D7-6CB8-4B12-ADEE-E65F9530A7C4}" destId="{7BB28E64-3196-4F8F-958D-AE2BB427BAEE}" srcOrd="1" destOrd="0" presId="urn:microsoft.com/office/officeart/2005/8/layout/hList1"/>
    <dgm:cxn modelId="{53C1F15D-A12B-4C82-B219-B00299B92826}" type="presParOf" srcId="{5AC94CB5-9084-41E6-A079-A44838E37951}" destId="{75C6B0BF-5FE8-45E8-AA6D-563DEA3F1F06}" srcOrd="3" destOrd="0" presId="urn:microsoft.com/office/officeart/2005/8/layout/hList1"/>
    <dgm:cxn modelId="{C435A81C-447E-4249-B584-672F61791D07}" type="presParOf" srcId="{5AC94CB5-9084-41E6-A079-A44838E37951}" destId="{C01709D9-F3DF-4D11-8A2C-CC0AB9879F68}" srcOrd="4" destOrd="0" presId="urn:microsoft.com/office/officeart/2005/8/layout/hList1"/>
    <dgm:cxn modelId="{94740191-E9A7-44DE-AC8B-B885B0A64AC8}" type="presParOf" srcId="{C01709D9-F3DF-4D11-8A2C-CC0AB9879F68}" destId="{08D67809-9A82-4B57-A7B7-8F4CCBCB444D}" srcOrd="0" destOrd="0" presId="urn:microsoft.com/office/officeart/2005/8/layout/hList1"/>
    <dgm:cxn modelId="{085289C1-AF3B-4CF2-932C-7557E2A3546F}" type="presParOf" srcId="{C01709D9-F3DF-4D11-8A2C-CC0AB9879F68}" destId="{22341744-9225-4C0B-9C07-C35B0059A976}" srcOrd="1" destOrd="0" presId="urn:microsoft.com/office/officeart/2005/8/layout/hList1"/>
    <dgm:cxn modelId="{D99D425D-42BE-4A49-989D-E7C4E74C4725}" type="presParOf" srcId="{5AC94CB5-9084-41E6-A079-A44838E37951}" destId="{4E8774DE-977A-42C4-991B-0A2FF007B103}" srcOrd="5" destOrd="0" presId="urn:microsoft.com/office/officeart/2005/8/layout/hList1"/>
    <dgm:cxn modelId="{F746334E-0E4F-43B6-8C28-E495C7C0BCB9}" type="presParOf" srcId="{5AC94CB5-9084-41E6-A079-A44838E37951}" destId="{1AE2A57C-A42F-414F-8B2D-EC5B05D9DCAE}" srcOrd="6" destOrd="0" presId="urn:microsoft.com/office/officeart/2005/8/layout/hList1"/>
    <dgm:cxn modelId="{E685802B-48B3-49CE-AD9F-8C4EB0E83DB8}" type="presParOf" srcId="{1AE2A57C-A42F-414F-8B2D-EC5B05D9DCAE}" destId="{470DC0F6-07D0-4411-B83D-A339C8E8C147}" srcOrd="0" destOrd="0" presId="urn:microsoft.com/office/officeart/2005/8/layout/hList1"/>
    <dgm:cxn modelId="{F6BC15CB-CF86-4D61-9901-7E0C7FC8B230}" type="presParOf" srcId="{1AE2A57C-A42F-414F-8B2D-EC5B05D9DCAE}" destId="{F1600245-E775-4456-9E9A-A07E77B4F7ED}" srcOrd="1" destOrd="0" presId="urn:microsoft.com/office/officeart/2005/8/layout/hList1"/>
    <dgm:cxn modelId="{D2463E0D-E1BA-4857-9617-4880B2904546}" type="presParOf" srcId="{5AC94CB5-9084-41E6-A079-A44838E37951}" destId="{06A2C8A5-FB4D-4ECC-8E90-D0E90F5333E8}" srcOrd="7" destOrd="0" presId="urn:microsoft.com/office/officeart/2005/8/layout/hList1"/>
    <dgm:cxn modelId="{7177CB9B-AD8A-4C6E-85B1-4E7660F2A07A}" type="presParOf" srcId="{5AC94CB5-9084-41E6-A079-A44838E37951}" destId="{E1F9ADC5-E5F2-4E2E-906F-7456D1C3BB3C}" srcOrd="8" destOrd="0" presId="urn:microsoft.com/office/officeart/2005/8/layout/hList1"/>
    <dgm:cxn modelId="{148288AB-877D-4A18-8499-C7556B4AC308}" type="presParOf" srcId="{E1F9ADC5-E5F2-4E2E-906F-7456D1C3BB3C}" destId="{6B137513-2567-4838-8474-362713E51B37}" srcOrd="0" destOrd="0" presId="urn:microsoft.com/office/officeart/2005/8/layout/hList1"/>
    <dgm:cxn modelId="{770D04D8-8CEF-4CFB-BB25-0B38F7F34ED1}" type="presParOf" srcId="{E1F9ADC5-E5F2-4E2E-906F-7456D1C3BB3C}" destId="{22025250-04BC-4444-9685-440B1A87BD04}" srcOrd="1" destOrd="0" presId="urn:microsoft.com/office/officeart/2005/8/layout/hList1"/>
    <dgm:cxn modelId="{ACAF431C-BDC0-4DAF-A172-659D92DA1251}" type="presParOf" srcId="{5AC94CB5-9084-41E6-A079-A44838E37951}" destId="{DBC63889-1D9B-4AAC-9AB0-8F7470D9990F}" srcOrd="9" destOrd="0" presId="urn:microsoft.com/office/officeart/2005/8/layout/hList1"/>
    <dgm:cxn modelId="{06DAE813-2C76-4A04-BCDF-9DD8BD995283}" type="presParOf" srcId="{5AC94CB5-9084-41E6-A079-A44838E37951}" destId="{DC8F4995-4AD0-4E8E-B7D0-F02467D4011E}" srcOrd="10" destOrd="0" presId="urn:microsoft.com/office/officeart/2005/8/layout/hList1"/>
    <dgm:cxn modelId="{3A117415-87B9-4605-899E-B6E337961E48}" type="presParOf" srcId="{DC8F4995-4AD0-4E8E-B7D0-F02467D4011E}" destId="{0249A14D-B322-4D93-ABFA-C2BE9019F488}" srcOrd="0" destOrd="0" presId="urn:microsoft.com/office/officeart/2005/8/layout/hList1"/>
    <dgm:cxn modelId="{2800A2E5-E326-44E4-AD8C-06932FFAE863}" type="presParOf" srcId="{DC8F4995-4AD0-4E8E-B7D0-F02467D4011E}" destId="{BD46FC2E-3C38-4E9A-B592-5171856E1CD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46CB34-FE98-4FE4-B3B7-7694B22721DC}">
      <dsp:nvSpPr>
        <dsp:cNvPr id="0" name=""/>
        <dsp:cNvSpPr/>
      </dsp:nvSpPr>
      <dsp:spPr>
        <a:xfrm>
          <a:off x="2682" y="0"/>
          <a:ext cx="2632579" cy="4609673"/>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Privileged access, secrets management &amp; network isolation</a:t>
          </a:r>
        </a:p>
      </dsp:txBody>
      <dsp:txXfrm>
        <a:off x="2682" y="0"/>
        <a:ext cx="2632579" cy="1382901"/>
      </dsp:txXfrm>
    </dsp:sp>
    <dsp:sp modelId="{955649A4-A1DE-42B2-B133-7D03A33B6DE4}">
      <dsp:nvSpPr>
        <dsp:cNvPr id="0" name=""/>
        <dsp:cNvSpPr/>
      </dsp:nvSpPr>
      <dsp:spPr>
        <a:xfrm>
          <a:off x="265940" y="1383014"/>
          <a:ext cx="2106063" cy="671531"/>
        </a:xfrm>
        <a:prstGeom prst="roundRect">
          <a:avLst>
            <a:gd name="adj" fmla="val 10000"/>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t>Azure </a:t>
          </a:r>
          <a:r>
            <a:rPr lang="en-US" sz="1000" kern="1200" err="1"/>
            <a:t>KeyVault</a:t>
          </a:r>
          <a:endParaRPr lang="en-US" sz="1000" kern="1200"/>
        </a:p>
      </dsp:txBody>
      <dsp:txXfrm>
        <a:off x="285608" y="1402682"/>
        <a:ext cx="2066727" cy="632195"/>
      </dsp:txXfrm>
    </dsp:sp>
    <dsp:sp modelId="{B66A4224-C9D9-4455-B443-C5C154BB4E0D}">
      <dsp:nvSpPr>
        <dsp:cNvPr id="0" name=""/>
        <dsp:cNvSpPr/>
      </dsp:nvSpPr>
      <dsp:spPr>
        <a:xfrm>
          <a:off x="265940" y="2157858"/>
          <a:ext cx="2106063" cy="671531"/>
        </a:xfrm>
        <a:prstGeom prst="roundRect">
          <a:avLst>
            <a:gd name="adj" fmla="val 10000"/>
          </a:avLst>
        </a:prstGeom>
        <a:solidFill>
          <a:schemeClr val="accent3">
            <a:hueOff val="523057"/>
            <a:satOff val="-1442"/>
            <a:lumOff val="57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cs typeface="Segoe UI"/>
            </a:rPr>
            <a:t>JIT Access</a:t>
          </a:r>
          <a:endParaRPr lang="en-US" sz="1000" kern="1200"/>
        </a:p>
      </dsp:txBody>
      <dsp:txXfrm>
        <a:off x="285608" y="2177526"/>
        <a:ext cx="2066727" cy="632195"/>
      </dsp:txXfrm>
    </dsp:sp>
    <dsp:sp modelId="{0771C796-D0CF-4C02-9326-B3006978195D}">
      <dsp:nvSpPr>
        <dsp:cNvPr id="0" name=""/>
        <dsp:cNvSpPr/>
      </dsp:nvSpPr>
      <dsp:spPr>
        <a:xfrm>
          <a:off x="265940" y="2932701"/>
          <a:ext cx="2106063" cy="671531"/>
        </a:xfrm>
        <a:prstGeom prst="roundRect">
          <a:avLst>
            <a:gd name="adj" fmla="val 10000"/>
          </a:avLst>
        </a:prstGeom>
        <a:solidFill>
          <a:schemeClr val="accent3">
            <a:hueOff val="1046114"/>
            <a:satOff val="-2884"/>
            <a:lumOff val="115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cs typeface="Segoe UI"/>
            </a:rPr>
            <a:t>AKS Azure RBAC</a:t>
          </a:r>
          <a:endParaRPr lang="en-US" sz="1000" kern="1200"/>
        </a:p>
      </dsp:txBody>
      <dsp:txXfrm>
        <a:off x="285608" y="2952369"/>
        <a:ext cx="2066727" cy="632195"/>
      </dsp:txXfrm>
    </dsp:sp>
    <dsp:sp modelId="{B77E7A94-2925-468E-9790-8EE96C66448E}">
      <dsp:nvSpPr>
        <dsp:cNvPr id="0" name=""/>
        <dsp:cNvSpPr/>
      </dsp:nvSpPr>
      <dsp:spPr>
        <a:xfrm>
          <a:off x="265940" y="3707545"/>
          <a:ext cx="2106063" cy="671531"/>
        </a:xfrm>
        <a:prstGeom prst="roundRect">
          <a:avLst>
            <a:gd name="adj" fmla="val 10000"/>
          </a:avLst>
        </a:prstGeom>
        <a:solidFill>
          <a:schemeClr val="accent3">
            <a:hueOff val="1569172"/>
            <a:satOff val="-4326"/>
            <a:lumOff val="173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err="1"/>
            <a:t>Hashicorp</a:t>
          </a:r>
          <a:r>
            <a:rPr lang="en-US" sz="1000" kern="1200"/>
            <a:t> Vault</a:t>
          </a:r>
          <a:endParaRPr lang="en-US" sz="1000" kern="1200">
            <a:cs typeface="Segoe UI"/>
          </a:endParaRPr>
        </a:p>
      </dsp:txBody>
      <dsp:txXfrm>
        <a:off x="285608" y="3727213"/>
        <a:ext cx="2066727" cy="632195"/>
      </dsp:txXfrm>
    </dsp:sp>
    <dsp:sp modelId="{323BD091-2807-451B-959A-5E4C1748EB34}">
      <dsp:nvSpPr>
        <dsp:cNvPr id="0" name=""/>
        <dsp:cNvSpPr/>
      </dsp:nvSpPr>
      <dsp:spPr>
        <a:xfrm>
          <a:off x="2832705" y="0"/>
          <a:ext cx="2632579" cy="4609673"/>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IN" sz="2100" kern="1200">
              <a:latin typeface="Calibri"/>
              <a:cs typeface="Calibri"/>
            </a:rPr>
            <a:t>Application, Infrastructure and Data Protection </a:t>
          </a:r>
          <a:endParaRPr lang="en-US" sz="2100" kern="1200"/>
        </a:p>
      </dsp:txBody>
      <dsp:txXfrm>
        <a:off x="2832705" y="0"/>
        <a:ext cx="2632579" cy="1382901"/>
      </dsp:txXfrm>
    </dsp:sp>
    <dsp:sp modelId="{68E2A7E0-C302-4B3C-847D-BF0FD9BF24D3}">
      <dsp:nvSpPr>
        <dsp:cNvPr id="0" name=""/>
        <dsp:cNvSpPr/>
      </dsp:nvSpPr>
      <dsp:spPr>
        <a:xfrm>
          <a:off x="3095963" y="1385715"/>
          <a:ext cx="2106063" cy="377461"/>
        </a:xfrm>
        <a:prstGeom prst="roundRect">
          <a:avLst>
            <a:gd name="adj" fmla="val 10000"/>
          </a:avLst>
        </a:prstGeom>
        <a:solidFill>
          <a:schemeClr val="accent3">
            <a:hueOff val="2092229"/>
            <a:satOff val="-5768"/>
            <a:lumOff val="23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t>Azure Application Gateway WAF</a:t>
          </a:r>
        </a:p>
      </dsp:txBody>
      <dsp:txXfrm>
        <a:off x="3107018" y="1396770"/>
        <a:ext cx="2083953" cy="355351"/>
      </dsp:txXfrm>
    </dsp:sp>
    <dsp:sp modelId="{B25BB084-9001-469E-9D20-30903ED7FC4C}">
      <dsp:nvSpPr>
        <dsp:cNvPr id="0" name=""/>
        <dsp:cNvSpPr/>
      </dsp:nvSpPr>
      <dsp:spPr>
        <a:xfrm>
          <a:off x="3095963" y="1821248"/>
          <a:ext cx="2106063" cy="377461"/>
        </a:xfrm>
        <a:prstGeom prst="roundRect">
          <a:avLst>
            <a:gd name="adj" fmla="val 10000"/>
          </a:avLst>
        </a:prstGeom>
        <a:solidFill>
          <a:schemeClr val="accent3">
            <a:hueOff val="2615286"/>
            <a:satOff val="-7210"/>
            <a:lumOff val="288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cs typeface="Segoe UI"/>
            </a:rPr>
            <a:t>Azure Firewall</a:t>
          </a:r>
        </a:p>
      </dsp:txBody>
      <dsp:txXfrm>
        <a:off x="3107018" y="1832303"/>
        <a:ext cx="2083953" cy="355351"/>
      </dsp:txXfrm>
    </dsp:sp>
    <dsp:sp modelId="{E1843C76-E1E9-45C0-92EF-38C91282C3D8}">
      <dsp:nvSpPr>
        <dsp:cNvPr id="0" name=""/>
        <dsp:cNvSpPr/>
      </dsp:nvSpPr>
      <dsp:spPr>
        <a:xfrm>
          <a:off x="3095963" y="2256781"/>
          <a:ext cx="2106063" cy="377461"/>
        </a:xfrm>
        <a:prstGeom prst="roundRect">
          <a:avLst>
            <a:gd name="adj" fmla="val 10000"/>
          </a:avLst>
        </a:prstGeom>
        <a:solidFill>
          <a:schemeClr val="accent3">
            <a:hueOff val="3138343"/>
            <a:satOff val="-8652"/>
            <a:lumOff val="346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cs typeface="Segoe UI"/>
            </a:rPr>
            <a:t>Azure Policy</a:t>
          </a:r>
          <a:endParaRPr lang="en-US" sz="1000" kern="1200"/>
        </a:p>
      </dsp:txBody>
      <dsp:txXfrm>
        <a:off x="3107018" y="2267836"/>
        <a:ext cx="2083953" cy="355351"/>
      </dsp:txXfrm>
    </dsp:sp>
    <dsp:sp modelId="{265DBF38-27F9-4273-9735-2FD1B60E28A7}">
      <dsp:nvSpPr>
        <dsp:cNvPr id="0" name=""/>
        <dsp:cNvSpPr/>
      </dsp:nvSpPr>
      <dsp:spPr>
        <a:xfrm>
          <a:off x="3095963" y="2692314"/>
          <a:ext cx="2106063" cy="377461"/>
        </a:xfrm>
        <a:prstGeom prst="roundRect">
          <a:avLst>
            <a:gd name="adj" fmla="val 10000"/>
          </a:avLst>
        </a:prstGeom>
        <a:solidFill>
          <a:schemeClr val="accent3">
            <a:hueOff val="3661400"/>
            <a:satOff val="-10094"/>
            <a:lumOff val="403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cs typeface="Segoe UI"/>
            </a:rPr>
            <a:t>ASE</a:t>
          </a:r>
          <a:endParaRPr lang="en-US" sz="1000" kern="1200"/>
        </a:p>
      </dsp:txBody>
      <dsp:txXfrm>
        <a:off x="3107018" y="2703369"/>
        <a:ext cx="2083953" cy="355351"/>
      </dsp:txXfrm>
    </dsp:sp>
    <dsp:sp modelId="{63D219D2-784D-4EC3-8502-4F0CA15C29DD}">
      <dsp:nvSpPr>
        <dsp:cNvPr id="0" name=""/>
        <dsp:cNvSpPr/>
      </dsp:nvSpPr>
      <dsp:spPr>
        <a:xfrm>
          <a:off x="3095963" y="3127847"/>
          <a:ext cx="2106063" cy="377461"/>
        </a:xfrm>
        <a:prstGeom prst="roundRect">
          <a:avLst>
            <a:gd name="adj" fmla="val 10000"/>
          </a:avLst>
        </a:prstGeom>
        <a:solidFill>
          <a:schemeClr val="accent3">
            <a:hueOff val="4184457"/>
            <a:satOff val="-11536"/>
            <a:lumOff val="461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cs typeface="Segoe UI"/>
            </a:rPr>
            <a:t>Cloudflare WAF &amp; </a:t>
          </a:r>
          <a:r>
            <a:rPr lang="en-US" sz="1000" kern="1200" err="1">
              <a:cs typeface="Segoe UI"/>
            </a:rPr>
            <a:t>DDoSProtection</a:t>
          </a:r>
          <a:endParaRPr lang="en-US" sz="1000" kern="1200">
            <a:cs typeface="Segoe UI"/>
          </a:endParaRPr>
        </a:p>
      </dsp:txBody>
      <dsp:txXfrm>
        <a:off x="3107018" y="3138902"/>
        <a:ext cx="2083953" cy="355351"/>
      </dsp:txXfrm>
    </dsp:sp>
    <dsp:sp modelId="{B2917DDA-5721-4D2A-BBFA-E26F2DE14C6F}">
      <dsp:nvSpPr>
        <dsp:cNvPr id="0" name=""/>
        <dsp:cNvSpPr/>
      </dsp:nvSpPr>
      <dsp:spPr>
        <a:xfrm>
          <a:off x="3095963" y="3563380"/>
          <a:ext cx="2106063" cy="377461"/>
        </a:xfrm>
        <a:prstGeom prst="roundRect">
          <a:avLst>
            <a:gd name="adj" fmla="val 10000"/>
          </a:avLst>
        </a:prstGeom>
        <a:solidFill>
          <a:schemeClr val="accent3">
            <a:hueOff val="4707514"/>
            <a:satOff val="-12979"/>
            <a:lumOff val="519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err="1"/>
            <a:t>Jscrambler</a:t>
          </a:r>
          <a:endParaRPr lang="en-US" sz="1000" kern="1200">
            <a:cs typeface="Segoe UI"/>
          </a:endParaRPr>
        </a:p>
      </dsp:txBody>
      <dsp:txXfrm>
        <a:off x="3107018" y="3574435"/>
        <a:ext cx="2083953" cy="355351"/>
      </dsp:txXfrm>
    </dsp:sp>
    <dsp:sp modelId="{82076843-F1C3-46CB-8A17-23E0099BD520}">
      <dsp:nvSpPr>
        <dsp:cNvPr id="0" name=""/>
        <dsp:cNvSpPr/>
      </dsp:nvSpPr>
      <dsp:spPr>
        <a:xfrm>
          <a:off x="3095963" y="3998913"/>
          <a:ext cx="2106063" cy="377461"/>
        </a:xfrm>
        <a:prstGeom prst="roundRect">
          <a:avLst>
            <a:gd name="adj" fmla="val 10000"/>
          </a:avLst>
        </a:prstGeom>
        <a:solidFill>
          <a:schemeClr val="accent3">
            <a:hueOff val="5230572"/>
            <a:satOff val="-14421"/>
            <a:lumOff val="576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err="1"/>
            <a:t>Hdiv</a:t>
          </a:r>
          <a:endParaRPr lang="en-US" sz="1000" kern="1200">
            <a:cs typeface="Segoe UI"/>
          </a:endParaRPr>
        </a:p>
      </dsp:txBody>
      <dsp:txXfrm>
        <a:off x="3107018" y="4009968"/>
        <a:ext cx="2083953" cy="355351"/>
      </dsp:txXfrm>
    </dsp:sp>
    <dsp:sp modelId="{781427A0-0F1C-4448-B5D0-FAFB6DE14F90}">
      <dsp:nvSpPr>
        <dsp:cNvPr id="0" name=""/>
        <dsp:cNvSpPr/>
      </dsp:nvSpPr>
      <dsp:spPr>
        <a:xfrm>
          <a:off x="5662727" y="0"/>
          <a:ext cx="2632579" cy="4609673"/>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IN" sz="2100" kern="1200"/>
            <a:t>Vulnerability Scanning</a:t>
          </a:r>
          <a:endParaRPr lang="en-US" sz="2100" kern="1200">
            <a:cs typeface="Segoe UI"/>
          </a:endParaRPr>
        </a:p>
      </dsp:txBody>
      <dsp:txXfrm>
        <a:off x="5662727" y="0"/>
        <a:ext cx="2632579" cy="1382901"/>
      </dsp:txXfrm>
    </dsp:sp>
    <dsp:sp modelId="{05CB1D8A-0CBC-46DD-95A9-A53D901DB72B}">
      <dsp:nvSpPr>
        <dsp:cNvPr id="0" name=""/>
        <dsp:cNvSpPr/>
      </dsp:nvSpPr>
      <dsp:spPr>
        <a:xfrm>
          <a:off x="5925985" y="1383014"/>
          <a:ext cx="2106063" cy="671531"/>
        </a:xfrm>
        <a:prstGeom prst="roundRect">
          <a:avLst>
            <a:gd name="adj" fmla="val 10000"/>
          </a:avLst>
        </a:prstGeom>
        <a:solidFill>
          <a:schemeClr val="accent3">
            <a:hueOff val="5753629"/>
            <a:satOff val="-15863"/>
            <a:lumOff val="634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t>Azure Defender</a:t>
          </a:r>
          <a:endParaRPr lang="en-US" sz="1000" kern="1200">
            <a:cs typeface="Segoe UI"/>
          </a:endParaRPr>
        </a:p>
      </dsp:txBody>
      <dsp:txXfrm>
        <a:off x="5945653" y="1402682"/>
        <a:ext cx="2066727" cy="632195"/>
      </dsp:txXfrm>
    </dsp:sp>
    <dsp:sp modelId="{1E464789-E15C-45DA-A267-B3B66E060533}">
      <dsp:nvSpPr>
        <dsp:cNvPr id="0" name=""/>
        <dsp:cNvSpPr/>
      </dsp:nvSpPr>
      <dsp:spPr>
        <a:xfrm>
          <a:off x="5925985" y="2157858"/>
          <a:ext cx="2106063" cy="671531"/>
        </a:xfrm>
        <a:prstGeom prst="roundRect">
          <a:avLst>
            <a:gd name="adj" fmla="val 10000"/>
          </a:avLst>
        </a:prstGeom>
        <a:solidFill>
          <a:schemeClr val="accent3">
            <a:hueOff val="6276686"/>
            <a:satOff val="-17305"/>
            <a:lumOff val="692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t>Qualys</a:t>
          </a:r>
        </a:p>
      </dsp:txBody>
      <dsp:txXfrm>
        <a:off x="5945653" y="2177526"/>
        <a:ext cx="2066727" cy="632195"/>
      </dsp:txXfrm>
    </dsp:sp>
    <dsp:sp modelId="{623767CF-FA82-49B9-AE64-27C6C39B3DA2}">
      <dsp:nvSpPr>
        <dsp:cNvPr id="0" name=""/>
        <dsp:cNvSpPr/>
      </dsp:nvSpPr>
      <dsp:spPr>
        <a:xfrm>
          <a:off x="5925985" y="2932701"/>
          <a:ext cx="2106063" cy="671531"/>
        </a:xfrm>
        <a:prstGeom prst="roundRect">
          <a:avLst>
            <a:gd name="adj" fmla="val 10000"/>
          </a:avLst>
        </a:prstGeom>
        <a:solidFill>
          <a:schemeClr val="accent3">
            <a:hueOff val="6799743"/>
            <a:satOff val="-18747"/>
            <a:lumOff val="749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t>Nessus</a:t>
          </a:r>
        </a:p>
      </dsp:txBody>
      <dsp:txXfrm>
        <a:off x="5945653" y="2952369"/>
        <a:ext cx="2066727" cy="632195"/>
      </dsp:txXfrm>
    </dsp:sp>
    <dsp:sp modelId="{20CC7913-2425-4E0D-B4E1-A53030551462}">
      <dsp:nvSpPr>
        <dsp:cNvPr id="0" name=""/>
        <dsp:cNvSpPr/>
      </dsp:nvSpPr>
      <dsp:spPr>
        <a:xfrm>
          <a:off x="5925985" y="3707545"/>
          <a:ext cx="2106063" cy="671531"/>
        </a:xfrm>
        <a:prstGeom prst="roundRect">
          <a:avLst>
            <a:gd name="adj" fmla="val 10000"/>
          </a:avLst>
        </a:prstGeom>
        <a:solidFill>
          <a:schemeClr val="accent3">
            <a:hueOff val="7322800"/>
            <a:satOff val="-20189"/>
            <a:lumOff val="807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t>Rapid7</a:t>
          </a:r>
        </a:p>
      </dsp:txBody>
      <dsp:txXfrm>
        <a:off x="5945653" y="3727213"/>
        <a:ext cx="2066727" cy="632195"/>
      </dsp:txXfrm>
    </dsp:sp>
    <dsp:sp modelId="{F0F054A9-D314-4F96-92F6-D359A4F57D11}">
      <dsp:nvSpPr>
        <dsp:cNvPr id="0" name=""/>
        <dsp:cNvSpPr/>
      </dsp:nvSpPr>
      <dsp:spPr>
        <a:xfrm>
          <a:off x="8492750" y="0"/>
          <a:ext cx="2632579" cy="4609673"/>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IN" sz="2100" kern="1200"/>
            <a:t>Continuous monitoring &amp; Incident Response</a:t>
          </a:r>
          <a:endParaRPr lang="en-US" sz="2100" kern="1200"/>
        </a:p>
      </dsp:txBody>
      <dsp:txXfrm>
        <a:off x="8492750" y="0"/>
        <a:ext cx="2632579" cy="1382901"/>
      </dsp:txXfrm>
    </dsp:sp>
    <dsp:sp modelId="{0BD005AA-E3EA-4809-BD3C-E71D4BE2639E}">
      <dsp:nvSpPr>
        <dsp:cNvPr id="0" name=""/>
        <dsp:cNvSpPr/>
      </dsp:nvSpPr>
      <dsp:spPr>
        <a:xfrm>
          <a:off x="8756008" y="1383295"/>
          <a:ext cx="2106063" cy="905616"/>
        </a:xfrm>
        <a:prstGeom prst="roundRect">
          <a:avLst>
            <a:gd name="adj" fmla="val 10000"/>
          </a:avLst>
        </a:prstGeom>
        <a:solidFill>
          <a:schemeClr val="accent3">
            <a:hueOff val="7845857"/>
            <a:satOff val="-21631"/>
            <a:lumOff val="865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t>Azure Monitor</a:t>
          </a:r>
        </a:p>
      </dsp:txBody>
      <dsp:txXfrm>
        <a:off x="8782533" y="1409820"/>
        <a:ext cx="2053013" cy="852566"/>
      </dsp:txXfrm>
    </dsp:sp>
    <dsp:sp modelId="{1E5D8FFF-796F-41A2-ABA4-5A0D9C247486}">
      <dsp:nvSpPr>
        <dsp:cNvPr id="0" name=""/>
        <dsp:cNvSpPr/>
      </dsp:nvSpPr>
      <dsp:spPr>
        <a:xfrm>
          <a:off x="8756008" y="2428237"/>
          <a:ext cx="2106063" cy="905616"/>
        </a:xfrm>
        <a:prstGeom prst="roundRect">
          <a:avLst>
            <a:gd name="adj" fmla="val 10000"/>
          </a:avLst>
        </a:prstGeom>
        <a:solidFill>
          <a:schemeClr val="accent3">
            <a:hueOff val="8368914"/>
            <a:satOff val="-23073"/>
            <a:lumOff val="922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t>Azure Security Center</a:t>
          </a:r>
        </a:p>
      </dsp:txBody>
      <dsp:txXfrm>
        <a:off x="8782533" y="2454762"/>
        <a:ext cx="2053013" cy="852566"/>
      </dsp:txXfrm>
    </dsp:sp>
    <dsp:sp modelId="{02037A6D-EAD8-4231-981A-75DA68D81D14}">
      <dsp:nvSpPr>
        <dsp:cNvPr id="0" name=""/>
        <dsp:cNvSpPr/>
      </dsp:nvSpPr>
      <dsp:spPr>
        <a:xfrm>
          <a:off x="8756008" y="3473179"/>
          <a:ext cx="2106063" cy="905616"/>
        </a:xfrm>
        <a:prstGeom prst="roundRect">
          <a:avLst>
            <a:gd name="adj" fmla="val 10000"/>
          </a:avLst>
        </a:prstGeom>
        <a:solidFill>
          <a:schemeClr val="accent3">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a:t>Azure Sentinel</a:t>
          </a:r>
        </a:p>
      </dsp:txBody>
      <dsp:txXfrm>
        <a:off x="8782533" y="3499704"/>
        <a:ext cx="2053013" cy="8525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6024FE-4092-4F52-9404-A623C51B1DED}">
      <dsp:nvSpPr>
        <dsp:cNvPr id="0" name=""/>
        <dsp:cNvSpPr/>
      </dsp:nvSpPr>
      <dsp:spPr>
        <a:xfrm>
          <a:off x="4264" y="138857"/>
          <a:ext cx="2564473" cy="753406"/>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a:t>Privileged access, secrets management &amp; network isolation</a:t>
          </a:r>
        </a:p>
      </dsp:txBody>
      <dsp:txXfrm>
        <a:off x="4264" y="138857"/>
        <a:ext cx="2564473" cy="753406"/>
      </dsp:txXfrm>
    </dsp:sp>
    <dsp:sp modelId="{C8FD5AEB-76D1-4EDF-823D-7AD8CCE97188}">
      <dsp:nvSpPr>
        <dsp:cNvPr id="0" name=""/>
        <dsp:cNvSpPr/>
      </dsp:nvSpPr>
      <dsp:spPr>
        <a:xfrm>
          <a:off x="4264" y="892263"/>
          <a:ext cx="2564473" cy="4035149"/>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US" sz="1400" kern="1200">
              <a:latin typeface="Segoe UI Light"/>
            </a:rPr>
            <a:t>Clear seggregation of DMZ</a:t>
          </a:r>
          <a:endParaRPr lang="en-US" sz="1400" kern="1200"/>
        </a:p>
        <a:p>
          <a:pPr marL="114300" lvl="1" indent="-114300" algn="l" defTabSz="622300">
            <a:lnSpc>
              <a:spcPct val="90000"/>
            </a:lnSpc>
            <a:spcBef>
              <a:spcPct val="0"/>
            </a:spcBef>
            <a:spcAft>
              <a:spcPct val="15000"/>
            </a:spcAft>
            <a:buChar char="•"/>
          </a:pPr>
          <a:r>
            <a:rPr lang="en-US" sz="1400" kern="1200"/>
            <a:t>POLP for the users and roles to login the servers </a:t>
          </a:r>
        </a:p>
        <a:p>
          <a:pPr marL="114300" lvl="1" indent="-114300" algn="l" defTabSz="622300">
            <a:lnSpc>
              <a:spcPct val="90000"/>
            </a:lnSpc>
            <a:spcBef>
              <a:spcPct val="0"/>
            </a:spcBef>
            <a:spcAft>
              <a:spcPct val="15000"/>
            </a:spcAft>
            <a:buChar char="•"/>
          </a:pPr>
          <a:r>
            <a:rPr lang="en-US" sz="1400" kern="1200"/>
            <a:t>POLP for service access</a:t>
          </a:r>
        </a:p>
        <a:p>
          <a:pPr marL="114300" lvl="1" indent="-114300" algn="l" defTabSz="622300" rtl="0">
            <a:lnSpc>
              <a:spcPct val="90000"/>
            </a:lnSpc>
            <a:spcBef>
              <a:spcPct val="0"/>
            </a:spcBef>
            <a:spcAft>
              <a:spcPct val="15000"/>
            </a:spcAft>
            <a:buChar char="•"/>
          </a:pPr>
          <a:r>
            <a:rPr lang="en-US" sz="1400" kern="1200"/>
            <a:t>Vault or secrets manager</a:t>
          </a:r>
          <a:r>
            <a:rPr lang="en-US" sz="1400" kern="1200">
              <a:latin typeface="Segoe UI Light"/>
            </a:rPr>
            <a:t> to store secrets</a:t>
          </a:r>
          <a:endParaRPr lang="en-US" sz="1400" kern="1200"/>
        </a:p>
        <a:p>
          <a:pPr marL="114300" lvl="1" indent="-114300" algn="l" defTabSz="622300">
            <a:lnSpc>
              <a:spcPct val="90000"/>
            </a:lnSpc>
            <a:spcBef>
              <a:spcPct val="0"/>
            </a:spcBef>
            <a:spcAft>
              <a:spcPct val="15000"/>
            </a:spcAft>
            <a:buChar char="•"/>
          </a:pPr>
          <a:r>
            <a:rPr lang="en-US" sz="1400" kern="1200"/>
            <a:t>Periodic Secrets Rotation </a:t>
          </a:r>
        </a:p>
      </dsp:txBody>
      <dsp:txXfrm>
        <a:off x="4264" y="892263"/>
        <a:ext cx="2564473" cy="4035149"/>
      </dsp:txXfrm>
    </dsp:sp>
    <dsp:sp modelId="{A77CAFF2-FBFE-4413-A034-0B3F9B62979F}">
      <dsp:nvSpPr>
        <dsp:cNvPr id="0" name=""/>
        <dsp:cNvSpPr/>
      </dsp:nvSpPr>
      <dsp:spPr>
        <a:xfrm>
          <a:off x="2927764" y="138857"/>
          <a:ext cx="2564473" cy="753406"/>
        </a:xfrm>
        <a:prstGeom prst="rect">
          <a:avLst/>
        </a:prstGeom>
        <a:solidFill>
          <a:schemeClr val="accent3">
            <a:hueOff val="2963990"/>
            <a:satOff val="-8172"/>
            <a:lumOff val="3268"/>
            <a:alphaOff val="0"/>
          </a:schemeClr>
        </a:solidFill>
        <a:ln w="10795" cap="flat" cmpd="sng" algn="ctr">
          <a:solidFill>
            <a:schemeClr val="accent3">
              <a:hueOff val="2963990"/>
              <a:satOff val="-8172"/>
              <a:lumOff val="326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IN" sz="1400" kern="1200">
              <a:latin typeface="Calibri"/>
              <a:cs typeface="Calibri"/>
            </a:rPr>
            <a:t>Application, Infrastructure and Data Protection </a:t>
          </a:r>
          <a:endParaRPr lang="en-US" sz="1400" kern="1200"/>
        </a:p>
      </dsp:txBody>
      <dsp:txXfrm>
        <a:off x="2927764" y="138857"/>
        <a:ext cx="2564473" cy="753406"/>
      </dsp:txXfrm>
    </dsp:sp>
    <dsp:sp modelId="{334366E0-2921-4380-928C-89B5DADD69E2}">
      <dsp:nvSpPr>
        <dsp:cNvPr id="0" name=""/>
        <dsp:cNvSpPr/>
      </dsp:nvSpPr>
      <dsp:spPr>
        <a:xfrm>
          <a:off x="2927764" y="892263"/>
          <a:ext cx="2564473" cy="4035149"/>
        </a:xfrm>
        <a:prstGeom prst="rect">
          <a:avLst/>
        </a:prstGeom>
        <a:solidFill>
          <a:schemeClr val="accent3">
            <a:tint val="40000"/>
            <a:alpha val="90000"/>
            <a:hueOff val="2789216"/>
            <a:satOff val="1553"/>
            <a:lumOff val="378"/>
            <a:alphaOff val="0"/>
          </a:schemeClr>
        </a:solidFill>
        <a:ln w="10795" cap="flat" cmpd="sng" algn="ctr">
          <a:solidFill>
            <a:schemeClr val="accent3">
              <a:tint val="40000"/>
              <a:alpha val="90000"/>
              <a:hueOff val="2789216"/>
              <a:satOff val="1553"/>
              <a:lumOff val="37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US" sz="1400" kern="1200"/>
            <a:t>Protection from a variety of risks including OWASP’s top 10 vulnerabilities, injections</a:t>
          </a:r>
          <a:r>
            <a:rPr lang="en-US" sz="1400" kern="1200">
              <a:latin typeface="Segoe UI Light"/>
            </a:rPr>
            <a:t> etc..</a:t>
          </a:r>
          <a:r>
            <a:rPr lang="en-US" sz="1400" kern="1200"/>
            <a:t> </a:t>
          </a:r>
          <a:r>
            <a:rPr lang="en-US" sz="1400" kern="1200">
              <a:latin typeface="Segoe UI Light"/>
            </a:rPr>
            <a:t>using</a:t>
          </a:r>
          <a:r>
            <a:rPr lang="en-US" sz="1400" kern="1200"/>
            <a:t> necessary rules in web application firewalls </a:t>
          </a:r>
        </a:p>
        <a:p>
          <a:pPr marL="114300" lvl="1" indent="-114300" algn="l" defTabSz="622300">
            <a:lnSpc>
              <a:spcPct val="90000"/>
            </a:lnSpc>
            <a:spcBef>
              <a:spcPct val="0"/>
            </a:spcBef>
            <a:spcAft>
              <a:spcPct val="15000"/>
            </a:spcAft>
            <a:buChar char="•"/>
          </a:pPr>
          <a:r>
            <a:rPr lang="en-US" sz="1400" kern="1200"/>
            <a:t>Centralized Authentication Control</a:t>
          </a:r>
        </a:p>
        <a:p>
          <a:pPr marL="114300" lvl="1" indent="-114300" algn="l" defTabSz="622300">
            <a:lnSpc>
              <a:spcPct val="90000"/>
            </a:lnSpc>
            <a:spcBef>
              <a:spcPct val="0"/>
            </a:spcBef>
            <a:spcAft>
              <a:spcPct val="15000"/>
            </a:spcAft>
            <a:buChar char="•"/>
          </a:pPr>
          <a:r>
            <a:rPr lang="en-US" sz="1400" kern="1200">
              <a:latin typeface="Segoe UI Light"/>
            </a:rPr>
            <a:t>Organization</a:t>
          </a:r>
          <a:r>
            <a:rPr lang="en-US" sz="1400" kern="1200"/>
            <a:t> level security governance policies</a:t>
          </a:r>
        </a:p>
        <a:p>
          <a:pPr marL="114300" lvl="1" indent="-114300" algn="l" defTabSz="622300">
            <a:lnSpc>
              <a:spcPct val="90000"/>
            </a:lnSpc>
            <a:spcBef>
              <a:spcPct val="0"/>
            </a:spcBef>
            <a:spcAft>
              <a:spcPct val="15000"/>
            </a:spcAft>
            <a:buChar char="•"/>
          </a:pPr>
          <a:r>
            <a:rPr lang="en-US" sz="1400" kern="1200"/>
            <a:t>"Deny All" as default policy</a:t>
          </a:r>
        </a:p>
        <a:p>
          <a:pPr marL="114300" lvl="1" indent="-114300" algn="l" defTabSz="622300">
            <a:lnSpc>
              <a:spcPct val="90000"/>
            </a:lnSpc>
            <a:spcBef>
              <a:spcPct val="0"/>
            </a:spcBef>
            <a:spcAft>
              <a:spcPct val="15000"/>
            </a:spcAft>
            <a:buChar char="•"/>
          </a:pPr>
          <a:r>
            <a:rPr lang="en-US" sz="1400" kern="1200"/>
            <a:t>Mandatory Encryption for disk, drives and any storages</a:t>
          </a:r>
        </a:p>
        <a:p>
          <a:pPr marL="114300" lvl="1" indent="-114300" algn="l" defTabSz="622300">
            <a:lnSpc>
              <a:spcPct val="90000"/>
            </a:lnSpc>
            <a:spcBef>
              <a:spcPct val="0"/>
            </a:spcBef>
            <a:spcAft>
              <a:spcPct val="15000"/>
            </a:spcAft>
            <a:buChar char="•"/>
          </a:pPr>
          <a:r>
            <a:rPr lang="en-US" sz="1400" kern="1200"/>
            <a:t>IDS and IPS enabled firewall with audit for access violations</a:t>
          </a:r>
        </a:p>
        <a:p>
          <a:pPr marL="114300" lvl="1" indent="-114300" algn="l" defTabSz="622300">
            <a:lnSpc>
              <a:spcPct val="90000"/>
            </a:lnSpc>
            <a:spcBef>
              <a:spcPct val="0"/>
            </a:spcBef>
            <a:spcAft>
              <a:spcPct val="15000"/>
            </a:spcAft>
            <a:buChar char="•"/>
          </a:pPr>
          <a:r>
            <a:rPr lang="en-US" sz="1400" kern="1200"/>
            <a:t>End-to-end encryption for any application transactions</a:t>
          </a:r>
        </a:p>
      </dsp:txBody>
      <dsp:txXfrm>
        <a:off x="2927764" y="892263"/>
        <a:ext cx="2564473" cy="4035149"/>
      </dsp:txXfrm>
    </dsp:sp>
    <dsp:sp modelId="{58043175-8243-4E0D-B97E-5D44389A2D5A}">
      <dsp:nvSpPr>
        <dsp:cNvPr id="0" name=""/>
        <dsp:cNvSpPr/>
      </dsp:nvSpPr>
      <dsp:spPr>
        <a:xfrm>
          <a:off x="5851264" y="138857"/>
          <a:ext cx="2564473" cy="753406"/>
        </a:xfrm>
        <a:prstGeom prst="rect">
          <a:avLst/>
        </a:prstGeom>
        <a:solidFill>
          <a:schemeClr val="accent3">
            <a:hueOff val="5927981"/>
            <a:satOff val="-16343"/>
            <a:lumOff val="6537"/>
            <a:alphaOff val="0"/>
          </a:schemeClr>
        </a:solidFill>
        <a:ln w="10795" cap="flat" cmpd="sng" algn="ctr">
          <a:solidFill>
            <a:schemeClr val="accent3">
              <a:hueOff val="5927981"/>
              <a:satOff val="-16343"/>
              <a:lumOff val="6537"/>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IN" sz="1400" kern="1200"/>
            <a:t>Vulnerability Scanning</a:t>
          </a:r>
          <a:endParaRPr lang="en-US" sz="1400" kern="1200">
            <a:cs typeface="Segoe UI"/>
          </a:endParaRPr>
        </a:p>
      </dsp:txBody>
      <dsp:txXfrm>
        <a:off x="5851264" y="138857"/>
        <a:ext cx="2564473" cy="753406"/>
      </dsp:txXfrm>
    </dsp:sp>
    <dsp:sp modelId="{FC544260-D7FA-4D5C-95F4-F96E41ACCAA4}">
      <dsp:nvSpPr>
        <dsp:cNvPr id="0" name=""/>
        <dsp:cNvSpPr/>
      </dsp:nvSpPr>
      <dsp:spPr>
        <a:xfrm>
          <a:off x="5851264" y="892263"/>
          <a:ext cx="2564473" cy="4035149"/>
        </a:xfrm>
        <a:prstGeom prst="rect">
          <a:avLst/>
        </a:prstGeom>
        <a:solidFill>
          <a:schemeClr val="accent3">
            <a:tint val="40000"/>
            <a:alpha val="90000"/>
            <a:hueOff val="5578433"/>
            <a:satOff val="3107"/>
            <a:lumOff val="755"/>
            <a:alphaOff val="0"/>
          </a:schemeClr>
        </a:solidFill>
        <a:ln w="10795" cap="flat" cmpd="sng" algn="ctr">
          <a:solidFill>
            <a:schemeClr val="accent3">
              <a:tint val="40000"/>
              <a:alpha val="90000"/>
              <a:hueOff val="5578433"/>
              <a:satOff val="3107"/>
              <a:lumOff val="75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t>Regular checks and validations of CIS benchmarks for the servers and images</a:t>
          </a:r>
          <a:endParaRPr lang="en-US" sz="1400" kern="1200">
            <a:cs typeface="Segoe UI"/>
          </a:endParaRPr>
        </a:p>
        <a:p>
          <a:pPr marL="114300" lvl="1" indent="-114300" algn="l" defTabSz="622300">
            <a:lnSpc>
              <a:spcPct val="90000"/>
            </a:lnSpc>
            <a:spcBef>
              <a:spcPct val="0"/>
            </a:spcBef>
            <a:spcAft>
              <a:spcPct val="15000"/>
            </a:spcAft>
            <a:buChar char="•"/>
          </a:pPr>
          <a:r>
            <a:rPr lang="en-US" sz="1400" kern="1200"/>
            <a:t>CIS benchmark certified images for any production deployments</a:t>
          </a:r>
        </a:p>
        <a:p>
          <a:pPr marL="114300" lvl="1" indent="-114300" algn="l" defTabSz="622300">
            <a:lnSpc>
              <a:spcPct val="90000"/>
            </a:lnSpc>
            <a:spcBef>
              <a:spcPct val="0"/>
            </a:spcBef>
            <a:spcAft>
              <a:spcPct val="15000"/>
            </a:spcAft>
            <a:buChar char="•"/>
          </a:pPr>
          <a:r>
            <a:rPr lang="en-US" sz="1400" kern="1200"/>
            <a:t>appropriate compliance policy configuration (GDPR, PCI, NIST)</a:t>
          </a:r>
        </a:p>
      </dsp:txBody>
      <dsp:txXfrm>
        <a:off x="5851264" y="892263"/>
        <a:ext cx="2564473" cy="4035149"/>
      </dsp:txXfrm>
    </dsp:sp>
    <dsp:sp modelId="{4E51DB3C-A6C2-475E-9939-1EF3BF3CCCC1}">
      <dsp:nvSpPr>
        <dsp:cNvPr id="0" name=""/>
        <dsp:cNvSpPr/>
      </dsp:nvSpPr>
      <dsp:spPr>
        <a:xfrm>
          <a:off x="8774763" y="138857"/>
          <a:ext cx="2564473" cy="753406"/>
        </a:xfrm>
        <a:prstGeom prst="rect">
          <a:avLst/>
        </a:prstGeom>
        <a:solidFill>
          <a:schemeClr val="accent3">
            <a:hueOff val="8891971"/>
            <a:satOff val="-24515"/>
            <a:lumOff val="9805"/>
            <a:alphaOff val="0"/>
          </a:schemeClr>
        </a:solidFill>
        <a:ln w="10795" cap="flat" cmpd="sng" algn="ctr">
          <a:solidFill>
            <a:schemeClr val="accent3">
              <a:hueOff val="8891971"/>
              <a:satOff val="-24515"/>
              <a:lumOff val="980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IN" sz="1400" kern="1200"/>
            <a:t>Continuous monitoring &amp; Incident Response</a:t>
          </a:r>
          <a:endParaRPr lang="en-US" sz="1400" kern="1200"/>
        </a:p>
      </dsp:txBody>
      <dsp:txXfrm>
        <a:off x="8774763" y="138857"/>
        <a:ext cx="2564473" cy="753406"/>
      </dsp:txXfrm>
    </dsp:sp>
    <dsp:sp modelId="{DEFD9E62-3CF0-499A-8664-E526F31312B2}">
      <dsp:nvSpPr>
        <dsp:cNvPr id="0" name=""/>
        <dsp:cNvSpPr/>
      </dsp:nvSpPr>
      <dsp:spPr>
        <a:xfrm>
          <a:off x="8774763" y="892263"/>
          <a:ext cx="2564473" cy="4035149"/>
        </a:xfrm>
        <a:prstGeom prst="rect">
          <a:avLst/>
        </a:prstGeom>
        <a:solidFill>
          <a:schemeClr val="accent3">
            <a:tint val="40000"/>
            <a:alpha val="90000"/>
            <a:hueOff val="8367649"/>
            <a:satOff val="4660"/>
            <a:lumOff val="1133"/>
            <a:alphaOff val="0"/>
          </a:schemeClr>
        </a:solidFill>
        <a:ln w="10795" cap="flat" cmpd="sng" algn="ctr">
          <a:solidFill>
            <a:schemeClr val="accent3">
              <a:tint val="40000"/>
              <a:alpha val="90000"/>
              <a:hueOff val="8367649"/>
              <a:satOff val="4660"/>
              <a:lumOff val="113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t>logging and monitoring for all computes, network endpoints and services</a:t>
          </a:r>
        </a:p>
        <a:p>
          <a:pPr marL="114300" lvl="1" indent="-114300" algn="l" defTabSz="622300">
            <a:lnSpc>
              <a:spcPct val="90000"/>
            </a:lnSpc>
            <a:spcBef>
              <a:spcPct val="0"/>
            </a:spcBef>
            <a:spcAft>
              <a:spcPct val="15000"/>
            </a:spcAft>
            <a:buChar char="•"/>
          </a:pPr>
          <a:r>
            <a:rPr lang="en-US" sz="1400" kern="1200"/>
            <a:t>Monitoring and Threat Detection model customized to the need</a:t>
          </a:r>
        </a:p>
        <a:p>
          <a:pPr marL="114300" lvl="1" indent="-114300" algn="l" defTabSz="622300">
            <a:lnSpc>
              <a:spcPct val="90000"/>
            </a:lnSpc>
            <a:spcBef>
              <a:spcPct val="0"/>
            </a:spcBef>
            <a:spcAft>
              <a:spcPct val="15000"/>
            </a:spcAft>
            <a:buChar char="•"/>
          </a:pPr>
          <a:r>
            <a:rPr lang="en-US" sz="1400" kern="1200"/>
            <a:t>Prioritized Alerts and Telemetry</a:t>
          </a:r>
        </a:p>
        <a:p>
          <a:pPr marL="114300" lvl="1" indent="-114300" algn="l" defTabSz="622300">
            <a:lnSpc>
              <a:spcPct val="90000"/>
            </a:lnSpc>
            <a:spcBef>
              <a:spcPct val="0"/>
            </a:spcBef>
            <a:spcAft>
              <a:spcPct val="15000"/>
            </a:spcAft>
            <a:buChar char="•"/>
          </a:pPr>
          <a:r>
            <a:rPr lang="en-US" sz="1400" kern="1200"/>
            <a:t>central log management</a:t>
          </a:r>
        </a:p>
        <a:p>
          <a:pPr marL="114300" lvl="1" indent="-114300" algn="l" defTabSz="622300">
            <a:lnSpc>
              <a:spcPct val="90000"/>
            </a:lnSpc>
            <a:spcBef>
              <a:spcPct val="0"/>
            </a:spcBef>
            <a:spcAft>
              <a:spcPct val="15000"/>
            </a:spcAft>
            <a:buChar char="•"/>
          </a:pPr>
          <a:r>
            <a:rPr lang="en-US" sz="1400" kern="1200"/>
            <a:t>centralized alert correlation platform and create an incident based on them</a:t>
          </a:r>
        </a:p>
        <a:p>
          <a:pPr marL="114300" lvl="1" indent="-114300" algn="l" defTabSz="622300">
            <a:lnSpc>
              <a:spcPct val="90000"/>
            </a:lnSpc>
            <a:spcBef>
              <a:spcPct val="0"/>
            </a:spcBef>
            <a:spcAft>
              <a:spcPct val="15000"/>
            </a:spcAft>
            <a:buChar char="•"/>
          </a:pPr>
          <a:r>
            <a:rPr lang="en-US" sz="1400" kern="1200"/>
            <a:t>Intelligent Threat Correlation</a:t>
          </a:r>
        </a:p>
        <a:p>
          <a:pPr marL="114300" lvl="1" indent="-114300" algn="l" defTabSz="622300">
            <a:lnSpc>
              <a:spcPct val="90000"/>
            </a:lnSpc>
            <a:spcBef>
              <a:spcPct val="0"/>
            </a:spcBef>
            <a:spcAft>
              <a:spcPct val="15000"/>
            </a:spcAft>
            <a:buChar char="•"/>
          </a:pPr>
          <a:r>
            <a:rPr lang="en-US" sz="1400" kern="1200"/>
            <a:t>Automated Response</a:t>
          </a:r>
        </a:p>
        <a:p>
          <a:pPr marL="114300" lvl="1" indent="-114300" algn="l" defTabSz="622300">
            <a:lnSpc>
              <a:spcPct val="90000"/>
            </a:lnSpc>
            <a:spcBef>
              <a:spcPct val="0"/>
            </a:spcBef>
            <a:spcAft>
              <a:spcPct val="15000"/>
            </a:spcAft>
            <a:buChar char="•"/>
          </a:pPr>
          <a:endParaRPr lang="en-US" sz="1400" kern="1200"/>
        </a:p>
      </dsp:txBody>
      <dsp:txXfrm>
        <a:off x="8774763" y="892263"/>
        <a:ext cx="2564473" cy="40351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83ACC6-AFA8-4C08-A9B2-381FE786C341}">
      <dsp:nvSpPr>
        <dsp:cNvPr id="0" name=""/>
        <dsp:cNvSpPr/>
      </dsp:nvSpPr>
      <dsp:spPr>
        <a:xfrm>
          <a:off x="5719" y="0"/>
          <a:ext cx="1372758" cy="50291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u="sng" kern="1200"/>
            <a:t>Secure Code Training &amp; Designing </a:t>
          </a:r>
        </a:p>
      </dsp:txBody>
      <dsp:txXfrm>
        <a:off x="5719" y="0"/>
        <a:ext cx="1372758" cy="1508760"/>
      </dsp:txXfrm>
    </dsp:sp>
    <dsp:sp modelId="{BE659A78-4093-4815-BCE5-8851B0A92FB0}">
      <dsp:nvSpPr>
        <dsp:cNvPr id="0" name=""/>
        <dsp:cNvSpPr/>
      </dsp:nvSpPr>
      <dsp:spPr>
        <a:xfrm>
          <a:off x="142995" y="1509189"/>
          <a:ext cx="1098206" cy="988036"/>
        </a:xfrm>
        <a:prstGeom prst="roundRect">
          <a:avLst>
            <a:gd name="adj" fmla="val 10000"/>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OWASP</a:t>
          </a:r>
        </a:p>
      </dsp:txBody>
      <dsp:txXfrm>
        <a:off x="171934" y="1538128"/>
        <a:ext cx="1040328" cy="930158"/>
      </dsp:txXfrm>
    </dsp:sp>
    <dsp:sp modelId="{2F2815BF-8F46-4FF5-9452-E6F30EE9E80C}">
      <dsp:nvSpPr>
        <dsp:cNvPr id="0" name=""/>
        <dsp:cNvSpPr/>
      </dsp:nvSpPr>
      <dsp:spPr>
        <a:xfrm>
          <a:off x="142995" y="2649231"/>
          <a:ext cx="1098206" cy="988036"/>
        </a:xfrm>
        <a:prstGeom prst="roundRect">
          <a:avLst>
            <a:gd name="adj" fmla="val 10000"/>
          </a:avLst>
        </a:prstGeom>
        <a:solidFill>
          <a:schemeClr val="accent3">
            <a:hueOff val="444599"/>
            <a:satOff val="-1226"/>
            <a:lumOff val="4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SANS CWE</a:t>
          </a:r>
        </a:p>
      </dsp:txBody>
      <dsp:txXfrm>
        <a:off x="171934" y="2678170"/>
        <a:ext cx="1040328" cy="930158"/>
      </dsp:txXfrm>
    </dsp:sp>
    <dsp:sp modelId="{73C62C5D-4B80-4FCA-99B4-06F69A730CA3}">
      <dsp:nvSpPr>
        <dsp:cNvPr id="0" name=""/>
        <dsp:cNvSpPr/>
      </dsp:nvSpPr>
      <dsp:spPr>
        <a:xfrm>
          <a:off x="142995" y="3789273"/>
          <a:ext cx="1098206" cy="988036"/>
        </a:xfrm>
        <a:prstGeom prst="roundRect">
          <a:avLst>
            <a:gd name="adj" fmla="val 10000"/>
          </a:avLst>
        </a:prstGeom>
        <a:solidFill>
          <a:schemeClr val="accent3">
            <a:hueOff val="889197"/>
            <a:satOff val="-2452"/>
            <a:lumOff val="98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12 Factor App Guidelines</a:t>
          </a:r>
        </a:p>
      </dsp:txBody>
      <dsp:txXfrm>
        <a:off x="171934" y="3818212"/>
        <a:ext cx="1040328" cy="930158"/>
      </dsp:txXfrm>
    </dsp:sp>
    <dsp:sp modelId="{B6D8D6FF-5DCE-44C7-9250-4580D5C8EF1D}">
      <dsp:nvSpPr>
        <dsp:cNvPr id="0" name=""/>
        <dsp:cNvSpPr/>
      </dsp:nvSpPr>
      <dsp:spPr>
        <a:xfrm>
          <a:off x="1481435" y="0"/>
          <a:ext cx="1372758" cy="50291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u="sng" kern="1200"/>
            <a:t>Secure Access to Code and Image repository</a:t>
          </a:r>
        </a:p>
      </dsp:txBody>
      <dsp:txXfrm>
        <a:off x="1481435" y="0"/>
        <a:ext cx="1372758" cy="1508760"/>
      </dsp:txXfrm>
    </dsp:sp>
    <dsp:sp modelId="{282CF7EC-7F03-42F7-AE9A-B91BDC2582A7}">
      <dsp:nvSpPr>
        <dsp:cNvPr id="0" name=""/>
        <dsp:cNvSpPr/>
      </dsp:nvSpPr>
      <dsp:spPr>
        <a:xfrm>
          <a:off x="1618711" y="1510233"/>
          <a:ext cx="1098206" cy="1516372"/>
        </a:xfrm>
        <a:prstGeom prst="roundRect">
          <a:avLst>
            <a:gd name="adj" fmla="val 10000"/>
          </a:avLst>
        </a:prstGeom>
        <a:solidFill>
          <a:schemeClr val="accent3">
            <a:hueOff val="1333796"/>
            <a:satOff val="-3677"/>
            <a:lumOff val="147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None/>
          </a:pPr>
          <a:r>
            <a:rPr lang="en-US" sz="1100" kern="1200"/>
            <a:t>Pre-commit Security Hooks</a:t>
          </a:r>
        </a:p>
        <a:p>
          <a:pPr marL="57150" lvl="1" indent="-57150" algn="l" defTabSz="488950">
            <a:lnSpc>
              <a:spcPct val="90000"/>
            </a:lnSpc>
            <a:spcBef>
              <a:spcPct val="0"/>
            </a:spcBef>
            <a:spcAft>
              <a:spcPct val="15000"/>
            </a:spcAft>
            <a:buChar char="•"/>
          </a:pPr>
          <a:r>
            <a:rPr lang="en-US" sz="1100" kern="1200"/>
            <a:t>Git-hound</a:t>
          </a:r>
        </a:p>
        <a:p>
          <a:pPr marL="57150" lvl="1" indent="-57150" algn="l" defTabSz="488950">
            <a:lnSpc>
              <a:spcPct val="90000"/>
            </a:lnSpc>
            <a:spcBef>
              <a:spcPct val="0"/>
            </a:spcBef>
            <a:spcAft>
              <a:spcPct val="15000"/>
            </a:spcAft>
            <a:buChar char="•"/>
          </a:pPr>
          <a:r>
            <a:rPr lang="en-US" sz="1100" kern="1200"/>
            <a:t>Detect-secrets</a:t>
          </a:r>
        </a:p>
        <a:p>
          <a:pPr marL="57150" lvl="1" indent="-57150" algn="l" defTabSz="488950">
            <a:lnSpc>
              <a:spcPct val="90000"/>
            </a:lnSpc>
            <a:spcBef>
              <a:spcPct val="0"/>
            </a:spcBef>
            <a:spcAft>
              <a:spcPct val="15000"/>
            </a:spcAft>
            <a:buChar char="•"/>
          </a:pPr>
          <a:r>
            <a:rPr lang="en-US" sz="1100" kern="1200"/>
            <a:t>Git-Secrets</a:t>
          </a:r>
        </a:p>
        <a:p>
          <a:pPr marL="57150" lvl="1" indent="-57150" algn="l" defTabSz="488950">
            <a:lnSpc>
              <a:spcPct val="90000"/>
            </a:lnSpc>
            <a:spcBef>
              <a:spcPct val="0"/>
            </a:spcBef>
            <a:spcAft>
              <a:spcPct val="15000"/>
            </a:spcAft>
            <a:buChar char="•"/>
          </a:pPr>
          <a:r>
            <a:rPr lang="en-US" sz="1100" kern="1200"/>
            <a:t>Repo-supervisor</a:t>
          </a:r>
        </a:p>
      </dsp:txBody>
      <dsp:txXfrm>
        <a:off x="1650876" y="1542398"/>
        <a:ext cx="1033876" cy="1452042"/>
      </dsp:txXfrm>
    </dsp:sp>
    <dsp:sp modelId="{06A0AD53-DF8A-4F92-A216-F7E509028882}">
      <dsp:nvSpPr>
        <dsp:cNvPr id="0" name=""/>
        <dsp:cNvSpPr/>
      </dsp:nvSpPr>
      <dsp:spPr>
        <a:xfrm>
          <a:off x="1618711" y="3259894"/>
          <a:ext cx="1098206" cy="1516372"/>
        </a:xfrm>
        <a:prstGeom prst="roundRect">
          <a:avLst>
            <a:gd name="adj" fmla="val 10000"/>
          </a:avLst>
        </a:prstGeom>
        <a:solidFill>
          <a:schemeClr val="accent3">
            <a:hueOff val="1778394"/>
            <a:satOff val="-4903"/>
            <a:lumOff val="196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None/>
          </a:pPr>
          <a:r>
            <a:rPr lang="en-US" sz="1100" kern="1200"/>
            <a:t>IDE Security Plugins</a:t>
          </a:r>
        </a:p>
        <a:p>
          <a:pPr marL="57150" lvl="1" indent="-57150" algn="l" defTabSz="488950">
            <a:lnSpc>
              <a:spcPct val="90000"/>
            </a:lnSpc>
            <a:spcBef>
              <a:spcPct val="0"/>
            </a:spcBef>
            <a:spcAft>
              <a:spcPct val="15000"/>
            </a:spcAft>
            <a:buChar char="•"/>
          </a:pPr>
          <a:r>
            <a:rPr lang="en-US" sz="1100" kern="1200"/>
            <a:t>DevSkim</a:t>
          </a:r>
        </a:p>
        <a:p>
          <a:pPr marL="57150" lvl="1" indent="-57150" algn="l" defTabSz="488950">
            <a:lnSpc>
              <a:spcPct val="90000"/>
            </a:lnSpc>
            <a:spcBef>
              <a:spcPct val="0"/>
            </a:spcBef>
            <a:spcAft>
              <a:spcPct val="15000"/>
            </a:spcAft>
            <a:buChar char="•"/>
          </a:pPr>
          <a:r>
            <a:rPr lang="en-US" sz="1100" kern="1200"/>
            <a:t>FindSecurityBugs</a:t>
          </a:r>
        </a:p>
        <a:p>
          <a:pPr marL="57150" lvl="1" indent="-57150" algn="l" defTabSz="488950">
            <a:lnSpc>
              <a:spcPct val="90000"/>
            </a:lnSpc>
            <a:spcBef>
              <a:spcPct val="0"/>
            </a:spcBef>
            <a:spcAft>
              <a:spcPct val="15000"/>
            </a:spcAft>
            <a:buChar char="•"/>
          </a:pPr>
          <a:r>
            <a:rPr lang="en-US" sz="1100" kern="1200"/>
            <a:t>Sonar Lint</a:t>
          </a:r>
        </a:p>
      </dsp:txBody>
      <dsp:txXfrm>
        <a:off x="1650876" y="3292059"/>
        <a:ext cx="1033876" cy="1452042"/>
      </dsp:txXfrm>
    </dsp:sp>
    <dsp:sp modelId="{37530E83-37E3-448C-A7EC-D569816240A0}">
      <dsp:nvSpPr>
        <dsp:cNvPr id="0" name=""/>
        <dsp:cNvSpPr/>
      </dsp:nvSpPr>
      <dsp:spPr>
        <a:xfrm>
          <a:off x="2957150" y="0"/>
          <a:ext cx="1372758" cy="50291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u="sng" kern="1200"/>
            <a:t>Secure access to CI service</a:t>
          </a:r>
        </a:p>
      </dsp:txBody>
      <dsp:txXfrm>
        <a:off x="2957150" y="0"/>
        <a:ext cx="1372758" cy="1508760"/>
      </dsp:txXfrm>
    </dsp:sp>
    <dsp:sp modelId="{5CDEA415-2EF1-4A33-B082-C3E4B3116E31}">
      <dsp:nvSpPr>
        <dsp:cNvPr id="0" name=""/>
        <dsp:cNvSpPr/>
      </dsp:nvSpPr>
      <dsp:spPr>
        <a:xfrm>
          <a:off x="3094426" y="1509189"/>
          <a:ext cx="1098206" cy="988036"/>
        </a:xfrm>
        <a:prstGeom prst="roundRect">
          <a:avLst>
            <a:gd name="adj" fmla="val 10000"/>
          </a:avLst>
        </a:prstGeom>
        <a:solidFill>
          <a:schemeClr val="accent3">
            <a:hueOff val="2222993"/>
            <a:satOff val="-6129"/>
            <a:lumOff val="245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In-built Credentials Manager</a:t>
          </a:r>
        </a:p>
      </dsp:txBody>
      <dsp:txXfrm>
        <a:off x="3123365" y="1538128"/>
        <a:ext cx="1040328" cy="930158"/>
      </dsp:txXfrm>
    </dsp:sp>
    <dsp:sp modelId="{6B0A26E3-9ED8-47BD-8783-0EEAAAFB8AAA}">
      <dsp:nvSpPr>
        <dsp:cNvPr id="0" name=""/>
        <dsp:cNvSpPr/>
      </dsp:nvSpPr>
      <dsp:spPr>
        <a:xfrm>
          <a:off x="3094426" y="2649231"/>
          <a:ext cx="1098206" cy="988036"/>
        </a:xfrm>
        <a:prstGeom prst="roundRect">
          <a:avLst>
            <a:gd name="adj" fmla="val 10000"/>
          </a:avLst>
        </a:prstGeom>
        <a:solidFill>
          <a:schemeClr val="accent3">
            <a:hueOff val="2667591"/>
            <a:satOff val="-7355"/>
            <a:lumOff val="294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Centralized Secret Manager</a:t>
          </a:r>
        </a:p>
      </dsp:txBody>
      <dsp:txXfrm>
        <a:off x="3123365" y="2678170"/>
        <a:ext cx="1040328" cy="930158"/>
      </dsp:txXfrm>
    </dsp:sp>
    <dsp:sp modelId="{175B3319-788D-4F1D-A546-6E83551A1A01}">
      <dsp:nvSpPr>
        <dsp:cNvPr id="0" name=""/>
        <dsp:cNvSpPr/>
      </dsp:nvSpPr>
      <dsp:spPr>
        <a:xfrm>
          <a:off x="3094426" y="3789273"/>
          <a:ext cx="1098206" cy="988036"/>
        </a:xfrm>
        <a:prstGeom prst="roundRect">
          <a:avLst>
            <a:gd name="adj" fmla="val 10000"/>
          </a:avLst>
        </a:prstGeom>
        <a:solidFill>
          <a:schemeClr val="accent3">
            <a:hueOff val="3112190"/>
            <a:satOff val="-8580"/>
            <a:lumOff val="343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Grssecurity</a:t>
          </a:r>
        </a:p>
      </dsp:txBody>
      <dsp:txXfrm>
        <a:off x="3123365" y="3818212"/>
        <a:ext cx="1040328" cy="930158"/>
      </dsp:txXfrm>
    </dsp:sp>
    <dsp:sp modelId="{B5924C92-5D89-48C7-9EF6-568E269AF2B1}">
      <dsp:nvSpPr>
        <dsp:cNvPr id="0" name=""/>
        <dsp:cNvSpPr/>
      </dsp:nvSpPr>
      <dsp:spPr>
        <a:xfrm>
          <a:off x="4432866" y="0"/>
          <a:ext cx="1372758" cy="50291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u="sng" kern="1200"/>
            <a:t>Code Analysis and SCA</a:t>
          </a:r>
        </a:p>
      </dsp:txBody>
      <dsp:txXfrm>
        <a:off x="4432866" y="0"/>
        <a:ext cx="1372758" cy="1508760"/>
      </dsp:txXfrm>
    </dsp:sp>
    <dsp:sp modelId="{8AED2AC4-E3E3-4C7F-AF53-657A913055B9}">
      <dsp:nvSpPr>
        <dsp:cNvPr id="0" name=""/>
        <dsp:cNvSpPr/>
      </dsp:nvSpPr>
      <dsp:spPr>
        <a:xfrm>
          <a:off x="4570141" y="1510233"/>
          <a:ext cx="1098206" cy="1516372"/>
        </a:xfrm>
        <a:prstGeom prst="roundRect">
          <a:avLst>
            <a:gd name="adj" fmla="val 10000"/>
          </a:avLst>
        </a:prstGeom>
        <a:solidFill>
          <a:schemeClr val="accent3">
            <a:hueOff val="3556789"/>
            <a:satOff val="-9806"/>
            <a:lumOff val="392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None/>
          </a:pPr>
          <a:r>
            <a:rPr lang="en-US" sz="1100" kern="1200"/>
            <a:t>SAST</a:t>
          </a:r>
        </a:p>
        <a:p>
          <a:pPr marL="57150" lvl="1" indent="-57150" algn="l" defTabSz="488950">
            <a:lnSpc>
              <a:spcPct val="90000"/>
            </a:lnSpc>
            <a:spcBef>
              <a:spcPct val="0"/>
            </a:spcBef>
            <a:spcAft>
              <a:spcPct val="15000"/>
            </a:spcAft>
            <a:buChar char="•"/>
          </a:pPr>
          <a:r>
            <a:rPr lang="en-US" sz="1100" kern="1200"/>
            <a:t>Veracode</a:t>
          </a:r>
        </a:p>
        <a:p>
          <a:pPr marL="57150" lvl="1" indent="-57150" algn="l" defTabSz="488950">
            <a:lnSpc>
              <a:spcPct val="90000"/>
            </a:lnSpc>
            <a:spcBef>
              <a:spcPct val="0"/>
            </a:spcBef>
            <a:spcAft>
              <a:spcPct val="15000"/>
            </a:spcAft>
            <a:buChar char="•"/>
          </a:pPr>
          <a:r>
            <a:rPr lang="en-US" sz="1100" kern="1200"/>
            <a:t>Fortify</a:t>
          </a:r>
        </a:p>
        <a:p>
          <a:pPr marL="57150" lvl="1" indent="-57150" algn="l" defTabSz="488950">
            <a:lnSpc>
              <a:spcPct val="90000"/>
            </a:lnSpc>
            <a:spcBef>
              <a:spcPct val="0"/>
            </a:spcBef>
            <a:spcAft>
              <a:spcPct val="15000"/>
            </a:spcAft>
            <a:buChar char="•"/>
          </a:pPr>
          <a:r>
            <a:rPr lang="en-US" sz="1100" kern="1200"/>
            <a:t>SCA</a:t>
          </a:r>
        </a:p>
      </dsp:txBody>
      <dsp:txXfrm>
        <a:off x="4602306" y="1542398"/>
        <a:ext cx="1033876" cy="1452042"/>
      </dsp:txXfrm>
    </dsp:sp>
    <dsp:sp modelId="{8BB23C54-4353-4D9D-9D98-F6BDED16DB7E}">
      <dsp:nvSpPr>
        <dsp:cNvPr id="0" name=""/>
        <dsp:cNvSpPr/>
      </dsp:nvSpPr>
      <dsp:spPr>
        <a:xfrm>
          <a:off x="4570141" y="3259894"/>
          <a:ext cx="1098206" cy="1516372"/>
        </a:xfrm>
        <a:prstGeom prst="roundRect">
          <a:avLst>
            <a:gd name="adj" fmla="val 10000"/>
          </a:avLst>
        </a:prstGeom>
        <a:solidFill>
          <a:schemeClr val="accent3">
            <a:hueOff val="4001387"/>
            <a:satOff val="-11032"/>
            <a:lumOff val="441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None/>
          </a:pPr>
          <a:r>
            <a:rPr lang="en-US" sz="1100" kern="1200"/>
            <a:t>OWASP dependency-check</a:t>
          </a:r>
        </a:p>
        <a:p>
          <a:pPr marL="57150" lvl="1" indent="-57150" algn="l" defTabSz="488950">
            <a:lnSpc>
              <a:spcPct val="90000"/>
            </a:lnSpc>
            <a:spcBef>
              <a:spcPct val="0"/>
            </a:spcBef>
            <a:spcAft>
              <a:spcPct val="15000"/>
            </a:spcAft>
            <a:buChar char="•"/>
          </a:pPr>
          <a:r>
            <a:rPr lang="en-US" sz="1100" kern="1200"/>
            <a:t>Coverty</a:t>
          </a:r>
        </a:p>
        <a:p>
          <a:pPr marL="57150" lvl="1" indent="-57150" algn="l" defTabSz="488950">
            <a:lnSpc>
              <a:spcPct val="90000"/>
            </a:lnSpc>
            <a:spcBef>
              <a:spcPct val="0"/>
            </a:spcBef>
            <a:spcAft>
              <a:spcPct val="15000"/>
            </a:spcAft>
            <a:buChar char="•"/>
          </a:pPr>
          <a:r>
            <a:rPr lang="en-US" sz="1100" kern="1200"/>
            <a:t>NetSparker</a:t>
          </a:r>
        </a:p>
      </dsp:txBody>
      <dsp:txXfrm>
        <a:off x="4602306" y="3292059"/>
        <a:ext cx="1033876" cy="1452042"/>
      </dsp:txXfrm>
    </dsp:sp>
    <dsp:sp modelId="{DAE4FE2B-DD8F-4137-A717-B11B3B748E88}">
      <dsp:nvSpPr>
        <dsp:cNvPr id="0" name=""/>
        <dsp:cNvSpPr/>
      </dsp:nvSpPr>
      <dsp:spPr>
        <a:xfrm>
          <a:off x="5908581" y="0"/>
          <a:ext cx="1372758" cy="50291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u="sng" kern="1200"/>
            <a:t>Composition analysis</a:t>
          </a:r>
        </a:p>
      </dsp:txBody>
      <dsp:txXfrm>
        <a:off x="5908581" y="0"/>
        <a:ext cx="1372758" cy="1508760"/>
      </dsp:txXfrm>
    </dsp:sp>
    <dsp:sp modelId="{8AD911C0-FDBF-48C9-A103-696F6FE8F66A}">
      <dsp:nvSpPr>
        <dsp:cNvPr id="0" name=""/>
        <dsp:cNvSpPr/>
      </dsp:nvSpPr>
      <dsp:spPr>
        <a:xfrm>
          <a:off x="6045857" y="1509711"/>
          <a:ext cx="1098206" cy="581808"/>
        </a:xfrm>
        <a:prstGeom prst="roundRect">
          <a:avLst>
            <a:gd name="adj" fmla="val 10000"/>
          </a:avLst>
        </a:prstGeom>
        <a:solidFill>
          <a:schemeClr val="accent3">
            <a:hueOff val="4445986"/>
            <a:satOff val="-12258"/>
            <a:lumOff val="490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OWASP dependency-check</a:t>
          </a:r>
        </a:p>
      </dsp:txBody>
      <dsp:txXfrm>
        <a:off x="6062898" y="1526752"/>
        <a:ext cx="1064124" cy="547726"/>
      </dsp:txXfrm>
    </dsp:sp>
    <dsp:sp modelId="{46C83851-BAF1-4778-B0A2-DE6D53F4BD15}">
      <dsp:nvSpPr>
        <dsp:cNvPr id="0" name=""/>
        <dsp:cNvSpPr/>
      </dsp:nvSpPr>
      <dsp:spPr>
        <a:xfrm>
          <a:off x="6045857" y="2181028"/>
          <a:ext cx="1098206" cy="581808"/>
        </a:xfrm>
        <a:prstGeom prst="roundRect">
          <a:avLst>
            <a:gd name="adj" fmla="val 10000"/>
          </a:avLst>
        </a:prstGeom>
        <a:solidFill>
          <a:schemeClr val="accent3">
            <a:hueOff val="4890585"/>
            <a:satOff val="-13483"/>
            <a:lumOff val="539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Coverty</a:t>
          </a:r>
        </a:p>
      </dsp:txBody>
      <dsp:txXfrm>
        <a:off x="6062898" y="2198069"/>
        <a:ext cx="1064124" cy="547726"/>
      </dsp:txXfrm>
    </dsp:sp>
    <dsp:sp modelId="{E38F7EAD-0570-487F-9E61-B4109180F23C}">
      <dsp:nvSpPr>
        <dsp:cNvPr id="0" name=""/>
        <dsp:cNvSpPr/>
      </dsp:nvSpPr>
      <dsp:spPr>
        <a:xfrm>
          <a:off x="6045857" y="2852345"/>
          <a:ext cx="1098206" cy="581808"/>
        </a:xfrm>
        <a:prstGeom prst="roundRect">
          <a:avLst>
            <a:gd name="adj" fmla="val 10000"/>
          </a:avLst>
        </a:prstGeom>
        <a:solidFill>
          <a:schemeClr val="accent3">
            <a:hueOff val="5335183"/>
            <a:satOff val="-14709"/>
            <a:lumOff val="588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MicroFocus Fortify,SonarQube,Veracode</a:t>
          </a:r>
        </a:p>
      </dsp:txBody>
      <dsp:txXfrm>
        <a:off x="6062898" y="2869386"/>
        <a:ext cx="1064124" cy="547726"/>
      </dsp:txXfrm>
    </dsp:sp>
    <dsp:sp modelId="{CB3466CA-94FC-442F-8D98-07ED49C7B93F}">
      <dsp:nvSpPr>
        <dsp:cNvPr id="0" name=""/>
        <dsp:cNvSpPr/>
      </dsp:nvSpPr>
      <dsp:spPr>
        <a:xfrm>
          <a:off x="6045857" y="3523663"/>
          <a:ext cx="1098206" cy="581808"/>
        </a:xfrm>
        <a:prstGeom prst="roundRect">
          <a:avLst>
            <a:gd name="adj" fmla="val 10000"/>
          </a:avLst>
        </a:prstGeom>
        <a:solidFill>
          <a:schemeClr val="accent3">
            <a:hueOff val="5779781"/>
            <a:satOff val="-15935"/>
            <a:lumOff val="637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NetSparker</a:t>
          </a:r>
        </a:p>
      </dsp:txBody>
      <dsp:txXfrm>
        <a:off x="6062898" y="3540704"/>
        <a:ext cx="1064124" cy="547726"/>
      </dsp:txXfrm>
    </dsp:sp>
    <dsp:sp modelId="{83B00C8D-F561-417E-A177-11D1A1CE3278}">
      <dsp:nvSpPr>
        <dsp:cNvPr id="0" name=""/>
        <dsp:cNvSpPr/>
      </dsp:nvSpPr>
      <dsp:spPr>
        <a:xfrm>
          <a:off x="6045857" y="4194980"/>
          <a:ext cx="1098206" cy="581808"/>
        </a:xfrm>
        <a:prstGeom prst="roundRect">
          <a:avLst>
            <a:gd name="adj" fmla="val 10000"/>
          </a:avLst>
        </a:prstGeom>
        <a:solidFill>
          <a:schemeClr val="accent3">
            <a:hueOff val="6224380"/>
            <a:satOff val="-17161"/>
            <a:lumOff val="686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Black duck Biany Analysis</a:t>
          </a:r>
        </a:p>
      </dsp:txBody>
      <dsp:txXfrm>
        <a:off x="6062898" y="4212021"/>
        <a:ext cx="1064124" cy="547726"/>
      </dsp:txXfrm>
    </dsp:sp>
    <dsp:sp modelId="{EDC3A663-DF0C-4C86-9C7E-53EC050AE632}">
      <dsp:nvSpPr>
        <dsp:cNvPr id="0" name=""/>
        <dsp:cNvSpPr/>
      </dsp:nvSpPr>
      <dsp:spPr>
        <a:xfrm>
          <a:off x="7384296" y="0"/>
          <a:ext cx="1372758" cy="50291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u="sng" kern="1200"/>
            <a:t>Deploys to Test</a:t>
          </a:r>
        </a:p>
      </dsp:txBody>
      <dsp:txXfrm>
        <a:off x="7384296" y="0"/>
        <a:ext cx="1372758" cy="1508760"/>
      </dsp:txXfrm>
    </dsp:sp>
    <dsp:sp modelId="{5ACC7C6E-B272-4557-932E-2F2C41F67CB2}">
      <dsp:nvSpPr>
        <dsp:cNvPr id="0" name=""/>
        <dsp:cNvSpPr/>
      </dsp:nvSpPr>
      <dsp:spPr>
        <a:xfrm>
          <a:off x="7521572" y="1510233"/>
          <a:ext cx="1098206" cy="1516372"/>
        </a:xfrm>
        <a:prstGeom prst="roundRect">
          <a:avLst>
            <a:gd name="adj" fmla="val 10000"/>
          </a:avLst>
        </a:prstGeom>
        <a:solidFill>
          <a:schemeClr val="accent3">
            <a:hueOff val="6668979"/>
            <a:satOff val="-18386"/>
            <a:lumOff val="735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Terraform</a:t>
          </a:r>
        </a:p>
      </dsp:txBody>
      <dsp:txXfrm>
        <a:off x="7553737" y="1542398"/>
        <a:ext cx="1033876" cy="1452042"/>
      </dsp:txXfrm>
    </dsp:sp>
    <dsp:sp modelId="{5C98AD91-9FB8-4CA1-8D7B-7CCE156C48B6}">
      <dsp:nvSpPr>
        <dsp:cNvPr id="0" name=""/>
        <dsp:cNvSpPr/>
      </dsp:nvSpPr>
      <dsp:spPr>
        <a:xfrm>
          <a:off x="7521572" y="3259894"/>
          <a:ext cx="1098206" cy="1516372"/>
        </a:xfrm>
        <a:prstGeom prst="roundRect">
          <a:avLst>
            <a:gd name="adj" fmla="val 10000"/>
          </a:avLst>
        </a:prstGeom>
        <a:solidFill>
          <a:schemeClr val="accent3">
            <a:hueOff val="7113577"/>
            <a:satOff val="-19612"/>
            <a:lumOff val="784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ARM templates</a:t>
          </a:r>
        </a:p>
      </dsp:txBody>
      <dsp:txXfrm>
        <a:off x="7553737" y="3292059"/>
        <a:ext cx="1033876" cy="1452042"/>
      </dsp:txXfrm>
    </dsp:sp>
    <dsp:sp modelId="{579C8623-E94B-40B9-BFCE-55FB5C12FA0D}">
      <dsp:nvSpPr>
        <dsp:cNvPr id="0" name=""/>
        <dsp:cNvSpPr/>
      </dsp:nvSpPr>
      <dsp:spPr>
        <a:xfrm>
          <a:off x="8860012" y="0"/>
          <a:ext cx="1372758" cy="50291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u="sng" kern="1200"/>
            <a:t>Security Test DAST </a:t>
          </a:r>
        </a:p>
      </dsp:txBody>
      <dsp:txXfrm>
        <a:off x="8860012" y="0"/>
        <a:ext cx="1372758" cy="1508760"/>
      </dsp:txXfrm>
    </dsp:sp>
    <dsp:sp modelId="{F318119B-EC30-4C13-A8E9-1563D66A8E70}">
      <dsp:nvSpPr>
        <dsp:cNvPr id="0" name=""/>
        <dsp:cNvSpPr/>
      </dsp:nvSpPr>
      <dsp:spPr>
        <a:xfrm>
          <a:off x="8997288" y="1510233"/>
          <a:ext cx="1098206" cy="1516372"/>
        </a:xfrm>
        <a:prstGeom prst="roundRect">
          <a:avLst>
            <a:gd name="adj" fmla="val 10000"/>
          </a:avLst>
        </a:prstGeom>
        <a:solidFill>
          <a:schemeClr val="accent3">
            <a:hueOff val="7558176"/>
            <a:satOff val="-20838"/>
            <a:lumOff val="833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None/>
          </a:pPr>
          <a:r>
            <a:rPr lang="en-US" sz="1100" kern="1200"/>
            <a:t>DAST</a:t>
          </a:r>
        </a:p>
        <a:p>
          <a:pPr marL="57150" lvl="1" indent="-57150" algn="l" defTabSz="488950">
            <a:lnSpc>
              <a:spcPct val="90000"/>
            </a:lnSpc>
            <a:spcBef>
              <a:spcPct val="0"/>
            </a:spcBef>
            <a:spcAft>
              <a:spcPct val="15000"/>
            </a:spcAft>
            <a:buChar char="•"/>
          </a:pPr>
          <a:r>
            <a:rPr lang="en-US" sz="1100" kern="1200"/>
            <a:t>Veracode</a:t>
          </a:r>
        </a:p>
        <a:p>
          <a:pPr marL="57150" lvl="1" indent="-57150" algn="l" defTabSz="488950">
            <a:lnSpc>
              <a:spcPct val="90000"/>
            </a:lnSpc>
            <a:spcBef>
              <a:spcPct val="0"/>
            </a:spcBef>
            <a:spcAft>
              <a:spcPct val="15000"/>
            </a:spcAft>
            <a:buChar char="•"/>
          </a:pPr>
          <a:r>
            <a:rPr lang="en-US" sz="1100" kern="1200"/>
            <a:t>Fortify</a:t>
          </a:r>
        </a:p>
      </dsp:txBody>
      <dsp:txXfrm>
        <a:off x="9029453" y="1542398"/>
        <a:ext cx="1033876" cy="1452042"/>
      </dsp:txXfrm>
    </dsp:sp>
    <dsp:sp modelId="{360B9D8E-7F56-4588-BCF1-3E7B29030453}">
      <dsp:nvSpPr>
        <dsp:cNvPr id="0" name=""/>
        <dsp:cNvSpPr/>
      </dsp:nvSpPr>
      <dsp:spPr>
        <a:xfrm>
          <a:off x="8997288" y="3259894"/>
          <a:ext cx="1098206" cy="1516372"/>
        </a:xfrm>
        <a:prstGeom prst="roundRect">
          <a:avLst>
            <a:gd name="adj" fmla="val 10000"/>
          </a:avLst>
        </a:prstGeom>
        <a:solidFill>
          <a:schemeClr val="accent3">
            <a:hueOff val="8002774"/>
            <a:satOff val="-22064"/>
            <a:lumOff val="882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None/>
          </a:pPr>
          <a:r>
            <a:rPr lang="en-US" sz="1100" kern="1200"/>
            <a:t>IAST</a:t>
          </a:r>
        </a:p>
        <a:p>
          <a:pPr marL="57150" lvl="1" indent="-57150" algn="l" defTabSz="488950">
            <a:lnSpc>
              <a:spcPct val="90000"/>
            </a:lnSpc>
            <a:spcBef>
              <a:spcPct val="0"/>
            </a:spcBef>
            <a:spcAft>
              <a:spcPct val="15000"/>
            </a:spcAft>
            <a:buChar char="•"/>
          </a:pPr>
          <a:r>
            <a:rPr lang="en-US" sz="1100" kern="1200"/>
            <a:t>Burpsuite</a:t>
          </a:r>
        </a:p>
        <a:p>
          <a:pPr marL="57150" lvl="1" indent="-57150" algn="l" defTabSz="488950">
            <a:lnSpc>
              <a:spcPct val="90000"/>
            </a:lnSpc>
            <a:spcBef>
              <a:spcPct val="0"/>
            </a:spcBef>
            <a:spcAft>
              <a:spcPct val="15000"/>
            </a:spcAft>
            <a:buChar char="•"/>
          </a:pPr>
          <a:r>
            <a:rPr lang="en-US" sz="1100" kern="1200" err="1"/>
            <a:t>Metasploit</a:t>
          </a:r>
          <a:endParaRPr lang="en-US" sz="1100" kern="1200"/>
        </a:p>
        <a:p>
          <a:pPr marL="57150" lvl="1" indent="-57150" algn="l" defTabSz="488950">
            <a:lnSpc>
              <a:spcPct val="90000"/>
            </a:lnSpc>
            <a:spcBef>
              <a:spcPct val="0"/>
            </a:spcBef>
            <a:spcAft>
              <a:spcPct val="15000"/>
            </a:spcAft>
            <a:buChar char="•"/>
          </a:pPr>
          <a:r>
            <a:rPr lang="en-US" sz="1100" kern="1200"/>
            <a:t>NMAP</a:t>
          </a:r>
        </a:p>
        <a:p>
          <a:pPr marL="57150" lvl="1" indent="-57150" algn="l" defTabSz="488950">
            <a:lnSpc>
              <a:spcPct val="90000"/>
            </a:lnSpc>
            <a:spcBef>
              <a:spcPct val="0"/>
            </a:spcBef>
            <a:spcAft>
              <a:spcPct val="15000"/>
            </a:spcAft>
            <a:buChar char="•"/>
          </a:pPr>
          <a:r>
            <a:rPr lang="en-US" sz="1100" kern="1200"/>
            <a:t>Nessus</a:t>
          </a:r>
        </a:p>
        <a:p>
          <a:pPr marL="57150" lvl="1" indent="-57150" algn="l" defTabSz="488950">
            <a:lnSpc>
              <a:spcPct val="90000"/>
            </a:lnSpc>
            <a:spcBef>
              <a:spcPct val="0"/>
            </a:spcBef>
            <a:spcAft>
              <a:spcPct val="15000"/>
            </a:spcAft>
            <a:buChar char="•"/>
          </a:pPr>
          <a:r>
            <a:rPr lang="en-US" sz="1100" kern="1200" err="1"/>
            <a:t>Salamp</a:t>
          </a:r>
          <a:endParaRPr lang="en-US" sz="1100" kern="1200"/>
        </a:p>
        <a:p>
          <a:pPr marL="57150" lvl="1" indent="-57150" algn="l" defTabSz="488950">
            <a:lnSpc>
              <a:spcPct val="90000"/>
            </a:lnSpc>
            <a:spcBef>
              <a:spcPct val="0"/>
            </a:spcBef>
            <a:spcAft>
              <a:spcPct val="15000"/>
            </a:spcAft>
            <a:buChar char="•"/>
          </a:pPr>
          <a:r>
            <a:rPr lang="en-US" sz="1100" kern="1200"/>
            <a:t>Wireshark</a:t>
          </a:r>
        </a:p>
        <a:p>
          <a:pPr marL="57150" lvl="1" indent="-57150" algn="l" defTabSz="488950">
            <a:lnSpc>
              <a:spcPct val="90000"/>
            </a:lnSpc>
            <a:spcBef>
              <a:spcPct val="0"/>
            </a:spcBef>
            <a:spcAft>
              <a:spcPct val="15000"/>
            </a:spcAft>
            <a:buChar char="•"/>
          </a:pPr>
          <a:endParaRPr lang="en-US" sz="1100" kern="1200"/>
        </a:p>
      </dsp:txBody>
      <dsp:txXfrm>
        <a:off x="9029453" y="3292059"/>
        <a:ext cx="1033876" cy="1452042"/>
      </dsp:txXfrm>
    </dsp:sp>
    <dsp:sp modelId="{1433F885-24B2-4A72-8AC7-F60EBD487887}">
      <dsp:nvSpPr>
        <dsp:cNvPr id="0" name=""/>
        <dsp:cNvSpPr/>
      </dsp:nvSpPr>
      <dsp:spPr>
        <a:xfrm>
          <a:off x="10335727" y="0"/>
          <a:ext cx="1372758" cy="50291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u="sng" kern="1200"/>
            <a:t>Image Assurance</a:t>
          </a:r>
        </a:p>
      </dsp:txBody>
      <dsp:txXfrm>
        <a:off x="10335727" y="0"/>
        <a:ext cx="1372758" cy="1508760"/>
      </dsp:txXfrm>
    </dsp:sp>
    <dsp:sp modelId="{683785AB-2FDF-4860-B92B-A2CFA9453F84}">
      <dsp:nvSpPr>
        <dsp:cNvPr id="0" name=""/>
        <dsp:cNvSpPr/>
      </dsp:nvSpPr>
      <dsp:spPr>
        <a:xfrm>
          <a:off x="10473003" y="1510233"/>
          <a:ext cx="1098206" cy="1516372"/>
        </a:xfrm>
        <a:prstGeom prst="roundRect">
          <a:avLst>
            <a:gd name="adj" fmla="val 10000"/>
          </a:avLst>
        </a:prstGeom>
        <a:solidFill>
          <a:schemeClr val="accent3">
            <a:hueOff val="8447373"/>
            <a:satOff val="-23289"/>
            <a:lumOff val="931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Anchore</a:t>
          </a:r>
        </a:p>
      </dsp:txBody>
      <dsp:txXfrm>
        <a:off x="10505168" y="1542398"/>
        <a:ext cx="1033876" cy="1452042"/>
      </dsp:txXfrm>
    </dsp:sp>
    <dsp:sp modelId="{DD975A78-2718-41B3-971E-A1DE3AEEF2F1}">
      <dsp:nvSpPr>
        <dsp:cNvPr id="0" name=""/>
        <dsp:cNvSpPr/>
      </dsp:nvSpPr>
      <dsp:spPr>
        <a:xfrm>
          <a:off x="10473003" y="3259894"/>
          <a:ext cx="1098206" cy="1516372"/>
        </a:xfrm>
        <a:prstGeom prst="roundRect">
          <a:avLst>
            <a:gd name="adj" fmla="val 10000"/>
          </a:avLst>
        </a:prstGeom>
        <a:solidFill>
          <a:schemeClr val="accent3">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en-US" sz="1100" kern="1200"/>
            <a:t>Clair</a:t>
          </a:r>
        </a:p>
      </dsp:txBody>
      <dsp:txXfrm>
        <a:off x="10505168" y="3292059"/>
        <a:ext cx="1033876" cy="14520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C9C666-1A45-4CDF-9461-F3EBBA4BED88}">
      <dsp:nvSpPr>
        <dsp:cNvPr id="0" name=""/>
        <dsp:cNvSpPr/>
      </dsp:nvSpPr>
      <dsp:spPr>
        <a:xfrm>
          <a:off x="3354" y="958966"/>
          <a:ext cx="1782429" cy="712971"/>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u="sng" kern="1200">
              <a:latin typeface="Calibri" panose="020F0502020204030204" pitchFamily="34" charset="0"/>
              <a:cs typeface="Calibri" panose="020F0502020204030204" pitchFamily="34" charset="0"/>
            </a:rPr>
            <a:t>Secure Access to Code and Image repository</a:t>
          </a:r>
        </a:p>
      </dsp:txBody>
      <dsp:txXfrm>
        <a:off x="3354" y="958966"/>
        <a:ext cx="1782429" cy="712971"/>
      </dsp:txXfrm>
    </dsp:sp>
    <dsp:sp modelId="{C3CD6DC7-F381-404F-8B5C-C2F8B6485F65}">
      <dsp:nvSpPr>
        <dsp:cNvPr id="0" name=""/>
        <dsp:cNvSpPr/>
      </dsp:nvSpPr>
      <dsp:spPr>
        <a:xfrm>
          <a:off x="3354" y="1671938"/>
          <a:ext cx="1782429" cy="3211649"/>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latin typeface="Calibri"/>
              <a:cs typeface="Calibri"/>
            </a:rPr>
            <a:t>Multifactor Git Authentication</a:t>
          </a:r>
          <a:endParaRPr lang="en-US" sz="1200" u="sng" kern="1200">
            <a:latin typeface="Calibri"/>
            <a:cs typeface="Calibri"/>
          </a:endParaRPr>
        </a:p>
        <a:p>
          <a:pPr marL="114300" lvl="1" indent="-114300" algn="l" defTabSz="533400">
            <a:lnSpc>
              <a:spcPct val="90000"/>
            </a:lnSpc>
            <a:spcBef>
              <a:spcPct val="0"/>
            </a:spcBef>
            <a:spcAft>
              <a:spcPct val="15000"/>
            </a:spcAft>
            <a:buChar char="•"/>
          </a:pPr>
          <a:r>
            <a:rPr lang="en-US" sz="1200" kern="1200">
              <a:latin typeface="Calibri"/>
              <a:cs typeface="Calibri"/>
            </a:rPr>
            <a:t>Integration with SSO</a:t>
          </a:r>
        </a:p>
        <a:p>
          <a:pPr marL="114300" lvl="1" indent="-114300" algn="l" defTabSz="533400">
            <a:lnSpc>
              <a:spcPct val="90000"/>
            </a:lnSpc>
            <a:spcBef>
              <a:spcPct val="0"/>
            </a:spcBef>
            <a:spcAft>
              <a:spcPct val="15000"/>
            </a:spcAft>
            <a:buChar char="•"/>
          </a:pPr>
          <a:r>
            <a:rPr lang="en-US" sz="1200" kern="1200">
              <a:latin typeface="Calibri"/>
              <a:cs typeface="Calibri"/>
            </a:rPr>
            <a:t>Fine grained Repository Role Based Access Control</a:t>
          </a:r>
        </a:p>
        <a:p>
          <a:pPr marL="114300" lvl="1" indent="-114300" algn="l" defTabSz="533400">
            <a:lnSpc>
              <a:spcPct val="90000"/>
            </a:lnSpc>
            <a:spcBef>
              <a:spcPct val="0"/>
            </a:spcBef>
            <a:spcAft>
              <a:spcPct val="15000"/>
            </a:spcAft>
            <a:buChar char="•"/>
          </a:pPr>
          <a:r>
            <a:rPr lang="en-US" sz="1200" kern="1200">
              <a:latin typeface="Calibri"/>
              <a:cs typeface="Calibri"/>
            </a:rPr>
            <a:t>Automated Secrets/config scanning</a:t>
          </a:r>
        </a:p>
        <a:p>
          <a:pPr marL="114300" lvl="1" indent="-114300" algn="l" defTabSz="533400">
            <a:lnSpc>
              <a:spcPct val="90000"/>
            </a:lnSpc>
            <a:spcBef>
              <a:spcPct val="0"/>
            </a:spcBef>
            <a:spcAft>
              <a:spcPct val="15000"/>
            </a:spcAft>
            <a:buChar char="•"/>
          </a:pPr>
          <a:r>
            <a:rPr lang="en-US" sz="1200" kern="1200">
              <a:latin typeface="Calibri" panose="020F0502020204030204" pitchFamily="34" charset="0"/>
              <a:cs typeface="Calibri" panose="020F0502020204030204" pitchFamily="34" charset="0"/>
            </a:rPr>
            <a:t>JIT access to cloud resources</a:t>
          </a:r>
        </a:p>
        <a:p>
          <a:pPr marL="114300" lvl="1" indent="-114300" algn="l" defTabSz="533400">
            <a:lnSpc>
              <a:spcPct val="90000"/>
            </a:lnSpc>
            <a:spcBef>
              <a:spcPct val="0"/>
            </a:spcBef>
            <a:spcAft>
              <a:spcPct val="15000"/>
            </a:spcAft>
            <a:buChar char="•"/>
          </a:pPr>
          <a:r>
            <a:rPr lang="en-US" sz="1200" kern="1200">
              <a:latin typeface="Calibri" panose="020F0502020204030204" pitchFamily="34" charset="0"/>
              <a:cs typeface="Calibri" panose="020F0502020204030204" pitchFamily="34" charset="0"/>
            </a:rPr>
            <a:t>SSH keys and Personal Access Tokens Rotation</a:t>
          </a:r>
        </a:p>
        <a:p>
          <a:pPr marL="114300" lvl="1" indent="-114300" algn="l" defTabSz="533400">
            <a:lnSpc>
              <a:spcPct val="90000"/>
            </a:lnSpc>
            <a:spcBef>
              <a:spcPct val="0"/>
            </a:spcBef>
            <a:spcAft>
              <a:spcPct val="15000"/>
            </a:spcAft>
            <a:buChar char="•"/>
          </a:pPr>
          <a:r>
            <a:rPr lang="en-US" sz="1200" kern="1200">
              <a:latin typeface="Calibri"/>
              <a:cs typeface="Calibri"/>
            </a:rPr>
            <a:t>pre-commit security hooks integration</a:t>
          </a:r>
        </a:p>
      </dsp:txBody>
      <dsp:txXfrm>
        <a:off x="3354" y="1671938"/>
        <a:ext cx="1782429" cy="3211649"/>
      </dsp:txXfrm>
    </dsp:sp>
    <dsp:sp modelId="{D11165D0-B430-4FB0-80A6-75A6721FE8F9}">
      <dsp:nvSpPr>
        <dsp:cNvPr id="0" name=""/>
        <dsp:cNvSpPr/>
      </dsp:nvSpPr>
      <dsp:spPr>
        <a:xfrm>
          <a:off x="2035323" y="958966"/>
          <a:ext cx="1782429" cy="712971"/>
        </a:xfrm>
        <a:prstGeom prst="rect">
          <a:avLst/>
        </a:prstGeom>
        <a:solidFill>
          <a:schemeClr val="accent3">
            <a:hueOff val="1778394"/>
            <a:satOff val="-4903"/>
            <a:lumOff val="1961"/>
            <a:alphaOff val="0"/>
          </a:schemeClr>
        </a:solidFill>
        <a:ln w="10795" cap="flat" cmpd="sng" algn="ctr">
          <a:solidFill>
            <a:schemeClr val="accent3">
              <a:hueOff val="1778394"/>
              <a:satOff val="-4903"/>
              <a:lumOff val="196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u="sng" kern="1200">
              <a:latin typeface="Calibri" panose="020F0502020204030204" pitchFamily="34" charset="0"/>
              <a:cs typeface="Calibri" panose="020F0502020204030204" pitchFamily="34" charset="0"/>
            </a:rPr>
            <a:t>Secure access to CI service</a:t>
          </a:r>
        </a:p>
      </dsp:txBody>
      <dsp:txXfrm>
        <a:off x="2035323" y="958966"/>
        <a:ext cx="1782429" cy="712971"/>
      </dsp:txXfrm>
    </dsp:sp>
    <dsp:sp modelId="{7BB28E64-3196-4F8F-958D-AE2BB427BAEE}">
      <dsp:nvSpPr>
        <dsp:cNvPr id="0" name=""/>
        <dsp:cNvSpPr/>
      </dsp:nvSpPr>
      <dsp:spPr>
        <a:xfrm>
          <a:off x="2035323" y="1671938"/>
          <a:ext cx="1782429" cy="3211649"/>
        </a:xfrm>
        <a:prstGeom prst="rect">
          <a:avLst/>
        </a:prstGeom>
        <a:solidFill>
          <a:schemeClr val="accent3">
            <a:tint val="40000"/>
            <a:alpha val="90000"/>
            <a:hueOff val="1673530"/>
            <a:satOff val="932"/>
            <a:lumOff val="227"/>
            <a:alphaOff val="0"/>
          </a:schemeClr>
        </a:solidFill>
        <a:ln w="10795" cap="flat" cmpd="sng" algn="ctr">
          <a:solidFill>
            <a:schemeClr val="accent3">
              <a:tint val="40000"/>
              <a:alpha val="90000"/>
              <a:hueOff val="1673530"/>
              <a:satOff val="932"/>
              <a:lumOff val="22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a:latin typeface="Calibri"/>
              <a:cs typeface="Calibri"/>
            </a:rPr>
            <a:t>Integration with organization Active Directory / Enable Single Sign on</a:t>
          </a:r>
          <a:endParaRPr lang="en-US" sz="1200" u="sng" kern="1200">
            <a:latin typeface="Calibri"/>
            <a:cs typeface="Calibri"/>
          </a:endParaRPr>
        </a:p>
        <a:p>
          <a:pPr marL="114300" lvl="1" indent="-114300" algn="l" defTabSz="533400">
            <a:lnSpc>
              <a:spcPct val="90000"/>
            </a:lnSpc>
            <a:spcBef>
              <a:spcPct val="0"/>
            </a:spcBef>
            <a:spcAft>
              <a:spcPct val="15000"/>
            </a:spcAft>
            <a:buChar char="•"/>
          </a:pPr>
          <a:r>
            <a:rPr lang="en-US" sz="1200" kern="1200">
              <a:latin typeface="Calibri" panose="020F0502020204030204" pitchFamily="34" charset="0"/>
              <a:cs typeface="Calibri" panose="020F0502020204030204" pitchFamily="34" charset="0"/>
            </a:rPr>
            <a:t>POLP for user RBAC </a:t>
          </a:r>
        </a:p>
        <a:p>
          <a:pPr marL="114300" lvl="1" indent="-114300" algn="l" defTabSz="533400">
            <a:lnSpc>
              <a:spcPct val="90000"/>
            </a:lnSpc>
            <a:spcBef>
              <a:spcPct val="0"/>
            </a:spcBef>
            <a:spcAft>
              <a:spcPct val="15000"/>
            </a:spcAft>
            <a:buChar char="•"/>
          </a:pPr>
          <a:r>
            <a:rPr lang="en-US" sz="1200" kern="1200">
              <a:latin typeface="Calibri"/>
              <a:cs typeface="Calibri"/>
            </a:rPr>
            <a:t>fine-grained permissions for build pipelines tasks</a:t>
          </a:r>
        </a:p>
        <a:p>
          <a:pPr marL="114300" lvl="1" indent="-114300" algn="l" defTabSz="533400" rtl="0">
            <a:lnSpc>
              <a:spcPct val="90000"/>
            </a:lnSpc>
            <a:spcBef>
              <a:spcPct val="0"/>
            </a:spcBef>
            <a:spcAft>
              <a:spcPct val="15000"/>
            </a:spcAft>
            <a:buChar char="•"/>
          </a:pPr>
          <a:r>
            <a:rPr lang="en-US" sz="1200" kern="1200">
              <a:latin typeface="Calibri" panose="020F0502020204030204" pitchFamily="34" charset="0"/>
              <a:cs typeface="Calibri" panose="020F0502020204030204" pitchFamily="34" charset="0"/>
            </a:rPr>
            <a:t> CI environment hardening</a:t>
          </a:r>
        </a:p>
        <a:p>
          <a:pPr marL="114300" lvl="1" indent="-114300" algn="l" defTabSz="533400">
            <a:lnSpc>
              <a:spcPct val="90000"/>
            </a:lnSpc>
            <a:spcBef>
              <a:spcPct val="0"/>
            </a:spcBef>
            <a:spcAft>
              <a:spcPct val="15000"/>
            </a:spcAft>
            <a:buChar char="•"/>
          </a:pPr>
          <a:r>
            <a:rPr lang="en-US" sz="1200" kern="1200">
              <a:latin typeface="Calibri"/>
              <a:cs typeface="Calibri"/>
            </a:rPr>
            <a:t>Automated CI Patch management</a:t>
          </a:r>
        </a:p>
        <a:p>
          <a:pPr marL="114300" lvl="1" indent="-114300" algn="l" defTabSz="533400" rtl="0">
            <a:lnSpc>
              <a:spcPct val="90000"/>
            </a:lnSpc>
            <a:spcBef>
              <a:spcPct val="0"/>
            </a:spcBef>
            <a:spcAft>
              <a:spcPct val="15000"/>
            </a:spcAft>
            <a:buChar char="•"/>
          </a:pPr>
          <a:r>
            <a:rPr lang="en-US" sz="1200" kern="1200">
              <a:latin typeface="Calibri"/>
              <a:cs typeface="Calibri"/>
            </a:rPr>
            <a:t>unsafe environment variable values Filtering</a:t>
          </a:r>
        </a:p>
        <a:p>
          <a:pPr marL="114300" lvl="1" indent="-114300" algn="l" defTabSz="533400">
            <a:lnSpc>
              <a:spcPct val="90000"/>
            </a:lnSpc>
            <a:spcBef>
              <a:spcPct val="0"/>
            </a:spcBef>
            <a:spcAft>
              <a:spcPct val="15000"/>
            </a:spcAft>
            <a:buChar char="•"/>
          </a:pPr>
          <a:r>
            <a:rPr lang="en-US" sz="1200" kern="1200">
              <a:latin typeface="Calibri"/>
              <a:cs typeface="Calibri"/>
            </a:rPr>
            <a:t>fine-grained permissions control on Agents</a:t>
          </a:r>
        </a:p>
      </dsp:txBody>
      <dsp:txXfrm>
        <a:off x="2035323" y="1671938"/>
        <a:ext cx="1782429" cy="3211649"/>
      </dsp:txXfrm>
    </dsp:sp>
    <dsp:sp modelId="{08D67809-9A82-4B57-A7B7-8F4CCBCB444D}">
      <dsp:nvSpPr>
        <dsp:cNvPr id="0" name=""/>
        <dsp:cNvSpPr/>
      </dsp:nvSpPr>
      <dsp:spPr>
        <a:xfrm>
          <a:off x="4067292" y="958966"/>
          <a:ext cx="1782429" cy="712971"/>
        </a:xfrm>
        <a:prstGeom prst="rect">
          <a:avLst/>
        </a:prstGeom>
        <a:solidFill>
          <a:schemeClr val="accent3">
            <a:hueOff val="3556789"/>
            <a:satOff val="-9806"/>
            <a:lumOff val="3922"/>
            <a:alphaOff val="0"/>
          </a:schemeClr>
        </a:solidFill>
        <a:ln w="10795" cap="flat" cmpd="sng" algn="ctr">
          <a:solidFill>
            <a:schemeClr val="accent3">
              <a:hueOff val="3556789"/>
              <a:satOff val="-9806"/>
              <a:lumOff val="392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u="sng" kern="1200">
              <a:latin typeface="Calibri" panose="020F0502020204030204" pitchFamily="34" charset="0"/>
              <a:cs typeface="Calibri" panose="020F0502020204030204" pitchFamily="34" charset="0"/>
            </a:rPr>
            <a:t>Code Analysis and SCA</a:t>
          </a:r>
        </a:p>
      </dsp:txBody>
      <dsp:txXfrm>
        <a:off x="4067292" y="958966"/>
        <a:ext cx="1782429" cy="712971"/>
      </dsp:txXfrm>
    </dsp:sp>
    <dsp:sp modelId="{22341744-9225-4C0B-9C07-C35B0059A976}">
      <dsp:nvSpPr>
        <dsp:cNvPr id="0" name=""/>
        <dsp:cNvSpPr/>
      </dsp:nvSpPr>
      <dsp:spPr>
        <a:xfrm>
          <a:off x="4067292" y="1671938"/>
          <a:ext cx="1782429" cy="3211649"/>
        </a:xfrm>
        <a:prstGeom prst="rect">
          <a:avLst/>
        </a:prstGeom>
        <a:solidFill>
          <a:schemeClr val="accent3">
            <a:tint val="40000"/>
            <a:alpha val="90000"/>
            <a:hueOff val="3347060"/>
            <a:satOff val="1864"/>
            <a:lumOff val="453"/>
            <a:alphaOff val="0"/>
          </a:schemeClr>
        </a:solidFill>
        <a:ln w="10795" cap="flat" cmpd="sng" algn="ctr">
          <a:solidFill>
            <a:schemeClr val="accent3">
              <a:tint val="40000"/>
              <a:alpha val="90000"/>
              <a:hueOff val="3347060"/>
              <a:satOff val="1864"/>
              <a:lumOff val="4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rtl="0">
            <a:lnSpc>
              <a:spcPct val="90000"/>
            </a:lnSpc>
            <a:spcBef>
              <a:spcPct val="0"/>
            </a:spcBef>
            <a:spcAft>
              <a:spcPct val="15000"/>
            </a:spcAft>
            <a:buChar char="•"/>
          </a:pPr>
          <a:r>
            <a:rPr lang="en-US" sz="1200" kern="1200">
              <a:latin typeface="Calibri" panose="020F0502020204030204" pitchFamily="34" charset="0"/>
              <a:cs typeface="Calibri" panose="020F0502020204030204" pitchFamily="34" charset="0"/>
            </a:rPr>
            <a:t>SCA Automation</a:t>
          </a:r>
        </a:p>
        <a:p>
          <a:pPr marL="114300" lvl="1" indent="-114300" algn="l" defTabSz="533400">
            <a:lnSpc>
              <a:spcPct val="90000"/>
            </a:lnSpc>
            <a:spcBef>
              <a:spcPct val="0"/>
            </a:spcBef>
            <a:spcAft>
              <a:spcPct val="15000"/>
            </a:spcAft>
            <a:buChar char="•"/>
          </a:pPr>
          <a:r>
            <a:rPr lang="en-US" sz="1200" kern="1200">
              <a:latin typeface="Calibri" panose="020F0502020204030204" pitchFamily="34" charset="0"/>
              <a:cs typeface="Calibri" panose="020F0502020204030204" pitchFamily="34" charset="0"/>
            </a:rPr>
            <a:t>OWASP Dependency-Check plugin for publishing results</a:t>
          </a:r>
        </a:p>
      </dsp:txBody>
      <dsp:txXfrm>
        <a:off x="4067292" y="1671938"/>
        <a:ext cx="1782429" cy="3211649"/>
      </dsp:txXfrm>
    </dsp:sp>
    <dsp:sp modelId="{470DC0F6-07D0-4411-B83D-A339C8E8C147}">
      <dsp:nvSpPr>
        <dsp:cNvPr id="0" name=""/>
        <dsp:cNvSpPr/>
      </dsp:nvSpPr>
      <dsp:spPr>
        <a:xfrm>
          <a:off x="6099262" y="958966"/>
          <a:ext cx="1782429" cy="712971"/>
        </a:xfrm>
        <a:prstGeom prst="rect">
          <a:avLst/>
        </a:prstGeom>
        <a:solidFill>
          <a:schemeClr val="accent3">
            <a:hueOff val="5335183"/>
            <a:satOff val="-14709"/>
            <a:lumOff val="5883"/>
            <a:alphaOff val="0"/>
          </a:schemeClr>
        </a:solidFill>
        <a:ln w="10795" cap="flat" cmpd="sng" algn="ctr">
          <a:solidFill>
            <a:schemeClr val="accent3">
              <a:hueOff val="5335183"/>
              <a:satOff val="-14709"/>
              <a:lumOff val="588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u="sng" kern="1200">
              <a:latin typeface="Calibri" panose="020F0502020204030204" pitchFamily="34" charset="0"/>
              <a:cs typeface="Calibri" panose="020F0502020204030204" pitchFamily="34" charset="0"/>
            </a:rPr>
            <a:t>Composition analysis</a:t>
          </a:r>
          <a:endParaRPr lang="en-US" sz="1200" kern="1200">
            <a:latin typeface="Calibri" panose="020F0502020204030204" pitchFamily="34" charset="0"/>
            <a:cs typeface="Calibri" panose="020F0502020204030204" pitchFamily="34" charset="0"/>
          </a:endParaRPr>
        </a:p>
      </dsp:txBody>
      <dsp:txXfrm>
        <a:off x="6099262" y="958966"/>
        <a:ext cx="1782429" cy="712971"/>
      </dsp:txXfrm>
    </dsp:sp>
    <dsp:sp modelId="{F1600245-E775-4456-9E9A-A07E77B4F7ED}">
      <dsp:nvSpPr>
        <dsp:cNvPr id="0" name=""/>
        <dsp:cNvSpPr/>
      </dsp:nvSpPr>
      <dsp:spPr>
        <a:xfrm>
          <a:off x="6099262" y="1671938"/>
          <a:ext cx="1782429" cy="3211649"/>
        </a:xfrm>
        <a:prstGeom prst="rect">
          <a:avLst/>
        </a:prstGeom>
        <a:solidFill>
          <a:schemeClr val="accent3">
            <a:tint val="40000"/>
            <a:alpha val="90000"/>
            <a:hueOff val="5020589"/>
            <a:satOff val="2796"/>
            <a:lumOff val="680"/>
            <a:alphaOff val="0"/>
          </a:schemeClr>
        </a:solidFill>
        <a:ln w="10795" cap="flat" cmpd="sng" algn="ctr">
          <a:solidFill>
            <a:schemeClr val="accent3">
              <a:tint val="40000"/>
              <a:alpha val="90000"/>
              <a:hueOff val="5020589"/>
              <a:satOff val="2796"/>
              <a:lumOff val="68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rtl="0">
            <a:lnSpc>
              <a:spcPct val="90000"/>
            </a:lnSpc>
            <a:spcBef>
              <a:spcPct val="0"/>
            </a:spcBef>
            <a:spcAft>
              <a:spcPct val="15000"/>
            </a:spcAft>
            <a:buChar char="•"/>
          </a:pPr>
          <a:r>
            <a:rPr lang="en-US" sz="1200" kern="1200">
              <a:latin typeface="Calibri" panose="020F0502020204030204" pitchFamily="34" charset="0"/>
              <a:cs typeface="Calibri" panose="020F0502020204030204" pitchFamily="34" charset="0"/>
            </a:rPr>
            <a:t>SCA Automation</a:t>
          </a:r>
        </a:p>
        <a:p>
          <a:pPr marL="114300" lvl="1" indent="-114300" algn="l" defTabSz="533400">
            <a:lnSpc>
              <a:spcPct val="90000"/>
            </a:lnSpc>
            <a:spcBef>
              <a:spcPct val="0"/>
            </a:spcBef>
            <a:spcAft>
              <a:spcPct val="15000"/>
            </a:spcAft>
            <a:buChar char="•"/>
          </a:pPr>
          <a:r>
            <a:rPr lang="en-US" sz="1200" kern="1200">
              <a:latin typeface="Calibri" panose="020F0502020204030204" pitchFamily="34" charset="0"/>
              <a:cs typeface="Calibri" panose="020F0502020204030204" pitchFamily="34" charset="0"/>
            </a:rPr>
            <a:t>OWASP Dependency-Check plugin for publishing results</a:t>
          </a:r>
        </a:p>
      </dsp:txBody>
      <dsp:txXfrm>
        <a:off x="6099262" y="1671938"/>
        <a:ext cx="1782429" cy="3211649"/>
      </dsp:txXfrm>
    </dsp:sp>
    <dsp:sp modelId="{6B137513-2567-4838-8474-362713E51B37}">
      <dsp:nvSpPr>
        <dsp:cNvPr id="0" name=""/>
        <dsp:cNvSpPr/>
      </dsp:nvSpPr>
      <dsp:spPr>
        <a:xfrm>
          <a:off x="8131231" y="958966"/>
          <a:ext cx="1782429" cy="712971"/>
        </a:xfrm>
        <a:prstGeom prst="rect">
          <a:avLst/>
        </a:prstGeom>
        <a:solidFill>
          <a:schemeClr val="accent3">
            <a:hueOff val="7113577"/>
            <a:satOff val="-19612"/>
            <a:lumOff val="7844"/>
            <a:alphaOff val="0"/>
          </a:schemeClr>
        </a:solidFill>
        <a:ln w="10795" cap="flat" cmpd="sng" algn="ctr">
          <a:solidFill>
            <a:schemeClr val="accent3">
              <a:hueOff val="7113577"/>
              <a:satOff val="-19612"/>
              <a:lumOff val="784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u="sng" kern="1200">
              <a:latin typeface="Calibri" panose="020F0502020204030204" pitchFamily="34" charset="0"/>
              <a:cs typeface="Calibri" panose="020F0502020204030204" pitchFamily="34" charset="0"/>
            </a:rPr>
            <a:t>Deploys to Test</a:t>
          </a:r>
        </a:p>
      </dsp:txBody>
      <dsp:txXfrm>
        <a:off x="8131231" y="958966"/>
        <a:ext cx="1782429" cy="712971"/>
      </dsp:txXfrm>
    </dsp:sp>
    <dsp:sp modelId="{22025250-04BC-4444-9685-440B1A87BD04}">
      <dsp:nvSpPr>
        <dsp:cNvPr id="0" name=""/>
        <dsp:cNvSpPr/>
      </dsp:nvSpPr>
      <dsp:spPr>
        <a:xfrm>
          <a:off x="8131231" y="1671938"/>
          <a:ext cx="1782429" cy="3211649"/>
        </a:xfrm>
        <a:prstGeom prst="rect">
          <a:avLst/>
        </a:prstGeom>
        <a:solidFill>
          <a:schemeClr val="accent3">
            <a:tint val="40000"/>
            <a:alpha val="90000"/>
            <a:hueOff val="6694119"/>
            <a:satOff val="3728"/>
            <a:lumOff val="906"/>
            <a:alphaOff val="0"/>
          </a:schemeClr>
        </a:solidFill>
        <a:ln w="10795" cap="flat" cmpd="sng" algn="ctr">
          <a:solidFill>
            <a:schemeClr val="accent3">
              <a:tint val="40000"/>
              <a:alpha val="90000"/>
              <a:hueOff val="6694119"/>
              <a:satOff val="3728"/>
              <a:lumOff val="90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rtl="0">
            <a:lnSpc>
              <a:spcPct val="90000"/>
            </a:lnSpc>
            <a:spcBef>
              <a:spcPct val="0"/>
            </a:spcBef>
            <a:spcAft>
              <a:spcPct val="15000"/>
            </a:spcAft>
            <a:buChar char="•"/>
          </a:pPr>
          <a:r>
            <a:rPr lang="en-US" sz="1200" kern="1200">
              <a:latin typeface="Calibri"/>
              <a:cs typeface="Calibri"/>
            </a:rPr>
            <a:t>test environment  isolation from production subscription</a:t>
          </a:r>
        </a:p>
        <a:p>
          <a:pPr marL="114300" lvl="1" indent="-114300" algn="l" defTabSz="533400">
            <a:lnSpc>
              <a:spcPct val="90000"/>
            </a:lnSpc>
            <a:spcBef>
              <a:spcPct val="0"/>
            </a:spcBef>
            <a:spcAft>
              <a:spcPct val="15000"/>
            </a:spcAft>
            <a:buChar char="•"/>
          </a:pPr>
          <a:r>
            <a:rPr lang="en-US" sz="1200" kern="1200">
              <a:latin typeface="Calibri"/>
              <a:cs typeface="Calibri"/>
            </a:rPr>
            <a:t>Strict perimeter security</a:t>
          </a:r>
        </a:p>
        <a:p>
          <a:pPr marL="114300" lvl="1" indent="-114300" algn="l" defTabSz="533400">
            <a:lnSpc>
              <a:spcPct val="90000"/>
            </a:lnSpc>
            <a:spcBef>
              <a:spcPct val="0"/>
            </a:spcBef>
            <a:spcAft>
              <a:spcPct val="15000"/>
            </a:spcAft>
            <a:buChar char="•"/>
          </a:pPr>
          <a:r>
            <a:rPr lang="en-US" sz="1200" kern="1200">
              <a:latin typeface="Calibri"/>
              <a:cs typeface="Calibri"/>
            </a:rPr>
            <a:t>Identical to Prod Setup</a:t>
          </a:r>
        </a:p>
        <a:p>
          <a:pPr marL="114300" lvl="1" indent="-114300" algn="l" defTabSz="533400" rtl="0">
            <a:lnSpc>
              <a:spcPct val="90000"/>
            </a:lnSpc>
            <a:spcBef>
              <a:spcPct val="0"/>
            </a:spcBef>
            <a:spcAft>
              <a:spcPct val="15000"/>
            </a:spcAft>
            <a:buChar char="•"/>
          </a:pPr>
          <a:r>
            <a:rPr lang="en-US" sz="1200" kern="1200">
              <a:latin typeface="Calibri" panose="020F0502020204030204" pitchFamily="34" charset="0"/>
              <a:cs typeface="Calibri" panose="020F0502020204030204" pitchFamily="34" charset="0"/>
            </a:rPr>
            <a:t> POLP for RBAC</a:t>
          </a:r>
        </a:p>
        <a:p>
          <a:pPr marL="114300" lvl="1" indent="-114300" algn="l" defTabSz="533400" rtl="0">
            <a:lnSpc>
              <a:spcPct val="90000"/>
            </a:lnSpc>
            <a:spcBef>
              <a:spcPct val="0"/>
            </a:spcBef>
            <a:spcAft>
              <a:spcPct val="15000"/>
            </a:spcAft>
            <a:buChar char="•"/>
          </a:pPr>
          <a:r>
            <a:rPr lang="en-US" sz="1200" kern="1200">
              <a:latin typeface="Calibri"/>
              <a:cs typeface="Calibri"/>
            </a:rPr>
            <a:t>Secret Filtering in IaC</a:t>
          </a:r>
        </a:p>
        <a:p>
          <a:pPr marL="114300" lvl="1" indent="-114300" algn="l" defTabSz="533400" rtl="0">
            <a:lnSpc>
              <a:spcPct val="90000"/>
            </a:lnSpc>
            <a:spcBef>
              <a:spcPct val="0"/>
            </a:spcBef>
            <a:spcAft>
              <a:spcPct val="15000"/>
            </a:spcAft>
            <a:buChar char="•"/>
          </a:pPr>
          <a:r>
            <a:rPr lang="en-US" sz="1200" kern="1200">
              <a:latin typeface="Calibri"/>
              <a:cs typeface="Calibri"/>
            </a:rPr>
            <a:t>State files Isolation, encryption and versioning </a:t>
          </a:r>
        </a:p>
      </dsp:txBody>
      <dsp:txXfrm>
        <a:off x="8131231" y="1671938"/>
        <a:ext cx="1782429" cy="3211649"/>
      </dsp:txXfrm>
    </dsp:sp>
    <dsp:sp modelId="{0249A14D-B322-4D93-ABFA-C2BE9019F488}">
      <dsp:nvSpPr>
        <dsp:cNvPr id="0" name=""/>
        <dsp:cNvSpPr/>
      </dsp:nvSpPr>
      <dsp:spPr>
        <a:xfrm>
          <a:off x="10163200" y="958966"/>
          <a:ext cx="1782429" cy="712971"/>
        </a:xfrm>
        <a:prstGeom prst="rect">
          <a:avLst/>
        </a:prstGeom>
        <a:solidFill>
          <a:schemeClr val="accent3">
            <a:hueOff val="8891971"/>
            <a:satOff val="-24515"/>
            <a:lumOff val="9805"/>
            <a:alphaOff val="0"/>
          </a:schemeClr>
        </a:solidFill>
        <a:ln w="10795" cap="flat" cmpd="sng" algn="ctr">
          <a:solidFill>
            <a:schemeClr val="accent3">
              <a:hueOff val="8891971"/>
              <a:satOff val="-24515"/>
              <a:lumOff val="980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u="sng" kern="1200">
              <a:latin typeface="Calibri" panose="020F0502020204030204" pitchFamily="34" charset="0"/>
              <a:cs typeface="Calibri" panose="020F0502020204030204" pitchFamily="34" charset="0"/>
            </a:rPr>
            <a:t>Image Assurance</a:t>
          </a:r>
        </a:p>
      </dsp:txBody>
      <dsp:txXfrm>
        <a:off x="10163200" y="958966"/>
        <a:ext cx="1782429" cy="712971"/>
      </dsp:txXfrm>
    </dsp:sp>
    <dsp:sp modelId="{BD46FC2E-3C38-4E9A-B592-5171856E1CD9}">
      <dsp:nvSpPr>
        <dsp:cNvPr id="0" name=""/>
        <dsp:cNvSpPr/>
      </dsp:nvSpPr>
      <dsp:spPr>
        <a:xfrm>
          <a:off x="10163200" y="1671938"/>
          <a:ext cx="1782429" cy="3211649"/>
        </a:xfrm>
        <a:prstGeom prst="rect">
          <a:avLst/>
        </a:prstGeom>
        <a:solidFill>
          <a:schemeClr val="accent3">
            <a:tint val="40000"/>
            <a:alpha val="90000"/>
            <a:hueOff val="8367649"/>
            <a:satOff val="4660"/>
            <a:lumOff val="1133"/>
            <a:alphaOff val="0"/>
          </a:schemeClr>
        </a:solidFill>
        <a:ln w="10795" cap="flat" cmpd="sng" algn="ctr">
          <a:solidFill>
            <a:schemeClr val="accent3">
              <a:tint val="40000"/>
              <a:alpha val="90000"/>
              <a:hueOff val="8367649"/>
              <a:satOff val="4660"/>
              <a:lumOff val="113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rtl="0">
            <a:lnSpc>
              <a:spcPct val="90000"/>
            </a:lnSpc>
            <a:spcBef>
              <a:spcPct val="0"/>
            </a:spcBef>
            <a:spcAft>
              <a:spcPct val="15000"/>
            </a:spcAft>
            <a:buChar char="•"/>
          </a:pPr>
          <a:r>
            <a:rPr lang="en-US" sz="1200" kern="1200">
              <a:latin typeface="Calibri"/>
              <a:cs typeface="Calibri"/>
            </a:rPr>
            <a:t>certify OS images for vulnerability using vulnerability data feeds</a:t>
          </a:r>
        </a:p>
        <a:p>
          <a:pPr marL="114300" lvl="1" indent="-114300" algn="l" defTabSz="533400">
            <a:lnSpc>
              <a:spcPct val="90000"/>
            </a:lnSpc>
            <a:spcBef>
              <a:spcPct val="0"/>
            </a:spcBef>
            <a:spcAft>
              <a:spcPct val="15000"/>
            </a:spcAft>
            <a:buChar char="•"/>
          </a:pPr>
          <a:r>
            <a:rPr lang="en-US" sz="1200" kern="1200">
              <a:latin typeface="Calibri"/>
              <a:cs typeface="Calibri"/>
            </a:rPr>
            <a:t>Hardened images meeting requirements of CIS benchmarks</a:t>
          </a:r>
        </a:p>
        <a:p>
          <a:pPr marL="114300" lvl="1" indent="-114300" algn="l" defTabSz="533400">
            <a:lnSpc>
              <a:spcPct val="90000"/>
            </a:lnSpc>
            <a:spcBef>
              <a:spcPct val="0"/>
            </a:spcBef>
            <a:spcAft>
              <a:spcPct val="15000"/>
            </a:spcAft>
            <a:buChar char="•"/>
          </a:pPr>
          <a:r>
            <a:rPr lang="en-US" sz="1200" kern="1200">
              <a:latin typeface="Calibri"/>
              <a:cs typeface="Calibri"/>
            </a:rPr>
            <a:t>Static analyze for non-OS data using National Vulnerability Database (NVD) which includes RPM, Deb, APK, PIP, Ruby Gems etc.,</a:t>
          </a:r>
        </a:p>
        <a:p>
          <a:pPr marL="114300" lvl="1" indent="-114300" algn="l" defTabSz="533400" rtl="0">
            <a:lnSpc>
              <a:spcPct val="90000"/>
            </a:lnSpc>
            <a:spcBef>
              <a:spcPct val="0"/>
            </a:spcBef>
            <a:spcAft>
              <a:spcPct val="15000"/>
            </a:spcAft>
            <a:buChar char="•"/>
          </a:pPr>
          <a:r>
            <a:rPr lang="en-US" sz="1200" kern="1200">
              <a:latin typeface="Calibri"/>
              <a:cs typeface="Calibri"/>
            </a:rPr>
            <a:t> Image Scanning using anti-virus </a:t>
          </a:r>
        </a:p>
      </dsp:txBody>
      <dsp:txXfrm>
        <a:off x="10163200" y="1671938"/>
        <a:ext cx="1782429" cy="3211649"/>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C73270-904A-4C00-9E05-4374D3EFE54F}" type="datetimeFigureOut">
              <a:rPr lang="en-US" smtClean="0"/>
              <a:t>5/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24FE22-94F8-4D93-820B-89FCE526CE4F}" type="slidenum">
              <a:rPr lang="en-US" smtClean="0"/>
              <a:t>‹#›</a:t>
            </a:fld>
            <a:endParaRPr lang="en-US"/>
          </a:p>
        </p:txBody>
      </p:sp>
    </p:spTree>
    <p:extLst>
      <p:ext uri="{BB962C8B-B14F-4D97-AF65-F5344CB8AC3E}">
        <p14:creationId xmlns:p14="http://schemas.microsoft.com/office/powerpoint/2010/main" val="2477493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a:t>Press CTRL and grab the side border to resize the title box without decentering it.</a:t>
            </a:r>
            <a:endParaRPr lang="en-GB"/>
          </a:p>
        </p:txBody>
      </p:sp>
      <p:sp>
        <p:nvSpPr>
          <p:cNvPr id="4" name="Slide Number Placeholder 3"/>
          <p:cNvSpPr>
            <a:spLocks noGrp="1"/>
          </p:cNvSpPr>
          <p:nvPr>
            <p:ph type="sldNum" sz="quarter" idx="5"/>
          </p:nvPr>
        </p:nvSpPr>
        <p:spPr/>
        <p:txBody>
          <a:bodyPr/>
          <a:lstStyle/>
          <a:p>
            <a:fld id="{46CEB568-2DC2-4BEE-BAB4-F23C67ABA13F}" type="slidenum">
              <a:rPr lang="en-GB" smtClean="0"/>
              <a:t>3</a:t>
            </a:fld>
            <a:endParaRPr lang="en-GB"/>
          </a:p>
        </p:txBody>
      </p:sp>
    </p:spTree>
    <p:extLst>
      <p:ext uri="{BB962C8B-B14F-4D97-AF65-F5344CB8AC3E}">
        <p14:creationId xmlns:p14="http://schemas.microsoft.com/office/powerpoint/2010/main" val="297081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724FE22-94F8-4D93-820B-89FCE526CE4F}" type="slidenum">
              <a:rPr lang="en-US" smtClean="0"/>
              <a:t>16</a:t>
            </a:fld>
            <a:endParaRPr lang="en-US"/>
          </a:p>
        </p:txBody>
      </p:sp>
    </p:spTree>
    <p:extLst>
      <p:ext uri="{BB962C8B-B14F-4D97-AF65-F5344CB8AC3E}">
        <p14:creationId xmlns:p14="http://schemas.microsoft.com/office/powerpoint/2010/main" val="1334079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a:t>Press CTRL and grab the side border to resize the title box without decentering it.</a:t>
            </a:r>
            <a:endParaRPr lang="en-GB"/>
          </a:p>
        </p:txBody>
      </p:sp>
      <p:sp>
        <p:nvSpPr>
          <p:cNvPr id="4" name="Slide Number Placeholder 3"/>
          <p:cNvSpPr>
            <a:spLocks noGrp="1"/>
          </p:cNvSpPr>
          <p:nvPr>
            <p:ph type="sldNum" sz="quarter" idx="5"/>
          </p:nvPr>
        </p:nvSpPr>
        <p:spPr/>
        <p:txBody>
          <a:bodyPr/>
          <a:lstStyle/>
          <a:p>
            <a:fld id="{46CEB568-2DC2-4BEE-BAB4-F23C67ABA13F}" type="slidenum">
              <a:rPr lang="en-GB" smtClean="0"/>
              <a:t>19</a:t>
            </a:fld>
            <a:endParaRPr lang="en-GB"/>
          </a:p>
        </p:txBody>
      </p:sp>
    </p:spTree>
    <p:extLst>
      <p:ext uri="{BB962C8B-B14F-4D97-AF65-F5344CB8AC3E}">
        <p14:creationId xmlns:p14="http://schemas.microsoft.com/office/powerpoint/2010/main" val="880748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a:t>Press CTRL and grab the side border to resize the title box without decentering it.</a:t>
            </a:r>
            <a:endParaRPr lang="en-GB"/>
          </a:p>
        </p:txBody>
      </p:sp>
      <p:sp>
        <p:nvSpPr>
          <p:cNvPr id="4" name="Slide Number Placeholder 3"/>
          <p:cNvSpPr>
            <a:spLocks noGrp="1"/>
          </p:cNvSpPr>
          <p:nvPr>
            <p:ph type="sldNum" sz="quarter" idx="5"/>
          </p:nvPr>
        </p:nvSpPr>
        <p:spPr/>
        <p:txBody>
          <a:bodyPr/>
          <a:lstStyle/>
          <a:p>
            <a:fld id="{46CEB568-2DC2-4BEE-BAB4-F23C67ABA13F}" type="slidenum">
              <a:rPr lang="en-GB" smtClean="0"/>
              <a:t>23</a:t>
            </a:fld>
            <a:endParaRPr lang="en-GB"/>
          </a:p>
        </p:txBody>
      </p:sp>
    </p:spTree>
    <p:extLst>
      <p:ext uri="{BB962C8B-B14F-4D97-AF65-F5344CB8AC3E}">
        <p14:creationId xmlns:p14="http://schemas.microsoft.com/office/powerpoint/2010/main" val="1834176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724FE22-94F8-4D93-820B-89FCE526CE4F}" type="slidenum">
              <a:rPr lang="en-US" smtClean="0"/>
              <a:t>27</a:t>
            </a:fld>
            <a:endParaRPr lang="en-US"/>
          </a:p>
        </p:txBody>
      </p:sp>
    </p:spTree>
    <p:extLst>
      <p:ext uri="{BB962C8B-B14F-4D97-AF65-F5344CB8AC3E}">
        <p14:creationId xmlns:p14="http://schemas.microsoft.com/office/powerpoint/2010/main" val="2599967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724FE22-94F8-4D93-820B-89FCE526CE4F}" type="slidenum">
              <a:rPr lang="en-US" smtClean="0"/>
              <a:t>28</a:t>
            </a:fld>
            <a:endParaRPr lang="en-US"/>
          </a:p>
        </p:txBody>
      </p:sp>
    </p:spTree>
    <p:extLst>
      <p:ext uri="{BB962C8B-B14F-4D97-AF65-F5344CB8AC3E}">
        <p14:creationId xmlns:p14="http://schemas.microsoft.com/office/powerpoint/2010/main" val="25124168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724FE22-94F8-4D93-820B-89FCE526CE4F}" type="slidenum">
              <a:rPr lang="en-US" smtClean="0"/>
              <a:t>29</a:t>
            </a:fld>
            <a:endParaRPr lang="en-US"/>
          </a:p>
        </p:txBody>
      </p:sp>
    </p:spTree>
    <p:extLst>
      <p:ext uri="{BB962C8B-B14F-4D97-AF65-F5344CB8AC3E}">
        <p14:creationId xmlns:p14="http://schemas.microsoft.com/office/powerpoint/2010/main" val="38436394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 Id="rId6" Type="http://schemas.openxmlformats.org/officeDocument/2006/relationships/image" Target="../media/image1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10.xml"/><Relationship Id="rId6" Type="http://schemas.openxmlformats.org/officeDocument/2006/relationships/image" Target="../media/image18.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7.png"/><Relationship Id="rId1" Type="http://schemas.openxmlformats.org/officeDocument/2006/relationships/slideMaster" Target="../slideMasters/slideMaster10.xml"/><Relationship Id="rId5" Type="http://schemas.openxmlformats.org/officeDocument/2006/relationships/image" Target="../media/image21.svg"/><Relationship Id="rId4" Type="http://schemas.openxmlformats.org/officeDocument/2006/relationships/image" Target="../media/image9.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68C47-A946-48F1-A893-CC6AC597F6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292872-9766-4639-B0C0-9C74539C8A5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4774841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91639-F64C-4CFE-B724-866C1A02655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C647482-3152-4A7F-8D0C-79E6C7446A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5157703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DD06E-6204-484B-83D7-EE335A407F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3BA551-A342-4486-BAA1-53B95D2E63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0105184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B711F-93EA-4DBF-BC42-1D3F1D09FA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067FCC-0DB6-44B6-96C7-4FC70BB2B4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83C0B0CB-C80F-4E6E-9661-1A7B6381E62F}"/>
              </a:ext>
            </a:extLst>
          </p:cNvPr>
          <p:cNvSpPr>
            <a:spLocks noGrp="1"/>
          </p:cNvSpPr>
          <p:nvPr>
            <p:ph type="sldNum" sz="quarter" idx="10"/>
          </p:nvPr>
        </p:nvSpPr>
        <p:spPr/>
        <p:txBody>
          <a:bodyPr/>
          <a:lstStyle/>
          <a:p>
            <a:fld id="{683B17B3-AC5C-404D-89E1-0008D614D344}" type="slidenum">
              <a:rPr lang="en-US" smtClean="0"/>
              <a:t>‹#›</a:t>
            </a:fld>
            <a:endParaRPr lang="en-US"/>
          </a:p>
        </p:txBody>
      </p:sp>
    </p:spTree>
    <p:extLst>
      <p:ext uri="{BB962C8B-B14F-4D97-AF65-F5344CB8AC3E}">
        <p14:creationId xmlns:p14="http://schemas.microsoft.com/office/powerpoint/2010/main" val="3911019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2ACCA-A75F-4406-9561-9E1966DC04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94E3518-B9B4-44C6-89D4-1EE1D9A790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744021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348DF747-61F3-4E3D-ACBC-FD3DE421179C}"/>
              </a:ext>
            </a:extLst>
          </p:cNvPr>
          <p:cNvSpPr>
            <a:spLocks noGrp="1"/>
          </p:cNvSpPr>
          <p:nvPr>
            <p:ph type="pic" sz="quarter" idx="12" hasCustomPrompt="1"/>
          </p:nvPr>
        </p:nvSpPr>
        <p:spPr>
          <a:xfrm>
            <a:off x="0" y="1"/>
            <a:ext cx="12192000" cy="6857999"/>
          </a:xfrm>
          <a:prstGeom prst="rect">
            <a:avLst/>
          </a:prstGeom>
          <a:solidFill>
            <a:schemeClr val="accent2"/>
          </a:solidFill>
        </p:spPr>
        <p:txBody>
          <a:bodyPr anchor="ctr" anchorCtr="0"/>
          <a:lstStyle>
            <a:lvl1pPr marL="0" indent="0" algn="ctr">
              <a:buFontTx/>
              <a:buNone/>
              <a:defRPr>
                <a:solidFill>
                  <a:schemeClr val="bg2">
                    <a:alpha val="50000"/>
                  </a:schemeClr>
                </a:solidFill>
              </a:defRPr>
            </a:lvl1pPr>
          </a:lstStyle>
          <a:p>
            <a:r>
              <a:rPr lang="pl-PL"/>
              <a:t>Click on the icon to add picture</a:t>
            </a:r>
            <a:endParaRPr lang="en-GB"/>
          </a:p>
        </p:txBody>
      </p:sp>
      <p:sp>
        <p:nvSpPr>
          <p:cNvPr id="2" name="Title 1">
            <a:extLst>
              <a:ext uri="{FF2B5EF4-FFF2-40B4-BE49-F238E27FC236}">
                <a16:creationId xmlns:a16="http://schemas.microsoft.com/office/drawing/2014/main" id="{DAF5A823-F9C7-4D78-BEEA-821AAD090050}"/>
              </a:ext>
            </a:extLst>
          </p:cNvPr>
          <p:cNvSpPr>
            <a:spLocks noGrp="1"/>
          </p:cNvSpPr>
          <p:nvPr>
            <p:ph type="title" hasCustomPrompt="1"/>
          </p:nvPr>
        </p:nvSpPr>
        <p:spPr>
          <a:xfrm>
            <a:off x="819150" y="1036700"/>
            <a:ext cx="4309231" cy="1761209"/>
          </a:xfrm>
          <a:prstGeom prst="rect">
            <a:avLst/>
          </a:prstGeom>
        </p:spPr>
        <p:txBody>
          <a:bodyPr wrap="square" lIns="0" tIns="0" rIns="0" bIns="0">
            <a:spAutoFit/>
          </a:bodyPr>
          <a:lstStyle>
            <a:lvl1pPr>
              <a:lnSpc>
                <a:spcPts val="4534"/>
              </a:lnSpc>
              <a:defRPr sz="4800" b="1" cap="all" baseline="0">
                <a:solidFill>
                  <a:schemeClr val="bg1">
                    <a:lumMod val="10000"/>
                  </a:schemeClr>
                </a:solidFill>
                <a:latin typeface="Calibri" panose="020F0502020204030204" pitchFamily="34" charset="0"/>
                <a:cs typeface="Calibri" panose="020F0502020204030204" pitchFamily="34" charset="0"/>
              </a:defRPr>
            </a:lvl1pPr>
          </a:lstStyle>
          <a:p>
            <a:r>
              <a:rPr lang="pl-PL"/>
              <a:t>presentation</a:t>
            </a:r>
            <a:r>
              <a:rPr lang="en-GB"/>
              <a:t> TITLE, CALIBRI BOLD, </a:t>
            </a:r>
            <a:r>
              <a:rPr lang="pl-PL"/>
              <a:t>72</a:t>
            </a:r>
            <a:r>
              <a:rPr lang="en-GB"/>
              <a:t> PT</a:t>
            </a:r>
          </a:p>
        </p:txBody>
      </p:sp>
      <p:sp>
        <p:nvSpPr>
          <p:cNvPr id="3" name="Text Placeholder 10">
            <a:extLst>
              <a:ext uri="{FF2B5EF4-FFF2-40B4-BE49-F238E27FC236}">
                <a16:creationId xmlns:a16="http://schemas.microsoft.com/office/drawing/2014/main" id="{BF123548-86B5-4EE5-8CBC-9F16B16DC4C9}"/>
              </a:ext>
            </a:extLst>
          </p:cNvPr>
          <p:cNvSpPr>
            <a:spLocks noGrp="1"/>
          </p:cNvSpPr>
          <p:nvPr>
            <p:ph type="body" sz="quarter" idx="10" hasCustomPrompt="1"/>
          </p:nvPr>
        </p:nvSpPr>
        <p:spPr>
          <a:xfrm>
            <a:off x="819149" y="5004465"/>
            <a:ext cx="4309231" cy="208049"/>
          </a:xfrm>
          <a:prstGeom prst="rect">
            <a:avLst/>
          </a:prstGeom>
        </p:spPr>
        <p:txBody>
          <a:bodyPr lIns="0" tIns="0" rIns="0" bIns="0">
            <a:spAutoFit/>
          </a:bodyPr>
          <a:lstStyle>
            <a:lvl1pPr marL="0" indent="0">
              <a:lnSpc>
                <a:spcPts val="1600"/>
              </a:lnSpc>
              <a:spcBef>
                <a:spcPts val="0"/>
              </a:spcBef>
              <a:buFontTx/>
              <a:buNone/>
              <a:defRPr sz="1600">
                <a:solidFill>
                  <a:schemeClr val="bg1">
                    <a:lumMod val="10000"/>
                  </a:schemeClr>
                </a:solidFill>
                <a:latin typeface="+mn-lt"/>
                <a:cs typeface="Calibri Light" panose="020F0302020204030204" pitchFamily="34" charset="0"/>
              </a:defRPr>
            </a:lvl1pPr>
            <a:lvl2pPr>
              <a:defRPr sz="2133">
                <a:latin typeface="Calibri Light" panose="020F0302020204030204" pitchFamily="34" charset="0"/>
                <a:cs typeface="Calibri Light" panose="020F0302020204030204" pitchFamily="34" charset="0"/>
              </a:defRPr>
            </a:lvl2pPr>
            <a:lvl3pPr>
              <a:defRPr sz="1867">
                <a:latin typeface="Calibri Light" panose="020F0302020204030204" pitchFamily="34" charset="0"/>
                <a:cs typeface="Calibri Light" panose="020F0302020204030204" pitchFamily="34" charset="0"/>
              </a:defRPr>
            </a:lvl3pPr>
            <a:lvl4pPr>
              <a:defRPr sz="1600">
                <a:latin typeface="Calibri Light" panose="020F0302020204030204" pitchFamily="34" charset="0"/>
                <a:cs typeface="Calibri Light" panose="020F0302020204030204" pitchFamily="34" charset="0"/>
              </a:defRPr>
            </a:lvl4pPr>
            <a:lvl5pPr>
              <a:defRPr sz="1600">
                <a:latin typeface="Calibri Light" panose="020F0302020204030204" pitchFamily="34" charset="0"/>
                <a:cs typeface="Calibri Light" panose="020F0302020204030204" pitchFamily="34" charset="0"/>
              </a:defRPr>
            </a:lvl5pPr>
          </a:lstStyle>
          <a:p>
            <a:pPr lvl="0"/>
            <a:r>
              <a:rPr lang="pl-PL"/>
              <a:t>Place, Date (Calibri, 24 pt)</a:t>
            </a:r>
            <a:endParaRPr lang="en-GB"/>
          </a:p>
        </p:txBody>
      </p:sp>
      <p:sp>
        <p:nvSpPr>
          <p:cNvPr id="10" name="Picture Placeholder 13">
            <a:extLst>
              <a:ext uri="{FF2B5EF4-FFF2-40B4-BE49-F238E27FC236}">
                <a16:creationId xmlns:a16="http://schemas.microsoft.com/office/drawing/2014/main" id="{C7FAD685-821B-4576-ACDE-75F7BF30E1A7}"/>
              </a:ext>
            </a:extLst>
          </p:cNvPr>
          <p:cNvSpPr>
            <a:spLocks noGrp="1"/>
          </p:cNvSpPr>
          <p:nvPr>
            <p:ph type="pic" sz="quarter" idx="13" hasCustomPrompt="1"/>
          </p:nvPr>
        </p:nvSpPr>
        <p:spPr>
          <a:xfrm>
            <a:off x="0" y="739345"/>
            <a:ext cx="539750" cy="1079500"/>
          </a:xfrm>
          <a:prstGeom prst="rect">
            <a:avLst/>
          </a:prstGeom>
          <a:ln>
            <a:noFill/>
          </a:ln>
        </p:spPr>
        <p:txBody>
          <a:bodyPr anchor="ctr" anchorCtr="0"/>
          <a:lstStyle>
            <a:lvl1pPr marL="0" indent="0" algn="ctr">
              <a:buFontTx/>
              <a:buNone/>
              <a:defRPr sz="1200"/>
            </a:lvl1pPr>
          </a:lstStyle>
          <a:p>
            <a:r>
              <a:rPr lang="pl-PL"/>
              <a:t>&gt;</a:t>
            </a:r>
            <a:endParaRPr lang="en-GB"/>
          </a:p>
        </p:txBody>
      </p:sp>
      <p:sp>
        <p:nvSpPr>
          <p:cNvPr id="18" name="Picture Placeholder 17">
            <a:extLst>
              <a:ext uri="{FF2B5EF4-FFF2-40B4-BE49-F238E27FC236}">
                <a16:creationId xmlns:a16="http://schemas.microsoft.com/office/drawing/2014/main" id="{EC4C3586-4BCD-4E25-B395-8D8CB54D50E2}"/>
              </a:ext>
            </a:extLst>
          </p:cNvPr>
          <p:cNvSpPr>
            <a:spLocks noGrp="1"/>
          </p:cNvSpPr>
          <p:nvPr>
            <p:ph type="pic" sz="quarter" idx="14" hasCustomPrompt="1"/>
          </p:nvPr>
        </p:nvSpPr>
        <p:spPr>
          <a:xfrm>
            <a:off x="819149" y="5781257"/>
            <a:ext cx="3149599" cy="508000"/>
          </a:xfrm>
          <a:prstGeom prst="rect">
            <a:avLst/>
          </a:prstGeom>
        </p:spPr>
        <p:txBody>
          <a:bodyPr anchor="ctr" anchorCtr="0"/>
          <a:lstStyle>
            <a:lvl1pPr marL="0" indent="0" algn="ctr">
              <a:buFontTx/>
              <a:buNone/>
              <a:defRPr sz="1200"/>
            </a:lvl1pPr>
          </a:lstStyle>
          <a:p>
            <a:r>
              <a:rPr lang="pl-PL"/>
              <a:t>^</a:t>
            </a:r>
            <a:endParaRPr lang="en-GB"/>
          </a:p>
        </p:txBody>
      </p:sp>
    </p:spTree>
    <p:extLst>
      <p:ext uri="{BB962C8B-B14F-4D97-AF65-F5344CB8AC3E}">
        <p14:creationId xmlns:p14="http://schemas.microsoft.com/office/powerpoint/2010/main" val="42180538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819150" y="508005"/>
            <a:ext cx="10334626" cy="507319"/>
          </a:xfrm>
          <a:prstGeom prst="rect">
            <a:avLst/>
          </a:prstGeom>
        </p:spPr>
        <p:txBody>
          <a:bodyPr wrap="square" lIns="0" tIns="0" rIns="0" bIns="0">
            <a:spAutoFit/>
          </a:bodyPr>
          <a:lstStyle>
            <a:lvl1pPr>
              <a:lnSpc>
                <a:spcPts val="3867"/>
              </a:lnSpc>
              <a:defRPr sz="4000" b="1" cap="all" baseline="0">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
        <p:nvSpPr>
          <p:cNvPr id="4" name="Oval 3">
            <a:extLst>
              <a:ext uri="{FF2B5EF4-FFF2-40B4-BE49-F238E27FC236}">
                <a16:creationId xmlns:a16="http://schemas.microsoft.com/office/drawing/2014/main" id="{ABCE8737-B3C4-4649-8F17-90E5AF40491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pic>
        <p:nvPicPr>
          <p:cNvPr id="5" name="Graphic 4">
            <a:extLst>
              <a:ext uri="{FF2B5EF4-FFF2-40B4-BE49-F238E27FC236}">
                <a16:creationId xmlns:a16="http://schemas.microsoft.com/office/drawing/2014/main" id="{22B6A3DF-45E2-45ED-B82C-F28F7AE07E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19088" y="394965"/>
            <a:ext cx="514297" cy="593017"/>
          </a:xfrm>
          <a:prstGeom prst="rect">
            <a:avLst/>
          </a:prstGeom>
        </p:spPr>
      </p:pic>
      <p:pic>
        <p:nvPicPr>
          <p:cNvPr id="6" name="Graphic 5">
            <a:extLst>
              <a:ext uri="{FF2B5EF4-FFF2-40B4-BE49-F238E27FC236}">
                <a16:creationId xmlns:a16="http://schemas.microsoft.com/office/drawing/2014/main" id="{38368C94-FFE1-4DED-8215-FBD80F225AD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80950"/>
            <a:ext cx="539750" cy="1079500"/>
          </a:xfrm>
          <a:prstGeom prst="rect">
            <a:avLst/>
          </a:prstGeom>
        </p:spPr>
      </p:pic>
    </p:spTree>
    <p:extLst>
      <p:ext uri="{BB962C8B-B14F-4D97-AF65-F5344CB8AC3E}">
        <p14:creationId xmlns:p14="http://schemas.microsoft.com/office/powerpoint/2010/main" val="26251173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ockup Layout 1">
    <p:spTree>
      <p:nvGrpSpPr>
        <p:cNvPr id="1" name=""/>
        <p:cNvGrpSpPr/>
        <p:nvPr/>
      </p:nvGrpSpPr>
      <p:grpSpPr>
        <a:xfrm>
          <a:off x="0" y="0"/>
          <a:ext cx="0" cy="0"/>
          <a:chOff x="0" y="0"/>
          <a:chExt cx="0" cy="0"/>
        </a:xfrm>
      </p:grpSpPr>
      <p:pic>
        <p:nvPicPr>
          <p:cNvPr id="13" name="Picture 12" descr="A screen shot of a computer monitor&#10;&#10;Description automatically generated">
            <a:extLst>
              <a:ext uri="{FF2B5EF4-FFF2-40B4-BE49-F238E27FC236}">
                <a16:creationId xmlns:a16="http://schemas.microsoft.com/office/drawing/2014/main" id="{6013F0D5-BD5D-4A67-BEC3-37DED9C9E5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24151" y="1642174"/>
            <a:ext cx="5461000" cy="4572000"/>
          </a:xfrm>
          <a:prstGeom prst="rect">
            <a:avLst/>
          </a:prstGeom>
        </p:spPr>
      </p:pic>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819150" y="508005"/>
            <a:ext cx="10334626" cy="507319"/>
          </a:xfrm>
          <a:prstGeom prst="rect">
            <a:avLst/>
          </a:prstGeom>
        </p:spPr>
        <p:txBody>
          <a:bodyPr wrap="square" lIns="0" tIns="0" rIns="0" bIns="0">
            <a:spAutoFit/>
          </a:bodyPr>
          <a:lstStyle>
            <a:lvl1pPr>
              <a:lnSpc>
                <a:spcPts val="3867"/>
              </a:lnSpc>
              <a:defRPr sz="4000" b="1" cap="all" baseline="0">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
        <p:nvSpPr>
          <p:cNvPr id="4" name="Oval 3">
            <a:extLst>
              <a:ext uri="{FF2B5EF4-FFF2-40B4-BE49-F238E27FC236}">
                <a16:creationId xmlns:a16="http://schemas.microsoft.com/office/drawing/2014/main" id="{ABCE8737-B3C4-4649-8F17-90E5AF40491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pic>
        <p:nvPicPr>
          <p:cNvPr id="5" name="Graphic 4">
            <a:extLst>
              <a:ext uri="{FF2B5EF4-FFF2-40B4-BE49-F238E27FC236}">
                <a16:creationId xmlns:a16="http://schemas.microsoft.com/office/drawing/2014/main" id="{22B6A3DF-45E2-45ED-B82C-F28F7AE07E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19088" y="394965"/>
            <a:ext cx="514297" cy="593017"/>
          </a:xfrm>
          <a:prstGeom prst="rect">
            <a:avLst/>
          </a:prstGeom>
        </p:spPr>
      </p:pic>
      <p:pic>
        <p:nvPicPr>
          <p:cNvPr id="6" name="Graphic 5">
            <a:extLst>
              <a:ext uri="{FF2B5EF4-FFF2-40B4-BE49-F238E27FC236}">
                <a16:creationId xmlns:a16="http://schemas.microsoft.com/office/drawing/2014/main" id="{38368C94-FFE1-4DED-8215-FBD80F225A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180950"/>
            <a:ext cx="539750" cy="1079500"/>
          </a:xfrm>
          <a:prstGeom prst="rect">
            <a:avLst/>
          </a:prstGeom>
        </p:spPr>
      </p:pic>
      <p:sp>
        <p:nvSpPr>
          <p:cNvPr id="11" name="Picture Placeholder 7">
            <a:extLst>
              <a:ext uri="{FF2B5EF4-FFF2-40B4-BE49-F238E27FC236}">
                <a16:creationId xmlns:a16="http://schemas.microsoft.com/office/drawing/2014/main" id="{8C3938FE-13CD-483D-BA9C-CD8332D5FBC6}"/>
              </a:ext>
            </a:extLst>
          </p:cNvPr>
          <p:cNvSpPr>
            <a:spLocks noGrp="1"/>
          </p:cNvSpPr>
          <p:nvPr>
            <p:ph type="pic" sz="quarter" idx="12" hasCustomPrompt="1"/>
          </p:nvPr>
        </p:nvSpPr>
        <p:spPr>
          <a:xfrm>
            <a:off x="5793232" y="1900937"/>
            <a:ext cx="4922839" cy="2787649"/>
          </a:xfrm>
          <a:prstGeom prst="rect">
            <a:avLst/>
          </a:prstGeom>
          <a:solidFill>
            <a:schemeClr val="accent2"/>
          </a:solidFill>
        </p:spPr>
        <p:txBody>
          <a:bodyPr anchor="ctr" anchorCtr="0"/>
          <a:lstStyle>
            <a:lvl1pPr marL="0" indent="0" algn="ctr">
              <a:buFontTx/>
              <a:buNone/>
              <a:defRPr>
                <a:solidFill>
                  <a:schemeClr val="bg2">
                    <a:alpha val="50000"/>
                  </a:schemeClr>
                </a:solidFill>
              </a:defRPr>
            </a:lvl1pPr>
          </a:lstStyle>
          <a:p>
            <a:r>
              <a:rPr lang="pl-PL"/>
              <a:t>Click on the icon to add picture</a:t>
            </a:r>
            <a:endParaRPr lang="en-GB"/>
          </a:p>
        </p:txBody>
      </p:sp>
    </p:spTree>
    <p:extLst>
      <p:ext uri="{BB962C8B-B14F-4D97-AF65-F5344CB8AC3E}">
        <p14:creationId xmlns:p14="http://schemas.microsoft.com/office/powerpoint/2010/main" val="14974369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819150" y="508005"/>
            <a:ext cx="10334626" cy="507319"/>
          </a:xfrm>
          <a:prstGeom prst="rect">
            <a:avLst/>
          </a:prstGeom>
        </p:spPr>
        <p:txBody>
          <a:bodyPr wrap="square" lIns="0" tIns="0" rIns="0" bIns="0">
            <a:spAutoFit/>
          </a:bodyPr>
          <a:lstStyle>
            <a:lvl1pPr>
              <a:lnSpc>
                <a:spcPts val="3867"/>
              </a:lnSpc>
              <a:defRPr sz="4000" b="1" cap="all" baseline="0">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
        <p:nvSpPr>
          <p:cNvPr id="4" name="Oval 3">
            <a:extLst>
              <a:ext uri="{FF2B5EF4-FFF2-40B4-BE49-F238E27FC236}">
                <a16:creationId xmlns:a16="http://schemas.microsoft.com/office/drawing/2014/main" id="{ABCE8737-B3C4-4649-8F17-90E5AF40491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pic>
        <p:nvPicPr>
          <p:cNvPr id="5" name="Graphic 4">
            <a:extLst>
              <a:ext uri="{FF2B5EF4-FFF2-40B4-BE49-F238E27FC236}">
                <a16:creationId xmlns:a16="http://schemas.microsoft.com/office/drawing/2014/main" id="{22B6A3DF-45E2-45ED-B82C-F28F7AE07E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19088" y="394965"/>
            <a:ext cx="514297" cy="593017"/>
          </a:xfrm>
          <a:prstGeom prst="rect">
            <a:avLst/>
          </a:prstGeom>
        </p:spPr>
      </p:pic>
      <p:pic>
        <p:nvPicPr>
          <p:cNvPr id="6" name="Graphic 5">
            <a:extLst>
              <a:ext uri="{FF2B5EF4-FFF2-40B4-BE49-F238E27FC236}">
                <a16:creationId xmlns:a16="http://schemas.microsoft.com/office/drawing/2014/main" id="{38368C94-FFE1-4DED-8215-FBD80F225AD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80950"/>
            <a:ext cx="539750" cy="1079500"/>
          </a:xfrm>
          <a:prstGeom prst="rect">
            <a:avLst/>
          </a:prstGeom>
        </p:spPr>
      </p:pic>
      <p:pic>
        <p:nvPicPr>
          <p:cNvPr id="7" name="Picture 6" descr="A picture containing indoor, monitor, sitting, computer&#10;&#10;Description automatically generated">
            <a:extLst>
              <a:ext uri="{FF2B5EF4-FFF2-40B4-BE49-F238E27FC236}">
                <a16:creationId xmlns:a16="http://schemas.microsoft.com/office/drawing/2014/main" id="{A81EE8AF-938D-46E9-A9DC-9C1AF8F38D3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270151" y="2372424"/>
            <a:ext cx="5969000" cy="3683000"/>
          </a:xfrm>
          <a:prstGeom prst="rect">
            <a:avLst/>
          </a:prstGeom>
        </p:spPr>
      </p:pic>
      <p:sp>
        <p:nvSpPr>
          <p:cNvPr id="11" name="Picture Placeholder 7">
            <a:extLst>
              <a:ext uri="{FF2B5EF4-FFF2-40B4-BE49-F238E27FC236}">
                <a16:creationId xmlns:a16="http://schemas.microsoft.com/office/drawing/2014/main" id="{8C3938FE-13CD-483D-BA9C-CD8332D5FBC6}"/>
              </a:ext>
            </a:extLst>
          </p:cNvPr>
          <p:cNvSpPr>
            <a:spLocks noGrp="1"/>
          </p:cNvSpPr>
          <p:nvPr>
            <p:ph type="pic" sz="quarter" idx="12" hasCustomPrompt="1"/>
          </p:nvPr>
        </p:nvSpPr>
        <p:spPr>
          <a:xfrm>
            <a:off x="6318250" y="2895600"/>
            <a:ext cx="3872803" cy="2486026"/>
          </a:xfrm>
          <a:prstGeom prst="rect">
            <a:avLst/>
          </a:prstGeom>
          <a:solidFill>
            <a:schemeClr val="accent2"/>
          </a:solidFill>
        </p:spPr>
        <p:txBody>
          <a:bodyPr anchor="ctr" anchorCtr="0"/>
          <a:lstStyle>
            <a:lvl1pPr marL="0" indent="0" algn="ctr">
              <a:buFontTx/>
              <a:buNone/>
              <a:defRPr>
                <a:solidFill>
                  <a:schemeClr val="bg2">
                    <a:alpha val="50000"/>
                  </a:schemeClr>
                </a:solidFill>
              </a:defRPr>
            </a:lvl1pPr>
          </a:lstStyle>
          <a:p>
            <a:r>
              <a:rPr lang="pl-PL"/>
              <a:t>Click on the icon to add picture</a:t>
            </a:r>
            <a:endParaRPr lang="en-GB"/>
          </a:p>
        </p:txBody>
      </p:sp>
    </p:spTree>
    <p:extLst>
      <p:ext uri="{BB962C8B-B14F-4D97-AF65-F5344CB8AC3E}">
        <p14:creationId xmlns:p14="http://schemas.microsoft.com/office/powerpoint/2010/main" val="32681308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Layou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819150" y="508005"/>
            <a:ext cx="10334626" cy="507319"/>
          </a:xfrm>
          <a:prstGeom prst="rect">
            <a:avLst/>
          </a:prstGeom>
        </p:spPr>
        <p:txBody>
          <a:bodyPr wrap="square" lIns="0" tIns="0" rIns="0" bIns="0">
            <a:spAutoFit/>
          </a:bodyPr>
          <a:lstStyle>
            <a:lvl1pPr>
              <a:lnSpc>
                <a:spcPts val="3867"/>
              </a:lnSpc>
              <a:defRPr sz="4000" b="1" cap="all" baseline="0">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
        <p:nvSpPr>
          <p:cNvPr id="4" name="Oval 3">
            <a:extLst>
              <a:ext uri="{FF2B5EF4-FFF2-40B4-BE49-F238E27FC236}">
                <a16:creationId xmlns:a16="http://schemas.microsoft.com/office/drawing/2014/main" id="{ABCE8737-B3C4-4649-8F17-90E5AF40491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pic>
        <p:nvPicPr>
          <p:cNvPr id="5" name="Graphic 4">
            <a:extLst>
              <a:ext uri="{FF2B5EF4-FFF2-40B4-BE49-F238E27FC236}">
                <a16:creationId xmlns:a16="http://schemas.microsoft.com/office/drawing/2014/main" id="{22B6A3DF-45E2-45ED-B82C-F28F7AE07E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19088" y="394965"/>
            <a:ext cx="514297" cy="593017"/>
          </a:xfrm>
          <a:prstGeom prst="rect">
            <a:avLst/>
          </a:prstGeom>
        </p:spPr>
      </p:pic>
      <p:pic>
        <p:nvPicPr>
          <p:cNvPr id="6" name="Graphic 5">
            <a:extLst>
              <a:ext uri="{FF2B5EF4-FFF2-40B4-BE49-F238E27FC236}">
                <a16:creationId xmlns:a16="http://schemas.microsoft.com/office/drawing/2014/main" id="{38368C94-FFE1-4DED-8215-FBD80F225AD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80950"/>
            <a:ext cx="539750" cy="1079500"/>
          </a:xfrm>
          <a:prstGeom prst="rect">
            <a:avLst/>
          </a:prstGeom>
        </p:spPr>
      </p:pic>
      <p:pic>
        <p:nvPicPr>
          <p:cNvPr id="9" name="Picture 8" descr="A close up of a screen&#10;&#10;Description automatically generated">
            <a:extLst>
              <a:ext uri="{FF2B5EF4-FFF2-40B4-BE49-F238E27FC236}">
                <a16:creationId xmlns:a16="http://schemas.microsoft.com/office/drawing/2014/main" id="{B5FA5E9E-48D2-4566-AD42-63BD9A78529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229485" y="1358686"/>
            <a:ext cx="3810000" cy="5080000"/>
          </a:xfrm>
          <a:prstGeom prst="rect">
            <a:avLst/>
          </a:prstGeom>
        </p:spPr>
      </p:pic>
      <p:sp>
        <p:nvSpPr>
          <p:cNvPr id="14" name="Picture Placeholder 7">
            <a:extLst>
              <a:ext uri="{FF2B5EF4-FFF2-40B4-BE49-F238E27FC236}">
                <a16:creationId xmlns:a16="http://schemas.microsoft.com/office/drawing/2014/main" id="{1BBD5A5B-F5F9-42A7-9CFF-F7C031CBFDB3}"/>
              </a:ext>
            </a:extLst>
          </p:cNvPr>
          <p:cNvSpPr>
            <a:spLocks noGrp="1"/>
          </p:cNvSpPr>
          <p:nvPr>
            <p:ph type="pic" sz="quarter" idx="13" hasCustomPrompt="1"/>
          </p:nvPr>
        </p:nvSpPr>
        <p:spPr>
          <a:xfrm>
            <a:off x="3129439" y="1668461"/>
            <a:ext cx="2010092" cy="4345178"/>
          </a:xfrm>
          <a:prstGeom prst="roundRect">
            <a:avLst>
              <a:gd name="adj" fmla="val 10770"/>
            </a:avLst>
          </a:prstGeom>
          <a:solidFill>
            <a:schemeClr val="accent2"/>
          </a:solidFill>
        </p:spPr>
        <p:txBody>
          <a:bodyPr anchor="ctr" anchorCtr="0"/>
          <a:lstStyle>
            <a:lvl1pPr marL="0" indent="0" algn="ctr">
              <a:buFontTx/>
              <a:buNone/>
              <a:defRPr>
                <a:solidFill>
                  <a:schemeClr val="bg2">
                    <a:alpha val="50000"/>
                  </a:schemeClr>
                </a:solidFill>
              </a:defRPr>
            </a:lvl1pPr>
          </a:lstStyle>
          <a:p>
            <a:r>
              <a:rPr lang="pl-PL"/>
              <a:t>Click on the icon to add picture</a:t>
            </a:r>
            <a:endParaRPr lang="en-GB"/>
          </a:p>
        </p:txBody>
      </p:sp>
      <p:pic>
        <p:nvPicPr>
          <p:cNvPr id="18" name="Picture 17" descr="A close up of a sign&#10;&#10;Description automatically generated">
            <a:extLst>
              <a:ext uri="{FF2B5EF4-FFF2-40B4-BE49-F238E27FC236}">
                <a16:creationId xmlns:a16="http://schemas.microsoft.com/office/drawing/2014/main" id="{C692DE1C-D28B-4387-B25E-75FC0AFC371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98689" y="3129672"/>
            <a:ext cx="2576258" cy="3220323"/>
          </a:xfrm>
          <a:prstGeom prst="rect">
            <a:avLst/>
          </a:prstGeom>
        </p:spPr>
      </p:pic>
      <p:sp>
        <p:nvSpPr>
          <p:cNvPr id="19" name="Picture Placeholder 7">
            <a:extLst>
              <a:ext uri="{FF2B5EF4-FFF2-40B4-BE49-F238E27FC236}">
                <a16:creationId xmlns:a16="http://schemas.microsoft.com/office/drawing/2014/main" id="{2143401C-D05B-4CAC-8643-C1321C7B5534}"/>
              </a:ext>
            </a:extLst>
          </p:cNvPr>
          <p:cNvSpPr>
            <a:spLocks noGrp="1"/>
          </p:cNvSpPr>
          <p:nvPr>
            <p:ph type="pic" sz="quarter" idx="14" hasCustomPrompt="1"/>
          </p:nvPr>
        </p:nvSpPr>
        <p:spPr>
          <a:xfrm>
            <a:off x="7139517" y="3763434"/>
            <a:ext cx="1610783" cy="1911350"/>
          </a:xfrm>
          <a:prstGeom prst="roundRect">
            <a:avLst>
              <a:gd name="adj" fmla="val 15645"/>
            </a:avLst>
          </a:prstGeom>
          <a:solidFill>
            <a:schemeClr val="accent2"/>
          </a:solidFill>
        </p:spPr>
        <p:txBody>
          <a:bodyPr anchor="ctr" anchorCtr="0"/>
          <a:lstStyle>
            <a:lvl1pPr marL="0" indent="0" algn="ctr">
              <a:buFontTx/>
              <a:buNone/>
              <a:defRPr>
                <a:solidFill>
                  <a:schemeClr val="bg2">
                    <a:alpha val="50000"/>
                  </a:schemeClr>
                </a:solidFill>
              </a:defRPr>
            </a:lvl1pPr>
          </a:lstStyle>
          <a:p>
            <a:r>
              <a:rPr lang="pl-PL"/>
              <a:t>Click on the icon to add picture</a:t>
            </a:r>
            <a:endParaRPr lang="en-GB"/>
          </a:p>
        </p:txBody>
      </p:sp>
    </p:spTree>
    <p:extLst>
      <p:ext uri="{BB962C8B-B14F-4D97-AF65-F5344CB8AC3E}">
        <p14:creationId xmlns:p14="http://schemas.microsoft.com/office/powerpoint/2010/main" val="6512734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819150" y="508005"/>
            <a:ext cx="10334626" cy="507319"/>
          </a:xfrm>
          <a:prstGeom prst="rect">
            <a:avLst/>
          </a:prstGeom>
        </p:spPr>
        <p:txBody>
          <a:bodyPr wrap="square" lIns="0" tIns="0" rIns="0" bIns="0">
            <a:spAutoFit/>
          </a:bodyPr>
          <a:lstStyle>
            <a:lvl1pPr>
              <a:lnSpc>
                <a:spcPts val="3867"/>
              </a:lnSpc>
              <a:defRPr sz="4000" b="1" cap="all" baseline="0">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
        <p:nvSpPr>
          <p:cNvPr id="4" name="Oval 3">
            <a:extLst>
              <a:ext uri="{FF2B5EF4-FFF2-40B4-BE49-F238E27FC236}">
                <a16:creationId xmlns:a16="http://schemas.microsoft.com/office/drawing/2014/main" id="{ABCE8737-B3C4-4649-8F17-90E5AF40491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pic>
        <p:nvPicPr>
          <p:cNvPr id="5" name="Graphic 4">
            <a:extLst>
              <a:ext uri="{FF2B5EF4-FFF2-40B4-BE49-F238E27FC236}">
                <a16:creationId xmlns:a16="http://schemas.microsoft.com/office/drawing/2014/main" id="{22B6A3DF-45E2-45ED-B82C-F28F7AE07E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19088" y="394965"/>
            <a:ext cx="514297" cy="593017"/>
          </a:xfrm>
          <a:prstGeom prst="rect">
            <a:avLst/>
          </a:prstGeom>
        </p:spPr>
      </p:pic>
      <p:pic>
        <p:nvPicPr>
          <p:cNvPr id="6" name="Graphic 5">
            <a:extLst>
              <a:ext uri="{FF2B5EF4-FFF2-40B4-BE49-F238E27FC236}">
                <a16:creationId xmlns:a16="http://schemas.microsoft.com/office/drawing/2014/main" id="{38368C94-FFE1-4DED-8215-FBD80F225AD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80950"/>
            <a:ext cx="539750" cy="1079500"/>
          </a:xfrm>
          <a:prstGeom prst="rect">
            <a:avLst/>
          </a:prstGeom>
        </p:spPr>
      </p:pic>
      <p:sp>
        <p:nvSpPr>
          <p:cNvPr id="19" name="Picture Placeholder 7">
            <a:extLst>
              <a:ext uri="{FF2B5EF4-FFF2-40B4-BE49-F238E27FC236}">
                <a16:creationId xmlns:a16="http://schemas.microsoft.com/office/drawing/2014/main" id="{2143401C-D05B-4CAC-8643-C1321C7B5534}"/>
              </a:ext>
            </a:extLst>
          </p:cNvPr>
          <p:cNvSpPr>
            <a:spLocks noGrp="1" noChangeAspect="1"/>
          </p:cNvSpPr>
          <p:nvPr>
            <p:ph type="pic" sz="quarter" idx="14" hasCustomPrompt="1"/>
          </p:nvPr>
        </p:nvSpPr>
        <p:spPr>
          <a:xfrm>
            <a:off x="3562635" y="2349000"/>
            <a:ext cx="2160000" cy="2160000"/>
          </a:xfrm>
          <a:prstGeom prst="roundRect">
            <a:avLst>
              <a:gd name="adj" fmla="val 50000"/>
            </a:avLst>
          </a:prstGeom>
          <a:solidFill>
            <a:schemeClr val="accent2"/>
          </a:solidFill>
          <a:ln>
            <a:noFill/>
          </a:ln>
        </p:spPr>
        <p:txBody>
          <a:bodyPr anchor="ctr" anchorCtr="0"/>
          <a:lstStyle>
            <a:lvl1pPr marL="0" indent="0" algn="ctr">
              <a:buFontTx/>
              <a:buNone/>
              <a:defRPr sz="2400">
                <a:solidFill>
                  <a:schemeClr val="bg2">
                    <a:alpha val="50000"/>
                  </a:schemeClr>
                </a:solidFill>
              </a:defRPr>
            </a:lvl1pPr>
          </a:lstStyle>
          <a:p>
            <a:r>
              <a:rPr lang="pl-PL"/>
              <a:t>Click on the icon to add picture</a:t>
            </a:r>
            <a:endParaRPr lang="en-GB"/>
          </a:p>
        </p:txBody>
      </p:sp>
      <p:sp>
        <p:nvSpPr>
          <p:cNvPr id="15" name="Text Placeholder 14">
            <a:extLst>
              <a:ext uri="{FF2B5EF4-FFF2-40B4-BE49-F238E27FC236}">
                <a16:creationId xmlns:a16="http://schemas.microsoft.com/office/drawing/2014/main" id="{1C66E4EB-EECA-4F69-AE5A-A39582F456C9}"/>
              </a:ext>
            </a:extLst>
          </p:cNvPr>
          <p:cNvSpPr>
            <a:spLocks noGrp="1"/>
          </p:cNvSpPr>
          <p:nvPr>
            <p:ph type="body" sz="quarter" idx="15" hasCustomPrompt="1"/>
          </p:nvPr>
        </p:nvSpPr>
        <p:spPr>
          <a:xfrm>
            <a:off x="6096000" y="2924175"/>
            <a:ext cx="1981200" cy="1009650"/>
          </a:xfrm>
          <a:prstGeom prst="rect">
            <a:avLst/>
          </a:prstGeom>
        </p:spPr>
        <p:txBody>
          <a:bodyPr/>
          <a:lstStyle>
            <a:lvl1pPr marL="0" indent="0">
              <a:spcBef>
                <a:spcPts val="0"/>
              </a:spcBef>
              <a:buFontTx/>
              <a:buNone/>
              <a:defRPr sz="1867"/>
            </a:lvl1pPr>
            <a:lvl2pPr marL="457223" indent="0">
              <a:buFontTx/>
              <a:buNone/>
              <a:defRPr/>
            </a:lvl2pPr>
            <a:lvl3pPr marL="914446" indent="0">
              <a:buFontTx/>
              <a:buNone/>
              <a:defRPr/>
            </a:lvl3pPr>
            <a:lvl4pPr marL="1371669" indent="0">
              <a:buFontTx/>
              <a:buNone/>
              <a:defRPr/>
            </a:lvl4pPr>
            <a:lvl5pPr marL="1828891" indent="0">
              <a:buFontTx/>
              <a:buNone/>
              <a:defRPr/>
            </a:lvl5pPr>
          </a:lstStyle>
          <a:p>
            <a:pPr lvl="0"/>
            <a:r>
              <a:rPr lang="pl-PL"/>
              <a:t>Your name, function and contact details here</a:t>
            </a:r>
          </a:p>
        </p:txBody>
      </p:sp>
    </p:spTree>
    <p:extLst>
      <p:ext uri="{BB962C8B-B14F-4D97-AF65-F5344CB8AC3E}">
        <p14:creationId xmlns:p14="http://schemas.microsoft.com/office/powerpoint/2010/main" val="1310776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3332458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orizontal photo, dark">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AF8EDE58-4FDE-4B68-ADFA-5A27F05EF47F}"/>
              </a:ext>
            </a:extLst>
          </p:cNvPr>
          <p:cNvSpPr>
            <a:spLocks noGrp="1"/>
          </p:cNvSpPr>
          <p:nvPr>
            <p:ph type="pic" sz="quarter" idx="10" hasCustomPrompt="1"/>
          </p:nvPr>
        </p:nvSpPr>
        <p:spPr>
          <a:xfrm>
            <a:off x="-1" y="1"/>
            <a:ext cx="12192001" cy="3428999"/>
          </a:xfrm>
          <a:custGeom>
            <a:avLst/>
            <a:gdLst>
              <a:gd name="connsiteX0" fmla="*/ 17516009 w 18288001"/>
              <a:gd name="connsiteY0" fmla="*/ 1304618 h 5143499"/>
              <a:gd name="connsiteX1" fmla="*/ 17354397 w 18288001"/>
              <a:gd name="connsiteY1" fmla="*/ 1442219 h 5143499"/>
              <a:gd name="connsiteX2" fmla="*/ 17677617 w 18288001"/>
              <a:gd name="connsiteY2" fmla="*/ 1442219 h 5143499"/>
              <a:gd name="connsiteX3" fmla="*/ 17516009 w 18288001"/>
              <a:gd name="connsiteY3" fmla="*/ 1057991 h 5143499"/>
              <a:gd name="connsiteX4" fmla="*/ 17270169 w 18288001"/>
              <a:gd name="connsiteY4" fmla="*/ 1388768 h 5143499"/>
              <a:gd name="connsiteX5" fmla="*/ 17319681 w 18288001"/>
              <a:gd name="connsiteY5" fmla="*/ 1423326 h 5143499"/>
              <a:gd name="connsiteX6" fmla="*/ 17516009 w 18288001"/>
              <a:gd name="connsiteY6" fmla="*/ 1216216 h 5143499"/>
              <a:gd name="connsiteX7" fmla="*/ 17712725 w 18288001"/>
              <a:gd name="connsiteY7" fmla="*/ 1423326 h 5143499"/>
              <a:gd name="connsiteX8" fmla="*/ 17761769 w 18288001"/>
              <a:gd name="connsiteY8" fmla="*/ 1390894 h 5143499"/>
              <a:gd name="connsiteX9" fmla="*/ 17647153 w 18288001"/>
              <a:gd name="connsiteY9" fmla="*/ 729654 h 5143499"/>
              <a:gd name="connsiteX10" fmla="*/ 17829465 w 18288001"/>
              <a:gd name="connsiteY10" fmla="*/ 1316347 h 5143499"/>
              <a:gd name="connsiteX11" fmla="*/ 17647153 w 18288001"/>
              <a:gd name="connsiteY11" fmla="*/ 729654 h 5143499"/>
              <a:gd name="connsiteX12" fmla="*/ 17384861 w 18288001"/>
              <a:gd name="connsiteY12" fmla="*/ 729654 h 5143499"/>
              <a:gd name="connsiteX13" fmla="*/ 17202549 w 18288001"/>
              <a:gd name="connsiteY13" fmla="*/ 1316347 h 5143499"/>
              <a:gd name="connsiteX14" fmla="*/ 17516009 w 18288001"/>
              <a:gd name="connsiteY14" fmla="*/ 592447 h 5143499"/>
              <a:gd name="connsiteX15" fmla="*/ 17216561 w 18288001"/>
              <a:gd name="connsiteY15" fmla="*/ 1337444 h 5143499"/>
              <a:gd name="connsiteX16" fmla="*/ 17249545 w 18288001"/>
              <a:gd name="connsiteY16" fmla="*/ 1372395 h 5143499"/>
              <a:gd name="connsiteX17" fmla="*/ 17516009 w 18288001"/>
              <a:gd name="connsiteY17" fmla="*/ 899687 h 5143499"/>
              <a:gd name="connsiteX18" fmla="*/ 17782945 w 18288001"/>
              <a:gd name="connsiteY18" fmla="*/ 1372395 h 5143499"/>
              <a:gd name="connsiteX19" fmla="*/ 17815533 w 18288001"/>
              <a:gd name="connsiteY19" fmla="*/ 1337444 h 5143499"/>
              <a:gd name="connsiteX20" fmla="*/ 1 w 18288001"/>
              <a:gd name="connsiteY20" fmla="*/ 271425 h 5143499"/>
              <a:gd name="connsiteX21" fmla="*/ 1 w 18288001"/>
              <a:gd name="connsiteY21" fmla="*/ 1890675 h 5143499"/>
              <a:gd name="connsiteX22" fmla="*/ 809626 w 18288001"/>
              <a:gd name="connsiteY22" fmla="*/ 1081050 h 5143499"/>
              <a:gd name="connsiteX23" fmla="*/ 0 w 18288001"/>
              <a:gd name="connsiteY23" fmla="*/ 0 h 5143499"/>
              <a:gd name="connsiteX24" fmla="*/ 18288001 w 18288001"/>
              <a:gd name="connsiteY24" fmla="*/ 0 h 5143499"/>
              <a:gd name="connsiteX25" fmla="*/ 18288001 w 18288001"/>
              <a:gd name="connsiteY25" fmla="*/ 5143499 h 5143499"/>
              <a:gd name="connsiteX26" fmla="*/ 0 w 18288001"/>
              <a:gd name="connsiteY26" fmla="*/ 5143499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288001" h="5143499">
                <a:moveTo>
                  <a:pt x="17516009" y="1304618"/>
                </a:moveTo>
                <a:lnTo>
                  <a:pt x="17354397" y="1442219"/>
                </a:lnTo>
                <a:cubicBezTo>
                  <a:pt x="17439021" y="1483940"/>
                  <a:pt x="17565129" y="1495669"/>
                  <a:pt x="17677617" y="1442219"/>
                </a:cubicBezTo>
                <a:close/>
                <a:moveTo>
                  <a:pt x="17516009" y="1057991"/>
                </a:moveTo>
                <a:lnTo>
                  <a:pt x="17270169" y="1388768"/>
                </a:lnTo>
                <a:cubicBezTo>
                  <a:pt x="17284573" y="1402702"/>
                  <a:pt x="17300633" y="1414037"/>
                  <a:pt x="17319681" y="1423326"/>
                </a:cubicBezTo>
                <a:lnTo>
                  <a:pt x="17516009" y="1216216"/>
                </a:lnTo>
                <a:lnTo>
                  <a:pt x="17712725" y="1423326"/>
                </a:lnTo>
                <a:cubicBezTo>
                  <a:pt x="17729177" y="1414037"/>
                  <a:pt x="17747837" y="1402702"/>
                  <a:pt x="17761769" y="1390894"/>
                </a:cubicBezTo>
                <a:close/>
                <a:moveTo>
                  <a:pt x="17647153" y="729654"/>
                </a:moveTo>
                <a:lnTo>
                  <a:pt x="17829465" y="1316347"/>
                </a:lnTo>
                <a:cubicBezTo>
                  <a:pt x="17981789" y="1109316"/>
                  <a:pt x="17888349" y="815930"/>
                  <a:pt x="17647153" y="729654"/>
                </a:cubicBezTo>
                <a:close/>
                <a:moveTo>
                  <a:pt x="17384861" y="729654"/>
                </a:moveTo>
                <a:cubicBezTo>
                  <a:pt x="17144141" y="815930"/>
                  <a:pt x="17050229" y="1109316"/>
                  <a:pt x="17202549" y="1316347"/>
                </a:cubicBezTo>
                <a:close/>
                <a:moveTo>
                  <a:pt x="17516009" y="592447"/>
                </a:moveTo>
                <a:lnTo>
                  <a:pt x="17216561" y="1337444"/>
                </a:lnTo>
                <a:cubicBezTo>
                  <a:pt x="17230493" y="1353896"/>
                  <a:pt x="17239785" y="1365232"/>
                  <a:pt x="17249545" y="1372395"/>
                </a:cubicBezTo>
                <a:lnTo>
                  <a:pt x="17516009" y="899687"/>
                </a:lnTo>
                <a:lnTo>
                  <a:pt x="17782945" y="1372395"/>
                </a:lnTo>
                <a:cubicBezTo>
                  <a:pt x="17799477" y="1355943"/>
                  <a:pt x="17810889" y="1342088"/>
                  <a:pt x="17815533" y="1337444"/>
                </a:cubicBezTo>
                <a:close/>
                <a:moveTo>
                  <a:pt x="1" y="271425"/>
                </a:moveTo>
                <a:lnTo>
                  <a:pt x="1" y="1890675"/>
                </a:lnTo>
                <a:lnTo>
                  <a:pt x="809626" y="1081050"/>
                </a:lnTo>
                <a:close/>
                <a:moveTo>
                  <a:pt x="0" y="0"/>
                </a:moveTo>
                <a:lnTo>
                  <a:pt x="18288001" y="0"/>
                </a:lnTo>
                <a:lnTo>
                  <a:pt x="18288001" y="5143499"/>
                </a:lnTo>
                <a:lnTo>
                  <a:pt x="0" y="5143499"/>
                </a:lnTo>
                <a:close/>
              </a:path>
            </a:pathLst>
          </a:custGeom>
          <a:solidFill>
            <a:schemeClr val="accent1"/>
          </a:solidFill>
        </p:spPr>
        <p:txBody>
          <a:bodyPr wrap="square" anchor="ctr" anchorCtr="0">
            <a:noAutofit/>
          </a:bodyPr>
          <a:lstStyle>
            <a:lvl1pPr marL="0" indent="0" algn="ctr">
              <a:buFontTx/>
              <a:buNone/>
              <a:defRPr>
                <a:solidFill>
                  <a:schemeClr val="bg2">
                    <a:alpha val="50000"/>
                  </a:schemeClr>
                </a:solidFill>
              </a:defRPr>
            </a:lvl1pPr>
          </a:lstStyle>
          <a:p>
            <a:r>
              <a:rPr lang="pl-PL"/>
              <a:t>Click on the icon to add picture</a:t>
            </a:r>
            <a:endParaRPr lang="en-GB"/>
          </a:p>
        </p:txBody>
      </p:sp>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819150" y="508005"/>
            <a:ext cx="10334626" cy="507319"/>
          </a:xfrm>
          <a:prstGeom prst="rect">
            <a:avLst/>
          </a:prstGeom>
        </p:spPr>
        <p:txBody>
          <a:bodyPr wrap="square" lIns="0" tIns="0" rIns="0" bIns="0">
            <a:spAutoFit/>
          </a:bodyPr>
          <a:lstStyle>
            <a:lvl1pPr>
              <a:lnSpc>
                <a:spcPts val="3867"/>
              </a:lnSpc>
              <a:defRPr sz="4000" b="1">
                <a:solidFill>
                  <a:schemeClr val="bg2"/>
                </a:solidFill>
                <a:latin typeface="Calibri" panose="020F0502020204030204" pitchFamily="34" charset="0"/>
                <a:cs typeface="Calibri" panose="020F0502020204030204" pitchFamily="34" charset="0"/>
              </a:defRPr>
            </a:lvl1pPr>
          </a:lstStyle>
          <a:p>
            <a:r>
              <a:rPr lang="en-GB"/>
              <a:t>SLIDE TITLE, CALIBRI BOLD, 60 PT</a:t>
            </a:r>
          </a:p>
        </p:txBody>
      </p:sp>
      <p:sp>
        <p:nvSpPr>
          <p:cNvPr id="4" name="Oval 3">
            <a:extLst>
              <a:ext uri="{FF2B5EF4-FFF2-40B4-BE49-F238E27FC236}">
                <a16:creationId xmlns:a16="http://schemas.microsoft.com/office/drawing/2014/main" id="{ABCE8737-B3C4-4649-8F17-90E5AF40491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spTree>
    <p:extLst>
      <p:ext uri="{BB962C8B-B14F-4D97-AF65-F5344CB8AC3E}">
        <p14:creationId xmlns:p14="http://schemas.microsoft.com/office/powerpoint/2010/main" val="40521826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orizontal photo, b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8E87EC6-9C52-4C05-992F-D59143FED6DD}"/>
              </a:ext>
            </a:extLst>
          </p:cNvPr>
          <p:cNvSpPr/>
          <p:nvPr userDrawn="1"/>
        </p:nvSpPr>
        <p:spPr>
          <a:xfrm>
            <a:off x="-1" y="1"/>
            <a:ext cx="12192001" cy="1715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2" name="Picture Placeholder 21">
            <a:extLst>
              <a:ext uri="{FF2B5EF4-FFF2-40B4-BE49-F238E27FC236}">
                <a16:creationId xmlns:a16="http://schemas.microsoft.com/office/drawing/2014/main" id="{AF8EDE58-4FDE-4B68-ADFA-5A27F05EF47F}"/>
              </a:ext>
            </a:extLst>
          </p:cNvPr>
          <p:cNvSpPr>
            <a:spLocks noGrp="1"/>
          </p:cNvSpPr>
          <p:nvPr>
            <p:ph type="pic" sz="quarter" idx="10" hasCustomPrompt="1"/>
          </p:nvPr>
        </p:nvSpPr>
        <p:spPr>
          <a:xfrm>
            <a:off x="-1" y="1"/>
            <a:ext cx="12192001" cy="3428999"/>
          </a:xfrm>
          <a:custGeom>
            <a:avLst/>
            <a:gdLst>
              <a:gd name="connsiteX0" fmla="*/ 17516009 w 18288001"/>
              <a:gd name="connsiteY0" fmla="*/ 1304618 h 5143499"/>
              <a:gd name="connsiteX1" fmla="*/ 17354397 w 18288001"/>
              <a:gd name="connsiteY1" fmla="*/ 1442219 h 5143499"/>
              <a:gd name="connsiteX2" fmla="*/ 17677617 w 18288001"/>
              <a:gd name="connsiteY2" fmla="*/ 1442219 h 5143499"/>
              <a:gd name="connsiteX3" fmla="*/ 17516009 w 18288001"/>
              <a:gd name="connsiteY3" fmla="*/ 1057991 h 5143499"/>
              <a:gd name="connsiteX4" fmla="*/ 17270169 w 18288001"/>
              <a:gd name="connsiteY4" fmla="*/ 1388768 h 5143499"/>
              <a:gd name="connsiteX5" fmla="*/ 17319681 w 18288001"/>
              <a:gd name="connsiteY5" fmla="*/ 1423326 h 5143499"/>
              <a:gd name="connsiteX6" fmla="*/ 17516009 w 18288001"/>
              <a:gd name="connsiteY6" fmla="*/ 1216216 h 5143499"/>
              <a:gd name="connsiteX7" fmla="*/ 17712725 w 18288001"/>
              <a:gd name="connsiteY7" fmla="*/ 1423326 h 5143499"/>
              <a:gd name="connsiteX8" fmla="*/ 17761769 w 18288001"/>
              <a:gd name="connsiteY8" fmla="*/ 1390894 h 5143499"/>
              <a:gd name="connsiteX9" fmla="*/ 17647153 w 18288001"/>
              <a:gd name="connsiteY9" fmla="*/ 729654 h 5143499"/>
              <a:gd name="connsiteX10" fmla="*/ 17829465 w 18288001"/>
              <a:gd name="connsiteY10" fmla="*/ 1316347 h 5143499"/>
              <a:gd name="connsiteX11" fmla="*/ 17647153 w 18288001"/>
              <a:gd name="connsiteY11" fmla="*/ 729654 h 5143499"/>
              <a:gd name="connsiteX12" fmla="*/ 17384861 w 18288001"/>
              <a:gd name="connsiteY12" fmla="*/ 729654 h 5143499"/>
              <a:gd name="connsiteX13" fmla="*/ 17202549 w 18288001"/>
              <a:gd name="connsiteY13" fmla="*/ 1316347 h 5143499"/>
              <a:gd name="connsiteX14" fmla="*/ 17516009 w 18288001"/>
              <a:gd name="connsiteY14" fmla="*/ 592447 h 5143499"/>
              <a:gd name="connsiteX15" fmla="*/ 17216561 w 18288001"/>
              <a:gd name="connsiteY15" fmla="*/ 1337444 h 5143499"/>
              <a:gd name="connsiteX16" fmla="*/ 17249545 w 18288001"/>
              <a:gd name="connsiteY16" fmla="*/ 1372395 h 5143499"/>
              <a:gd name="connsiteX17" fmla="*/ 17516009 w 18288001"/>
              <a:gd name="connsiteY17" fmla="*/ 899687 h 5143499"/>
              <a:gd name="connsiteX18" fmla="*/ 17782945 w 18288001"/>
              <a:gd name="connsiteY18" fmla="*/ 1372395 h 5143499"/>
              <a:gd name="connsiteX19" fmla="*/ 17815533 w 18288001"/>
              <a:gd name="connsiteY19" fmla="*/ 1337444 h 5143499"/>
              <a:gd name="connsiteX20" fmla="*/ 1 w 18288001"/>
              <a:gd name="connsiteY20" fmla="*/ 271425 h 5143499"/>
              <a:gd name="connsiteX21" fmla="*/ 1 w 18288001"/>
              <a:gd name="connsiteY21" fmla="*/ 1890675 h 5143499"/>
              <a:gd name="connsiteX22" fmla="*/ 809626 w 18288001"/>
              <a:gd name="connsiteY22" fmla="*/ 1081050 h 5143499"/>
              <a:gd name="connsiteX23" fmla="*/ 0 w 18288001"/>
              <a:gd name="connsiteY23" fmla="*/ 0 h 5143499"/>
              <a:gd name="connsiteX24" fmla="*/ 18288001 w 18288001"/>
              <a:gd name="connsiteY24" fmla="*/ 0 h 5143499"/>
              <a:gd name="connsiteX25" fmla="*/ 18288001 w 18288001"/>
              <a:gd name="connsiteY25" fmla="*/ 5143499 h 5143499"/>
              <a:gd name="connsiteX26" fmla="*/ 0 w 18288001"/>
              <a:gd name="connsiteY26" fmla="*/ 5143499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288001" h="5143499">
                <a:moveTo>
                  <a:pt x="17516009" y="1304618"/>
                </a:moveTo>
                <a:lnTo>
                  <a:pt x="17354397" y="1442219"/>
                </a:lnTo>
                <a:cubicBezTo>
                  <a:pt x="17439021" y="1483940"/>
                  <a:pt x="17565129" y="1495669"/>
                  <a:pt x="17677617" y="1442219"/>
                </a:cubicBezTo>
                <a:close/>
                <a:moveTo>
                  <a:pt x="17516009" y="1057991"/>
                </a:moveTo>
                <a:lnTo>
                  <a:pt x="17270169" y="1388768"/>
                </a:lnTo>
                <a:cubicBezTo>
                  <a:pt x="17284573" y="1402702"/>
                  <a:pt x="17300633" y="1414037"/>
                  <a:pt x="17319681" y="1423326"/>
                </a:cubicBezTo>
                <a:lnTo>
                  <a:pt x="17516009" y="1216216"/>
                </a:lnTo>
                <a:lnTo>
                  <a:pt x="17712725" y="1423326"/>
                </a:lnTo>
                <a:cubicBezTo>
                  <a:pt x="17729177" y="1414037"/>
                  <a:pt x="17747837" y="1402702"/>
                  <a:pt x="17761769" y="1390894"/>
                </a:cubicBezTo>
                <a:close/>
                <a:moveTo>
                  <a:pt x="17647153" y="729654"/>
                </a:moveTo>
                <a:lnTo>
                  <a:pt x="17829465" y="1316347"/>
                </a:lnTo>
                <a:cubicBezTo>
                  <a:pt x="17981789" y="1109316"/>
                  <a:pt x="17888349" y="815930"/>
                  <a:pt x="17647153" y="729654"/>
                </a:cubicBezTo>
                <a:close/>
                <a:moveTo>
                  <a:pt x="17384861" y="729654"/>
                </a:moveTo>
                <a:cubicBezTo>
                  <a:pt x="17144141" y="815930"/>
                  <a:pt x="17050229" y="1109316"/>
                  <a:pt x="17202549" y="1316347"/>
                </a:cubicBezTo>
                <a:close/>
                <a:moveTo>
                  <a:pt x="17516009" y="592447"/>
                </a:moveTo>
                <a:lnTo>
                  <a:pt x="17216561" y="1337444"/>
                </a:lnTo>
                <a:cubicBezTo>
                  <a:pt x="17230493" y="1353896"/>
                  <a:pt x="17239785" y="1365232"/>
                  <a:pt x="17249545" y="1372395"/>
                </a:cubicBezTo>
                <a:lnTo>
                  <a:pt x="17516009" y="899687"/>
                </a:lnTo>
                <a:lnTo>
                  <a:pt x="17782945" y="1372395"/>
                </a:lnTo>
                <a:cubicBezTo>
                  <a:pt x="17799477" y="1355943"/>
                  <a:pt x="17810889" y="1342088"/>
                  <a:pt x="17815533" y="1337444"/>
                </a:cubicBezTo>
                <a:close/>
                <a:moveTo>
                  <a:pt x="1" y="271425"/>
                </a:moveTo>
                <a:lnTo>
                  <a:pt x="1" y="1890675"/>
                </a:lnTo>
                <a:lnTo>
                  <a:pt x="809626" y="1081050"/>
                </a:lnTo>
                <a:close/>
                <a:moveTo>
                  <a:pt x="0" y="0"/>
                </a:moveTo>
                <a:lnTo>
                  <a:pt x="18288001" y="0"/>
                </a:lnTo>
                <a:lnTo>
                  <a:pt x="18288001" y="5143499"/>
                </a:lnTo>
                <a:lnTo>
                  <a:pt x="0" y="5143499"/>
                </a:lnTo>
                <a:close/>
              </a:path>
            </a:pathLst>
          </a:custGeom>
          <a:solidFill>
            <a:schemeClr val="accent1">
              <a:lumMod val="40000"/>
              <a:lumOff val="60000"/>
            </a:schemeClr>
          </a:solidFill>
        </p:spPr>
        <p:txBody>
          <a:bodyPr wrap="square" anchor="ctr" anchorCtr="0">
            <a:noAutofit/>
          </a:bodyPr>
          <a:lstStyle>
            <a:lvl1pPr marL="0" indent="0" algn="ctr">
              <a:buFontTx/>
              <a:buNone/>
              <a:defRPr>
                <a:solidFill>
                  <a:schemeClr val="accent1">
                    <a:alpha val="50000"/>
                  </a:schemeClr>
                </a:solidFill>
              </a:defRPr>
            </a:lvl1pPr>
          </a:lstStyle>
          <a:p>
            <a:r>
              <a:rPr lang="pl-PL"/>
              <a:t>Click on the icon to add picture</a:t>
            </a:r>
            <a:endParaRPr lang="en-GB"/>
          </a:p>
        </p:txBody>
      </p:sp>
      <p:sp>
        <p:nvSpPr>
          <p:cNvPr id="4" name="Oval 3">
            <a:extLst>
              <a:ext uri="{FF2B5EF4-FFF2-40B4-BE49-F238E27FC236}">
                <a16:creationId xmlns:a16="http://schemas.microsoft.com/office/drawing/2014/main" id="{ABCE8737-B3C4-4649-8F17-90E5AF40491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819150" y="508005"/>
            <a:ext cx="10334626" cy="507319"/>
          </a:xfrm>
          <a:prstGeom prst="rect">
            <a:avLst/>
          </a:prstGeom>
        </p:spPr>
        <p:txBody>
          <a:bodyPr wrap="square" lIns="0" tIns="0" rIns="0" bIns="0">
            <a:spAutoFit/>
          </a:bodyPr>
          <a:lstStyle>
            <a:lvl1pPr>
              <a:lnSpc>
                <a:spcPts val="3867"/>
              </a:lnSpc>
              <a:defRPr sz="4000" b="1">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Tree>
    <p:extLst>
      <p:ext uri="{BB962C8B-B14F-4D97-AF65-F5344CB8AC3E}">
        <p14:creationId xmlns:p14="http://schemas.microsoft.com/office/powerpoint/2010/main" val="34872910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de box">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9C975890-208A-4476-B7F9-F083D4422328}"/>
              </a:ext>
            </a:extLst>
          </p:cNvPr>
          <p:cNvSpPr/>
          <p:nvPr userDrawn="1"/>
        </p:nvSpPr>
        <p:spPr>
          <a:xfrm>
            <a:off x="8128000" y="0"/>
            <a:ext cx="4064000" cy="6858000"/>
          </a:xfrm>
          <a:custGeom>
            <a:avLst/>
            <a:gdLst>
              <a:gd name="connsiteX0" fmla="*/ 5322354 w 6096000"/>
              <a:gd name="connsiteY0" fmla="*/ 9370029 h 10287000"/>
              <a:gd name="connsiteX1" fmla="*/ 5034354 w 6096000"/>
              <a:gd name="connsiteY1" fmla="*/ 9658029 h 10287000"/>
              <a:gd name="connsiteX2" fmla="*/ 5322354 w 6096000"/>
              <a:gd name="connsiteY2" fmla="*/ 9946029 h 10287000"/>
              <a:gd name="connsiteX3" fmla="*/ 5610354 w 6096000"/>
              <a:gd name="connsiteY3" fmla="*/ 9658029 h 10287000"/>
              <a:gd name="connsiteX4" fmla="*/ 5322354 w 6096000"/>
              <a:gd name="connsiteY4" fmla="*/ 9370029 h 10287000"/>
              <a:gd name="connsiteX5" fmla="*/ 5324008 w 6096000"/>
              <a:gd name="connsiteY5" fmla="*/ 1304618 h 10287000"/>
              <a:gd name="connsiteX6" fmla="*/ 5162396 w 6096000"/>
              <a:gd name="connsiteY6" fmla="*/ 1442219 h 10287000"/>
              <a:gd name="connsiteX7" fmla="*/ 5485616 w 6096000"/>
              <a:gd name="connsiteY7" fmla="*/ 1442219 h 10287000"/>
              <a:gd name="connsiteX8" fmla="*/ 5324006 w 6096000"/>
              <a:gd name="connsiteY8" fmla="*/ 1057991 h 10287000"/>
              <a:gd name="connsiteX9" fmla="*/ 5078168 w 6096000"/>
              <a:gd name="connsiteY9" fmla="*/ 1388768 h 10287000"/>
              <a:gd name="connsiteX10" fmla="*/ 5127680 w 6096000"/>
              <a:gd name="connsiteY10" fmla="*/ 1423326 h 10287000"/>
              <a:gd name="connsiteX11" fmla="*/ 5324006 w 6096000"/>
              <a:gd name="connsiteY11" fmla="*/ 1216216 h 10287000"/>
              <a:gd name="connsiteX12" fmla="*/ 5520724 w 6096000"/>
              <a:gd name="connsiteY12" fmla="*/ 1423326 h 10287000"/>
              <a:gd name="connsiteX13" fmla="*/ 5569768 w 6096000"/>
              <a:gd name="connsiteY13" fmla="*/ 1390894 h 10287000"/>
              <a:gd name="connsiteX14" fmla="*/ 5455152 w 6096000"/>
              <a:gd name="connsiteY14" fmla="*/ 729654 h 10287000"/>
              <a:gd name="connsiteX15" fmla="*/ 5637464 w 6096000"/>
              <a:gd name="connsiteY15" fmla="*/ 1316347 h 10287000"/>
              <a:gd name="connsiteX16" fmla="*/ 5455152 w 6096000"/>
              <a:gd name="connsiteY16" fmla="*/ 729654 h 10287000"/>
              <a:gd name="connsiteX17" fmla="*/ 5192860 w 6096000"/>
              <a:gd name="connsiteY17" fmla="*/ 729654 h 10287000"/>
              <a:gd name="connsiteX18" fmla="*/ 5010548 w 6096000"/>
              <a:gd name="connsiteY18" fmla="*/ 1316347 h 10287000"/>
              <a:gd name="connsiteX19" fmla="*/ 5324008 w 6096000"/>
              <a:gd name="connsiteY19" fmla="*/ 592447 h 10287000"/>
              <a:gd name="connsiteX20" fmla="*/ 5024560 w 6096000"/>
              <a:gd name="connsiteY20" fmla="*/ 1337444 h 10287000"/>
              <a:gd name="connsiteX21" fmla="*/ 5057544 w 6096000"/>
              <a:gd name="connsiteY21" fmla="*/ 1372395 h 10287000"/>
              <a:gd name="connsiteX22" fmla="*/ 5324008 w 6096000"/>
              <a:gd name="connsiteY22" fmla="*/ 899687 h 10287000"/>
              <a:gd name="connsiteX23" fmla="*/ 5590944 w 6096000"/>
              <a:gd name="connsiteY23" fmla="*/ 1372395 h 10287000"/>
              <a:gd name="connsiteX24" fmla="*/ 5623532 w 6096000"/>
              <a:gd name="connsiteY24" fmla="*/ 1337444 h 10287000"/>
              <a:gd name="connsiteX25" fmla="*/ 0 w 6096000"/>
              <a:gd name="connsiteY25" fmla="*/ 0 h 10287000"/>
              <a:gd name="connsiteX26" fmla="*/ 6096000 w 6096000"/>
              <a:gd name="connsiteY26" fmla="*/ 0 h 10287000"/>
              <a:gd name="connsiteX27" fmla="*/ 6096000 w 6096000"/>
              <a:gd name="connsiteY27" fmla="*/ 10287000 h 10287000"/>
              <a:gd name="connsiteX28" fmla="*/ 0 w 6096000"/>
              <a:gd name="connsiteY28" fmla="*/ 1028700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096000" h="10287000">
                <a:moveTo>
                  <a:pt x="5322354" y="9370029"/>
                </a:moveTo>
                <a:cubicBezTo>
                  <a:pt x="5163296" y="9370029"/>
                  <a:pt x="5034354" y="9498971"/>
                  <a:pt x="5034354" y="9658029"/>
                </a:cubicBezTo>
                <a:cubicBezTo>
                  <a:pt x="5034354" y="9817087"/>
                  <a:pt x="5163296" y="9946029"/>
                  <a:pt x="5322354" y="9946029"/>
                </a:cubicBezTo>
                <a:cubicBezTo>
                  <a:pt x="5481412" y="9946029"/>
                  <a:pt x="5610354" y="9817087"/>
                  <a:pt x="5610354" y="9658029"/>
                </a:cubicBezTo>
                <a:cubicBezTo>
                  <a:pt x="5610354" y="9498971"/>
                  <a:pt x="5481412" y="9370029"/>
                  <a:pt x="5322354" y="9370029"/>
                </a:cubicBezTo>
                <a:close/>
                <a:moveTo>
                  <a:pt x="5324008" y="1304618"/>
                </a:moveTo>
                <a:lnTo>
                  <a:pt x="5162396" y="1442219"/>
                </a:lnTo>
                <a:cubicBezTo>
                  <a:pt x="5247020" y="1483940"/>
                  <a:pt x="5373128" y="1495669"/>
                  <a:pt x="5485616" y="1442219"/>
                </a:cubicBezTo>
                <a:close/>
                <a:moveTo>
                  <a:pt x="5324006" y="1057991"/>
                </a:moveTo>
                <a:lnTo>
                  <a:pt x="5078168" y="1388768"/>
                </a:lnTo>
                <a:cubicBezTo>
                  <a:pt x="5092572" y="1402702"/>
                  <a:pt x="5108632" y="1414037"/>
                  <a:pt x="5127680" y="1423326"/>
                </a:cubicBezTo>
                <a:lnTo>
                  <a:pt x="5324006" y="1216216"/>
                </a:lnTo>
                <a:lnTo>
                  <a:pt x="5520724" y="1423326"/>
                </a:lnTo>
                <a:cubicBezTo>
                  <a:pt x="5537176" y="1414037"/>
                  <a:pt x="5555834" y="1402702"/>
                  <a:pt x="5569768" y="1390894"/>
                </a:cubicBezTo>
                <a:close/>
                <a:moveTo>
                  <a:pt x="5455152" y="729654"/>
                </a:moveTo>
                <a:lnTo>
                  <a:pt x="5637464" y="1316347"/>
                </a:lnTo>
                <a:cubicBezTo>
                  <a:pt x="5789786" y="1109316"/>
                  <a:pt x="5696348" y="815930"/>
                  <a:pt x="5455152" y="729654"/>
                </a:cubicBezTo>
                <a:close/>
                <a:moveTo>
                  <a:pt x="5192860" y="729654"/>
                </a:moveTo>
                <a:cubicBezTo>
                  <a:pt x="4952140" y="815930"/>
                  <a:pt x="4858228" y="1109316"/>
                  <a:pt x="5010548" y="1316347"/>
                </a:cubicBezTo>
                <a:close/>
                <a:moveTo>
                  <a:pt x="5324008" y="592447"/>
                </a:moveTo>
                <a:lnTo>
                  <a:pt x="5024560" y="1337444"/>
                </a:lnTo>
                <a:cubicBezTo>
                  <a:pt x="5038492" y="1353896"/>
                  <a:pt x="5047782" y="1365232"/>
                  <a:pt x="5057544" y="1372395"/>
                </a:cubicBezTo>
                <a:lnTo>
                  <a:pt x="5324008" y="899687"/>
                </a:lnTo>
                <a:lnTo>
                  <a:pt x="5590944" y="1372395"/>
                </a:lnTo>
                <a:cubicBezTo>
                  <a:pt x="5607474" y="1355943"/>
                  <a:pt x="5618888" y="1342088"/>
                  <a:pt x="5623532" y="1337444"/>
                </a:cubicBezTo>
                <a:close/>
                <a:moveTo>
                  <a:pt x="0" y="0"/>
                </a:moveTo>
                <a:lnTo>
                  <a:pt x="6096000" y="0"/>
                </a:lnTo>
                <a:lnTo>
                  <a:pt x="6096000" y="10287000"/>
                </a:lnTo>
                <a:lnTo>
                  <a:pt x="0" y="10287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pic>
        <p:nvPicPr>
          <p:cNvPr id="19" name="Graphic 18">
            <a:extLst>
              <a:ext uri="{FF2B5EF4-FFF2-40B4-BE49-F238E27FC236}">
                <a16:creationId xmlns:a16="http://schemas.microsoft.com/office/drawing/2014/main" id="{D3DAADC7-5582-4C2F-84F8-FF5FB674C1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180950"/>
            <a:ext cx="539750" cy="1079500"/>
          </a:xfrm>
          <a:prstGeom prst="rect">
            <a:avLst/>
          </a:prstGeom>
        </p:spPr>
      </p:pic>
      <p:sp>
        <p:nvSpPr>
          <p:cNvPr id="20" name="Oval 19">
            <a:extLst>
              <a:ext uri="{FF2B5EF4-FFF2-40B4-BE49-F238E27FC236}">
                <a16:creationId xmlns:a16="http://schemas.microsoft.com/office/drawing/2014/main" id="{C6AF0F62-4B06-4F93-BFFD-0E52154F53FC}"/>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sp>
        <p:nvSpPr>
          <p:cNvPr id="6" name="Title 1">
            <a:extLst>
              <a:ext uri="{FF2B5EF4-FFF2-40B4-BE49-F238E27FC236}">
                <a16:creationId xmlns:a16="http://schemas.microsoft.com/office/drawing/2014/main" id="{9B0E4FFD-45A4-452B-9085-36DC4D610360}"/>
              </a:ext>
            </a:extLst>
          </p:cNvPr>
          <p:cNvSpPr>
            <a:spLocks noGrp="1"/>
          </p:cNvSpPr>
          <p:nvPr>
            <p:ph type="title" hasCustomPrompt="1"/>
          </p:nvPr>
        </p:nvSpPr>
        <p:spPr>
          <a:xfrm>
            <a:off x="819150" y="508005"/>
            <a:ext cx="7048755" cy="507319"/>
          </a:xfrm>
          <a:prstGeom prst="rect">
            <a:avLst/>
          </a:prstGeom>
        </p:spPr>
        <p:txBody>
          <a:bodyPr wrap="square" lIns="0" tIns="0" rIns="0" bIns="0">
            <a:spAutoFit/>
          </a:bodyPr>
          <a:lstStyle>
            <a:lvl1pPr>
              <a:lnSpc>
                <a:spcPts val="3867"/>
              </a:lnSpc>
              <a:defRPr sz="4000" b="1" cap="all" baseline="0">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Tree>
    <p:extLst>
      <p:ext uri="{BB962C8B-B14F-4D97-AF65-F5344CB8AC3E}">
        <p14:creationId xmlns:p14="http://schemas.microsoft.com/office/powerpoint/2010/main" val="4528204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de photo, dark">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2A4F4AB-8AB3-40FA-8B68-587A73F975A9}"/>
              </a:ext>
            </a:extLst>
          </p:cNvPr>
          <p:cNvSpPr>
            <a:spLocks noGrp="1"/>
          </p:cNvSpPr>
          <p:nvPr>
            <p:ph type="pic" sz="quarter" idx="11" hasCustomPrompt="1"/>
          </p:nvPr>
        </p:nvSpPr>
        <p:spPr>
          <a:xfrm>
            <a:off x="8128000" y="1"/>
            <a:ext cx="4064000" cy="6857999"/>
          </a:xfrm>
          <a:custGeom>
            <a:avLst/>
            <a:gdLst>
              <a:gd name="connsiteX0" fmla="*/ 5322354 w 6096000"/>
              <a:gd name="connsiteY0" fmla="*/ 9370028 h 10286999"/>
              <a:gd name="connsiteX1" fmla="*/ 5034354 w 6096000"/>
              <a:gd name="connsiteY1" fmla="*/ 9658028 h 10286999"/>
              <a:gd name="connsiteX2" fmla="*/ 5322354 w 6096000"/>
              <a:gd name="connsiteY2" fmla="*/ 9946028 h 10286999"/>
              <a:gd name="connsiteX3" fmla="*/ 5610354 w 6096000"/>
              <a:gd name="connsiteY3" fmla="*/ 9658028 h 10286999"/>
              <a:gd name="connsiteX4" fmla="*/ 5322354 w 6096000"/>
              <a:gd name="connsiteY4" fmla="*/ 9370028 h 10286999"/>
              <a:gd name="connsiteX5" fmla="*/ 5324008 w 6096000"/>
              <a:gd name="connsiteY5" fmla="*/ 1304617 h 10286999"/>
              <a:gd name="connsiteX6" fmla="*/ 5162396 w 6096000"/>
              <a:gd name="connsiteY6" fmla="*/ 1442218 h 10286999"/>
              <a:gd name="connsiteX7" fmla="*/ 5485616 w 6096000"/>
              <a:gd name="connsiteY7" fmla="*/ 1442218 h 10286999"/>
              <a:gd name="connsiteX8" fmla="*/ 5324006 w 6096000"/>
              <a:gd name="connsiteY8" fmla="*/ 1057990 h 10286999"/>
              <a:gd name="connsiteX9" fmla="*/ 5078168 w 6096000"/>
              <a:gd name="connsiteY9" fmla="*/ 1388767 h 10286999"/>
              <a:gd name="connsiteX10" fmla="*/ 5127680 w 6096000"/>
              <a:gd name="connsiteY10" fmla="*/ 1423325 h 10286999"/>
              <a:gd name="connsiteX11" fmla="*/ 5324006 w 6096000"/>
              <a:gd name="connsiteY11" fmla="*/ 1216215 h 10286999"/>
              <a:gd name="connsiteX12" fmla="*/ 5520724 w 6096000"/>
              <a:gd name="connsiteY12" fmla="*/ 1423325 h 10286999"/>
              <a:gd name="connsiteX13" fmla="*/ 5569768 w 6096000"/>
              <a:gd name="connsiteY13" fmla="*/ 1390893 h 10286999"/>
              <a:gd name="connsiteX14" fmla="*/ 5455152 w 6096000"/>
              <a:gd name="connsiteY14" fmla="*/ 729653 h 10286999"/>
              <a:gd name="connsiteX15" fmla="*/ 5637464 w 6096000"/>
              <a:gd name="connsiteY15" fmla="*/ 1316346 h 10286999"/>
              <a:gd name="connsiteX16" fmla="*/ 5455152 w 6096000"/>
              <a:gd name="connsiteY16" fmla="*/ 729653 h 10286999"/>
              <a:gd name="connsiteX17" fmla="*/ 5192860 w 6096000"/>
              <a:gd name="connsiteY17" fmla="*/ 729653 h 10286999"/>
              <a:gd name="connsiteX18" fmla="*/ 5010548 w 6096000"/>
              <a:gd name="connsiteY18" fmla="*/ 1316346 h 10286999"/>
              <a:gd name="connsiteX19" fmla="*/ 5324008 w 6096000"/>
              <a:gd name="connsiteY19" fmla="*/ 592446 h 10286999"/>
              <a:gd name="connsiteX20" fmla="*/ 5024560 w 6096000"/>
              <a:gd name="connsiteY20" fmla="*/ 1337443 h 10286999"/>
              <a:gd name="connsiteX21" fmla="*/ 5057544 w 6096000"/>
              <a:gd name="connsiteY21" fmla="*/ 1372394 h 10286999"/>
              <a:gd name="connsiteX22" fmla="*/ 5324008 w 6096000"/>
              <a:gd name="connsiteY22" fmla="*/ 899686 h 10286999"/>
              <a:gd name="connsiteX23" fmla="*/ 5590944 w 6096000"/>
              <a:gd name="connsiteY23" fmla="*/ 1372394 h 10286999"/>
              <a:gd name="connsiteX24" fmla="*/ 5623532 w 6096000"/>
              <a:gd name="connsiteY24" fmla="*/ 1337443 h 10286999"/>
              <a:gd name="connsiteX25" fmla="*/ 0 w 6096000"/>
              <a:gd name="connsiteY25" fmla="*/ 0 h 10286999"/>
              <a:gd name="connsiteX26" fmla="*/ 6096000 w 6096000"/>
              <a:gd name="connsiteY26" fmla="*/ 0 h 10286999"/>
              <a:gd name="connsiteX27" fmla="*/ 6096000 w 6096000"/>
              <a:gd name="connsiteY27" fmla="*/ 10286999 h 10286999"/>
              <a:gd name="connsiteX28" fmla="*/ 0 w 6096000"/>
              <a:gd name="connsiteY28" fmla="*/ 10286999 h 102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096000" h="10286999">
                <a:moveTo>
                  <a:pt x="5322354" y="9370028"/>
                </a:moveTo>
                <a:cubicBezTo>
                  <a:pt x="5163296" y="9370028"/>
                  <a:pt x="5034354" y="9498970"/>
                  <a:pt x="5034354" y="9658028"/>
                </a:cubicBezTo>
                <a:cubicBezTo>
                  <a:pt x="5034354" y="9817086"/>
                  <a:pt x="5163296" y="9946028"/>
                  <a:pt x="5322354" y="9946028"/>
                </a:cubicBezTo>
                <a:cubicBezTo>
                  <a:pt x="5481412" y="9946028"/>
                  <a:pt x="5610354" y="9817086"/>
                  <a:pt x="5610354" y="9658028"/>
                </a:cubicBezTo>
                <a:cubicBezTo>
                  <a:pt x="5610354" y="9498970"/>
                  <a:pt x="5481412" y="9370028"/>
                  <a:pt x="5322354" y="9370028"/>
                </a:cubicBezTo>
                <a:close/>
                <a:moveTo>
                  <a:pt x="5324008" y="1304617"/>
                </a:moveTo>
                <a:lnTo>
                  <a:pt x="5162396" y="1442218"/>
                </a:lnTo>
                <a:cubicBezTo>
                  <a:pt x="5247020" y="1483939"/>
                  <a:pt x="5373128" y="1495668"/>
                  <a:pt x="5485616" y="1442218"/>
                </a:cubicBezTo>
                <a:close/>
                <a:moveTo>
                  <a:pt x="5324006" y="1057990"/>
                </a:moveTo>
                <a:lnTo>
                  <a:pt x="5078168" y="1388767"/>
                </a:lnTo>
                <a:cubicBezTo>
                  <a:pt x="5092572" y="1402701"/>
                  <a:pt x="5108632" y="1414036"/>
                  <a:pt x="5127680" y="1423325"/>
                </a:cubicBezTo>
                <a:lnTo>
                  <a:pt x="5324006" y="1216215"/>
                </a:lnTo>
                <a:lnTo>
                  <a:pt x="5520724" y="1423325"/>
                </a:lnTo>
                <a:cubicBezTo>
                  <a:pt x="5537176" y="1414036"/>
                  <a:pt x="5555834" y="1402701"/>
                  <a:pt x="5569768" y="1390893"/>
                </a:cubicBezTo>
                <a:close/>
                <a:moveTo>
                  <a:pt x="5455152" y="729653"/>
                </a:moveTo>
                <a:lnTo>
                  <a:pt x="5637464" y="1316346"/>
                </a:lnTo>
                <a:cubicBezTo>
                  <a:pt x="5789786" y="1109315"/>
                  <a:pt x="5696348" y="815929"/>
                  <a:pt x="5455152" y="729653"/>
                </a:cubicBezTo>
                <a:close/>
                <a:moveTo>
                  <a:pt x="5192860" y="729653"/>
                </a:moveTo>
                <a:cubicBezTo>
                  <a:pt x="4952140" y="815929"/>
                  <a:pt x="4858228" y="1109315"/>
                  <a:pt x="5010548" y="1316346"/>
                </a:cubicBezTo>
                <a:close/>
                <a:moveTo>
                  <a:pt x="5324008" y="592446"/>
                </a:moveTo>
                <a:lnTo>
                  <a:pt x="5024560" y="1337443"/>
                </a:lnTo>
                <a:cubicBezTo>
                  <a:pt x="5038492" y="1353895"/>
                  <a:pt x="5047782" y="1365231"/>
                  <a:pt x="5057544" y="1372394"/>
                </a:cubicBezTo>
                <a:lnTo>
                  <a:pt x="5324008" y="899686"/>
                </a:lnTo>
                <a:lnTo>
                  <a:pt x="5590944" y="1372394"/>
                </a:lnTo>
                <a:cubicBezTo>
                  <a:pt x="5607474" y="1355942"/>
                  <a:pt x="5618888" y="1342087"/>
                  <a:pt x="5623532" y="1337443"/>
                </a:cubicBezTo>
                <a:close/>
                <a:moveTo>
                  <a:pt x="0" y="0"/>
                </a:moveTo>
                <a:lnTo>
                  <a:pt x="6096000" y="0"/>
                </a:lnTo>
                <a:lnTo>
                  <a:pt x="6096000" y="10286999"/>
                </a:lnTo>
                <a:lnTo>
                  <a:pt x="0" y="10286999"/>
                </a:lnTo>
                <a:close/>
              </a:path>
            </a:pathLst>
          </a:custGeom>
          <a:solidFill>
            <a:schemeClr val="accent2"/>
          </a:solidFill>
        </p:spPr>
        <p:txBody>
          <a:bodyPr wrap="square" lIns="1080000" rIns="1080000" anchor="ctr" anchorCtr="0">
            <a:noAutofit/>
          </a:bodyPr>
          <a:lstStyle>
            <a:lvl1pPr marL="0" indent="0" algn="ctr">
              <a:buFontTx/>
              <a:buNone/>
              <a:defRPr>
                <a:solidFill>
                  <a:schemeClr val="bg2">
                    <a:alpha val="50000"/>
                  </a:schemeClr>
                </a:solidFill>
              </a:defRPr>
            </a:lvl1pPr>
          </a:lstStyle>
          <a:p>
            <a:r>
              <a:rPr lang="pl-PL"/>
              <a:t>Click on the icon to add picture</a:t>
            </a:r>
            <a:endParaRPr lang="en-GB"/>
          </a:p>
        </p:txBody>
      </p:sp>
      <p:pic>
        <p:nvPicPr>
          <p:cNvPr id="19" name="Graphic 18">
            <a:extLst>
              <a:ext uri="{FF2B5EF4-FFF2-40B4-BE49-F238E27FC236}">
                <a16:creationId xmlns:a16="http://schemas.microsoft.com/office/drawing/2014/main" id="{D3DAADC7-5582-4C2F-84F8-FF5FB674C1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180950"/>
            <a:ext cx="539750" cy="1079500"/>
          </a:xfrm>
          <a:prstGeom prst="rect">
            <a:avLst/>
          </a:prstGeom>
        </p:spPr>
      </p:pic>
      <p:sp>
        <p:nvSpPr>
          <p:cNvPr id="24" name="Oval 23">
            <a:extLst>
              <a:ext uri="{FF2B5EF4-FFF2-40B4-BE49-F238E27FC236}">
                <a16:creationId xmlns:a16="http://schemas.microsoft.com/office/drawing/2014/main" id="{F2B4F968-0455-4905-BFDC-C879937C1C5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sp>
        <p:nvSpPr>
          <p:cNvPr id="6" name="Title 1">
            <a:extLst>
              <a:ext uri="{FF2B5EF4-FFF2-40B4-BE49-F238E27FC236}">
                <a16:creationId xmlns:a16="http://schemas.microsoft.com/office/drawing/2014/main" id="{892B9F98-2E53-4359-BF10-7BB104CA8504}"/>
              </a:ext>
            </a:extLst>
          </p:cNvPr>
          <p:cNvSpPr>
            <a:spLocks noGrp="1"/>
          </p:cNvSpPr>
          <p:nvPr>
            <p:ph type="title" hasCustomPrompt="1"/>
          </p:nvPr>
        </p:nvSpPr>
        <p:spPr>
          <a:xfrm>
            <a:off x="819150" y="508005"/>
            <a:ext cx="7048755" cy="507319"/>
          </a:xfrm>
          <a:prstGeom prst="rect">
            <a:avLst/>
          </a:prstGeom>
        </p:spPr>
        <p:txBody>
          <a:bodyPr wrap="square" lIns="0" tIns="0" rIns="0" bIns="0">
            <a:spAutoFit/>
          </a:bodyPr>
          <a:lstStyle>
            <a:lvl1pPr>
              <a:lnSpc>
                <a:spcPts val="3867"/>
              </a:lnSpc>
              <a:defRPr sz="4000" b="1" cap="all" baseline="0">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Tree>
    <p:extLst>
      <p:ext uri="{BB962C8B-B14F-4D97-AF65-F5344CB8AC3E}">
        <p14:creationId xmlns:p14="http://schemas.microsoft.com/office/powerpoint/2010/main" val="12287014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de photo, b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3643B7F-E240-478A-AB76-30C6B0CCBD0F}"/>
              </a:ext>
            </a:extLst>
          </p:cNvPr>
          <p:cNvSpPr/>
          <p:nvPr userDrawn="1"/>
        </p:nvSpPr>
        <p:spPr>
          <a:xfrm>
            <a:off x="10915904" y="0"/>
            <a:ext cx="1276096" cy="12760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3" name="Picture Placeholder 22">
            <a:extLst>
              <a:ext uri="{FF2B5EF4-FFF2-40B4-BE49-F238E27FC236}">
                <a16:creationId xmlns:a16="http://schemas.microsoft.com/office/drawing/2014/main" id="{B2A4F4AB-8AB3-40FA-8B68-587A73F975A9}"/>
              </a:ext>
            </a:extLst>
          </p:cNvPr>
          <p:cNvSpPr>
            <a:spLocks noGrp="1"/>
          </p:cNvSpPr>
          <p:nvPr>
            <p:ph type="pic" sz="quarter" idx="11" hasCustomPrompt="1"/>
          </p:nvPr>
        </p:nvSpPr>
        <p:spPr>
          <a:xfrm>
            <a:off x="8128000" y="1"/>
            <a:ext cx="4064000" cy="6857999"/>
          </a:xfrm>
          <a:custGeom>
            <a:avLst/>
            <a:gdLst>
              <a:gd name="connsiteX0" fmla="*/ 5322354 w 6096000"/>
              <a:gd name="connsiteY0" fmla="*/ 9370028 h 10286999"/>
              <a:gd name="connsiteX1" fmla="*/ 5034354 w 6096000"/>
              <a:gd name="connsiteY1" fmla="*/ 9658028 h 10286999"/>
              <a:gd name="connsiteX2" fmla="*/ 5322354 w 6096000"/>
              <a:gd name="connsiteY2" fmla="*/ 9946028 h 10286999"/>
              <a:gd name="connsiteX3" fmla="*/ 5610354 w 6096000"/>
              <a:gd name="connsiteY3" fmla="*/ 9658028 h 10286999"/>
              <a:gd name="connsiteX4" fmla="*/ 5322354 w 6096000"/>
              <a:gd name="connsiteY4" fmla="*/ 9370028 h 10286999"/>
              <a:gd name="connsiteX5" fmla="*/ 5324008 w 6096000"/>
              <a:gd name="connsiteY5" fmla="*/ 1304617 h 10286999"/>
              <a:gd name="connsiteX6" fmla="*/ 5162396 w 6096000"/>
              <a:gd name="connsiteY6" fmla="*/ 1442218 h 10286999"/>
              <a:gd name="connsiteX7" fmla="*/ 5485616 w 6096000"/>
              <a:gd name="connsiteY7" fmla="*/ 1442218 h 10286999"/>
              <a:gd name="connsiteX8" fmla="*/ 5324006 w 6096000"/>
              <a:gd name="connsiteY8" fmla="*/ 1057990 h 10286999"/>
              <a:gd name="connsiteX9" fmla="*/ 5078168 w 6096000"/>
              <a:gd name="connsiteY9" fmla="*/ 1388767 h 10286999"/>
              <a:gd name="connsiteX10" fmla="*/ 5127680 w 6096000"/>
              <a:gd name="connsiteY10" fmla="*/ 1423325 h 10286999"/>
              <a:gd name="connsiteX11" fmla="*/ 5324006 w 6096000"/>
              <a:gd name="connsiteY11" fmla="*/ 1216215 h 10286999"/>
              <a:gd name="connsiteX12" fmla="*/ 5520724 w 6096000"/>
              <a:gd name="connsiteY12" fmla="*/ 1423325 h 10286999"/>
              <a:gd name="connsiteX13" fmla="*/ 5569768 w 6096000"/>
              <a:gd name="connsiteY13" fmla="*/ 1390893 h 10286999"/>
              <a:gd name="connsiteX14" fmla="*/ 5455152 w 6096000"/>
              <a:gd name="connsiteY14" fmla="*/ 729653 h 10286999"/>
              <a:gd name="connsiteX15" fmla="*/ 5637464 w 6096000"/>
              <a:gd name="connsiteY15" fmla="*/ 1316346 h 10286999"/>
              <a:gd name="connsiteX16" fmla="*/ 5455152 w 6096000"/>
              <a:gd name="connsiteY16" fmla="*/ 729653 h 10286999"/>
              <a:gd name="connsiteX17" fmla="*/ 5192860 w 6096000"/>
              <a:gd name="connsiteY17" fmla="*/ 729653 h 10286999"/>
              <a:gd name="connsiteX18" fmla="*/ 5010548 w 6096000"/>
              <a:gd name="connsiteY18" fmla="*/ 1316346 h 10286999"/>
              <a:gd name="connsiteX19" fmla="*/ 5324008 w 6096000"/>
              <a:gd name="connsiteY19" fmla="*/ 592446 h 10286999"/>
              <a:gd name="connsiteX20" fmla="*/ 5024560 w 6096000"/>
              <a:gd name="connsiteY20" fmla="*/ 1337443 h 10286999"/>
              <a:gd name="connsiteX21" fmla="*/ 5057544 w 6096000"/>
              <a:gd name="connsiteY21" fmla="*/ 1372394 h 10286999"/>
              <a:gd name="connsiteX22" fmla="*/ 5324008 w 6096000"/>
              <a:gd name="connsiteY22" fmla="*/ 899686 h 10286999"/>
              <a:gd name="connsiteX23" fmla="*/ 5590944 w 6096000"/>
              <a:gd name="connsiteY23" fmla="*/ 1372394 h 10286999"/>
              <a:gd name="connsiteX24" fmla="*/ 5623532 w 6096000"/>
              <a:gd name="connsiteY24" fmla="*/ 1337443 h 10286999"/>
              <a:gd name="connsiteX25" fmla="*/ 0 w 6096000"/>
              <a:gd name="connsiteY25" fmla="*/ 0 h 10286999"/>
              <a:gd name="connsiteX26" fmla="*/ 6096000 w 6096000"/>
              <a:gd name="connsiteY26" fmla="*/ 0 h 10286999"/>
              <a:gd name="connsiteX27" fmla="*/ 6096000 w 6096000"/>
              <a:gd name="connsiteY27" fmla="*/ 10286999 h 10286999"/>
              <a:gd name="connsiteX28" fmla="*/ 0 w 6096000"/>
              <a:gd name="connsiteY28" fmla="*/ 10286999 h 102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096000" h="10286999">
                <a:moveTo>
                  <a:pt x="5322354" y="9370028"/>
                </a:moveTo>
                <a:cubicBezTo>
                  <a:pt x="5163296" y="9370028"/>
                  <a:pt x="5034354" y="9498970"/>
                  <a:pt x="5034354" y="9658028"/>
                </a:cubicBezTo>
                <a:cubicBezTo>
                  <a:pt x="5034354" y="9817086"/>
                  <a:pt x="5163296" y="9946028"/>
                  <a:pt x="5322354" y="9946028"/>
                </a:cubicBezTo>
                <a:cubicBezTo>
                  <a:pt x="5481412" y="9946028"/>
                  <a:pt x="5610354" y="9817086"/>
                  <a:pt x="5610354" y="9658028"/>
                </a:cubicBezTo>
                <a:cubicBezTo>
                  <a:pt x="5610354" y="9498970"/>
                  <a:pt x="5481412" y="9370028"/>
                  <a:pt x="5322354" y="9370028"/>
                </a:cubicBezTo>
                <a:close/>
                <a:moveTo>
                  <a:pt x="5324008" y="1304617"/>
                </a:moveTo>
                <a:lnTo>
                  <a:pt x="5162396" y="1442218"/>
                </a:lnTo>
                <a:cubicBezTo>
                  <a:pt x="5247020" y="1483939"/>
                  <a:pt x="5373128" y="1495668"/>
                  <a:pt x="5485616" y="1442218"/>
                </a:cubicBezTo>
                <a:close/>
                <a:moveTo>
                  <a:pt x="5324006" y="1057990"/>
                </a:moveTo>
                <a:lnTo>
                  <a:pt x="5078168" y="1388767"/>
                </a:lnTo>
                <a:cubicBezTo>
                  <a:pt x="5092572" y="1402701"/>
                  <a:pt x="5108632" y="1414036"/>
                  <a:pt x="5127680" y="1423325"/>
                </a:cubicBezTo>
                <a:lnTo>
                  <a:pt x="5324006" y="1216215"/>
                </a:lnTo>
                <a:lnTo>
                  <a:pt x="5520724" y="1423325"/>
                </a:lnTo>
                <a:cubicBezTo>
                  <a:pt x="5537176" y="1414036"/>
                  <a:pt x="5555834" y="1402701"/>
                  <a:pt x="5569768" y="1390893"/>
                </a:cubicBezTo>
                <a:close/>
                <a:moveTo>
                  <a:pt x="5455152" y="729653"/>
                </a:moveTo>
                <a:lnTo>
                  <a:pt x="5637464" y="1316346"/>
                </a:lnTo>
                <a:cubicBezTo>
                  <a:pt x="5789786" y="1109315"/>
                  <a:pt x="5696348" y="815929"/>
                  <a:pt x="5455152" y="729653"/>
                </a:cubicBezTo>
                <a:close/>
                <a:moveTo>
                  <a:pt x="5192860" y="729653"/>
                </a:moveTo>
                <a:cubicBezTo>
                  <a:pt x="4952140" y="815929"/>
                  <a:pt x="4858228" y="1109315"/>
                  <a:pt x="5010548" y="1316346"/>
                </a:cubicBezTo>
                <a:close/>
                <a:moveTo>
                  <a:pt x="5324008" y="592446"/>
                </a:moveTo>
                <a:lnTo>
                  <a:pt x="5024560" y="1337443"/>
                </a:lnTo>
                <a:cubicBezTo>
                  <a:pt x="5038492" y="1353895"/>
                  <a:pt x="5047782" y="1365231"/>
                  <a:pt x="5057544" y="1372394"/>
                </a:cubicBezTo>
                <a:lnTo>
                  <a:pt x="5324008" y="899686"/>
                </a:lnTo>
                <a:lnTo>
                  <a:pt x="5590944" y="1372394"/>
                </a:lnTo>
                <a:cubicBezTo>
                  <a:pt x="5607474" y="1355942"/>
                  <a:pt x="5618888" y="1342087"/>
                  <a:pt x="5623532" y="1337443"/>
                </a:cubicBezTo>
                <a:close/>
                <a:moveTo>
                  <a:pt x="0" y="0"/>
                </a:moveTo>
                <a:lnTo>
                  <a:pt x="6096000" y="0"/>
                </a:lnTo>
                <a:lnTo>
                  <a:pt x="6096000" y="10286999"/>
                </a:lnTo>
                <a:lnTo>
                  <a:pt x="0" y="10286999"/>
                </a:lnTo>
                <a:close/>
              </a:path>
            </a:pathLst>
          </a:custGeom>
          <a:solidFill>
            <a:schemeClr val="accent2">
              <a:lumMod val="40000"/>
              <a:lumOff val="60000"/>
            </a:schemeClr>
          </a:solidFill>
        </p:spPr>
        <p:txBody>
          <a:bodyPr wrap="square" lIns="1080000" rIns="1080000" anchor="ctr" anchorCtr="0">
            <a:noAutofit/>
          </a:bodyPr>
          <a:lstStyle>
            <a:lvl1pPr marL="0" indent="0" algn="ctr">
              <a:buFontTx/>
              <a:buNone/>
              <a:defRPr>
                <a:solidFill>
                  <a:schemeClr val="accent2">
                    <a:lumMod val="75000"/>
                    <a:alpha val="50000"/>
                  </a:schemeClr>
                </a:solidFill>
              </a:defRPr>
            </a:lvl1pPr>
          </a:lstStyle>
          <a:p>
            <a:r>
              <a:rPr lang="pl-PL"/>
              <a:t>Click on the icon to add picture</a:t>
            </a:r>
            <a:endParaRPr lang="en-GB"/>
          </a:p>
        </p:txBody>
      </p:sp>
      <p:pic>
        <p:nvPicPr>
          <p:cNvPr id="19" name="Graphic 18">
            <a:extLst>
              <a:ext uri="{FF2B5EF4-FFF2-40B4-BE49-F238E27FC236}">
                <a16:creationId xmlns:a16="http://schemas.microsoft.com/office/drawing/2014/main" id="{D3DAADC7-5582-4C2F-84F8-FF5FB674C1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180950"/>
            <a:ext cx="539750" cy="1079500"/>
          </a:xfrm>
          <a:prstGeom prst="rect">
            <a:avLst/>
          </a:prstGeom>
        </p:spPr>
      </p:pic>
      <p:sp>
        <p:nvSpPr>
          <p:cNvPr id="24" name="Oval 23">
            <a:extLst>
              <a:ext uri="{FF2B5EF4-FFF2-40B4-BE49-F238E27FC236}">
                <a16:creationId xmlns:a16="http://schemas.microsoft.com/office/drawing/2014/main" id="{F2B4F968-0455-4905-BFDC-C879937C1C5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4000" rIns="0" bIns="24000" rtlCol="0" anchor="ctr"/>
          <a:lstStyle/>
          <a:p>
            <a:pPr algn="ctr"/>
            <a:fld id="{E5B4EB64-54DE-40F8-9354-51A55C032A93}" type="slidenum">
              <a:rPr lang="pl-PL" sz="1600" smtClean="0">
                <a:solidFill>
                  <a:schemeClr val="bg1">
                    <a:lumMod val="10000"/>
                  </a:schemeClr>
                </a:solidFill>
                <a:latin typeface="+mn-lt"/>
                <a:cs typeface="Arial" panose="020B0604020202020204" pitchFamily="34" charset="0"/>
              </a:rPr>
              <a:pPr algn="ctr"/>
              <a:t>‹#›</a:t>
            </a:fld>
            <a:endParaRPr lang="pl-PL" sz="1600">
              <a:solidFill>
                <a:schemeClr val="bg1">
                  <a:lumMod val="10000"/>
                </a:schemeClr>
              </a:solidFill>
              <a:latin typeface="+mn-lt"/>
              <a:cs typeface="Arial" panose="020B0604020202020204" pitchFamily="34" charset="0"/>
            </a:endParaRPr>
          </a:p>
        </p:txBody>
      </p:sp>
      <p:sp>
        <p:nvSpPr>
          <p:cNvPr id="8" name="Title 1">
            <a:extLst>
              <a:ext uri="{FF2B5EF4-FFF2-40B4-BE49-F238E27FC236}">
                <a16:creationId xmlns:a16="http://schemas.microsoft.com/office/drawing/2014/main" id="{C07B99D7-CB89-4A63-A33D-CE5F7E7201A6}"/>
              </a:ext>
            </a:extLst>
          </p:cNvPr>
          <p:cNvSpPr>
            <a:spLocks noGrp="1"/>
          </p:cNvSpPr>
          <p:nvPr>
            <p:ph type="title" hasCustomPrompt="1"/>
          </p:nvPr>
        </p:nvSpPr>
        <p:spPr>
          <a:xfrm>
            <a:off x="819150" y="508005"/>
            <a:ext cx="7048755" cy="507319"/>
          </a:xfrm>
          <a:prstGeom prst="rect">
            <a:avLst/>
          </a:prstGeom>
        </p:spPr>
        <p:txBody>
          <a:bodyPr wrap="square" lIns="0" tIns="0" rIns="0" bIns="0">
            <a:spAutoFit/>
          </a:bodyPr>
          <a:lstStyle>
            <a:lvl1pPr>
              <a:lnSpc>
                <a:spcPts val="3867"/>
              </a:lnSpc>
              <a:defRPr sz="4000" b="1" cap="all" baseline="0">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Tree>
    <p:extLst>
      <p:ext uri="{BB962C8B-B14F-4D97-AF65-F5344CB8AC3E}">
        <p14:creationId xmlns:p14="http://schemas.microsoft.com/office/powerpoint/2010/main" val="8347148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0899C25-4970-47A3-A3BC-2B8F4CEF81A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9" name="Graphic 8">
            <a:extLst>
              <a:ext uri="{FF2B5EF4-FFF2-40B4-BE49-F238E27FC236}">
                <a16:creationId xmlns:a16="http://schemas.microsoft.com/office/drawing/2014/main" id="{EA26CC81-52C7-4F36-9EC7-A049E3E7DC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56100" y="0"/>
            <a:ext cx="3479800" cy="1739900"/>
          </a:xfrm>
          <a:prstGeom prst="rect">
            <a:avLst/>
          </a:prstGeom>
        </p:spPr>
      </p:pic>
      <p:pic>
        <p:nvPicPr>
          <p:cNvPr id="10" name="Graphic 9">
            <a:extLst>
              <a:ext uri="{FF2B5EF4-FFF2-40B4-BE49-F238E27FC236}">
                <a16:creationId xmlns:a16="http://schemas.microsoft.com/office/drawing/2014/main" id="{A4CDCD79-1450-4EB7-A312-16C9C45A66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784850" y="5683097"/>
            <a:ext cx="622300" cy="717550"/>
          </a:xfrm>
          <a:prstGeom prst="rect">
            <a:avLst/>
          </a:prstGeom>
        </p:spPr>
      </p:pic>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3928534" y="2589432"/>
            <a:ext cx="4334933" cy="2342565"/>
          </a:xfrm>
          <a:prstGeom prst="rect">
            <a:avLst/>
          </a:prstGeom>
        </p:spPr>
        <p:txBody>
          <a:bodyPr wrap="square" lIns="0" tIns="0" rIns="0" bIns="0">
            <a:spAutoFit/>
          </a:bodyPr>
          <a:lstStyle>
            <a:lvl1pPr algn="ctr">
              <a:lnSpc>
                <a:spcPts val="4534"/>
              </a:lnSpc>
              <a:defRPr sz="4800" b="1" cap="all" baseline="0">
                <a:solidFill>
                  <a:schemeClr val="bg2"/>
                </a:solidFill>
                <a:latin typeface="Calibri" panose="020F0502020204030204" pitchFamily="34" charset="0"/>
                <a:cs typeface="Calibri" panose="020F0502020204030204" pitchFamily="34" charset="0"/>
              </a:defRPr>
            </a:lvl1pPr>
          </a:lstStyle>
          <a:p>
            <a:r>
              <a:rPr lang="pl-PL"/>
              <a:t>SECTION BREAK </a:t>
            </a:r>
            <a:r>
              <a:rPr lang="en-GB"/>
              <a:t>SLIDE TITLE, CALIBRI BOLD, </a:t>
            </a:r>
            <a:r>
              <a:rPr lang="pl-PL"/>
              <a:t>72</a:t>
            </a:r>
            <a:r>
              <a:rPr lang="en-GB"/>
              <a:t> PT</a:t>
            </a:r>
          </a:p>
        </p:txBody>
      </p:sp>
    </p:spTree>
    <p:extLst>
      <p:ext uri="{BB962C8B-B14F-4D97-AF65-F5344CB8AC3E}">
        <p14:creationId xmlns:p14="http://schemas.microsoft.com/office/powerpoint/2010/main" val="25871739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0899C25-4970-47A3-A3BC-2B8F4CEF81A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9" name="Graphic 8">
            <a:extLst>
              <a:ext uri="{FF2B5EF4-FFF2-40B4-BE49-F238E27FC236}">
                <a16:creationId xmlns:a16="http://schemas.microsoft.com/office/drawing/2014/main" id="{EA26CC81-52C7-4F36-9EC7-A049E3E7DC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56100" y="0"/>
            <a:ext cx="3479800" cy="1739900"/>
          </a:xfrm>
          <a:prstGeom prst="rect">
            <a:avLst/>
          </a:prstGeom>
        </p:spPr>
      </p:pic>
      <p:pic>
        <p:nvPicPr>
          <p:cNvPr id="10" name="Graphic 9">
            <a:extLst>
              <a:ext uri="{FF2B5EF4-FFF2-40B4-BE49-F238E27FC236}">
                <a16:creationId xmlns:a16="http://schemas.microsoft.com/office/drawing/2014/main" id="{A4CDCD79-1450-4EB7-A312-16C9C45A66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784850" y="5683097"/>
            <a:ext cx="622300" cy="717550"/>
          </a:xfrm>
          <a:prstGeom prst="rect">
            <a:avLst/>
          </a:prstGeom>
        </p:spPr>
      </p:pic>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3928534" y="2589432"/>
            <a:ext cx="4334933" cy="2342565"/>
          </a:xfrm>
          <a:prstGeom prst="rect">
            <a:avLst/>
          </a:prstGeom>
        </p:spPr>
        <p:txBody>
          <a:bodyPr wrap="square" lIns="0" tIns="0" rIns="0" bIns="0">
            <a:spAutoFit/>
          </a:bodyPr>
          <a:lstStyle>
            <a:lvl1pPr algn="ctr">
              <a:lnSpc>
                <a:spcPts val="4534"/>
              </a:lnSpc>
              <a:defRPr sz="4800" b="1" cap="all" baseline="0">
                <a:solidFill>
                  <a:schemeClr val="bg2"/>
                </a:solidFill>
                <a:latin typeface="Calibri" panose="020F0502020204030204" pitchFamily="34" charset="0"/>
                <a:cs typeface="Calibri" panose="020F0502020204030204" pitchFamily="34" charset="0"/>
              </a:defRPr>
            </a:lvl1pPr>
          </a:lstStyle>
          <a:p>
            <a:r>
              <a:rPr lang="pl-PL"/>
              <a:t>SECTION BREAK </a:t>
            </a:r>
            <a:r>
              <a:rPr lang="en-GB"/>
              <a:t>SLIDE TITLE, CALIBRI BOLD, </a:t>
            </a:r>
            <a:r>
              <a:rPr lang="pl-PL"/>
              <a:t>72</a:t>
            </a:r>
            <a:r>
              <a:rPr lang="en-GB"/>
              <a:t> PT</a:t>
            </a:r>
          </a:p>
        </p:txBody>
      </p:sp>
    </p:spTree>
    <p:extLst>
      <p:ext uri="{BB962C8B-B14F-4D97-AF65-F5344CB8AC3E}">
        <p14:creationId xmlns:p14="http://schemas.microsoft.com/office/powerpoint/2010/main" val="34476364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0899C25-4970-47A3-A3BC-2B8F4CEF81A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10" name="Graphic 9">
            <a:extLst>
              <a:ext uri="{FF2B5EF4-FFF2-40B4-BE49-F238E27FC236}">
                <a16:creationId xmlns:a16="http://schemas.microsoft.com/office/drawing/2014/main" id="{A4CDCD79-1450-4EB7-A312-16C9C45A6645}"/>
              </a:ext>
            </a:extLst>
          </p:cNvPr>
          <p:cNvPicPr>
            <a:picLocks noChangeAspect="1"/>
          </p:cNvPicPr>
          <p:nvPr userDrawn="1"/>
        </p:nvPicPr>
        <p:blipFill rotWithShape="1">
          <a:blip r:embed="rId2">
            <a:alphaModFix amt="7000"/>
            <a:extLst>
              <a:ext uri="{96DAC541-7B7A-43D3-8B79-37D633B846F1}">
                <asvg:svgBlip xmlns:asvg="http://schemas.microsoft.com/office/drawing/2016/SVG/main" r:embed="rId3"/>
              </a:ext>
            </a:extLst>
          </a:blip>
          <a:srcRect t="27726" b="17511"/>
          <a:stretch/>
        </p:blipFill>
        <p:spPr>
          <a:xfrm>
            <a:off x="666612" y="0"/>
            <a:ext cx="10858776" cy="6858000"/>
          </a:xfrm>
          <a:prstGeom prst="rect">
            <a:avLst/>
          </a:prstGeom>
        </p:spPr>
      </p:pic>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3990975" y="3129752"/>
            <a:ext cx="4210051" cy="598497"/>
          </a:xfrm>
          <a:prstGeom prst="rect">
            <a:avLst/>
          </a:prstGeom>
        </p:spPr>
        <p:txBody>
          <a:bodyPr wrap="square" lIns="0" tIns="0" rIns="0" bIns="0">
            <a:spAutoFit/>
          </a:bodyPr>
          <a:lstStyle>
            <a:lvl1pPr algn="ctr">
              <a:lnSpc>
                <a:spcPts val="4534"/>
              </a:lnSpc>
              <a:defRPr sz="4800" b="1" cap="all" baseline="0">
                <a:solidFill>
                  <a:schemeClr val="bg2"/>
                </a:solidFill>
                <a:latin typeface="Calibri" panose="020F0502020204030204" pitchFamily="34" charset="0"/>
                <a:cs typeface="Calibri" panose="020F0502020204030204" pitchFamily="34" charset="0"/>
              </a:defRPr>
            </a:lvl1pPr>
          </a:lstStyle>
          <a:p>
            <a:r>
              <a:rPr lang="pl-PL"/>
              <a:t>Thank you!</a:t>
            </a:r>
            <a:endParaRPr lang="en-GB"/>
          </a:p>
        </p:txBody>
      </p:sp>
    </p:spTree>
    <p:extLst>
      <p:ext uri="{BB962C8B-B14F-4D97-AF65-F5344CB8AC3E}">
        <p14:creationId xmlns:p14="http://schemas.microsoft.com/office/powerpoint/2010/main" val="29215108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38495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5" name="Prostokąt 4"/>
          <p:cNvSpPr/>
          <p:nvPr userDrawn="1"/>
        </p:nvSpPr>
        <p:spPr>
          <a:xfrm>
            <a:off x="11687568" y="-1"/>
            <a:ext cx="504432" cy="6857999"/>
          </a:xfrm>
          <a:prstGeom prst="rect">
            <a:avLst/>
          </a:prstGeom>
          <a:solidFill>
            <a:srgbClr val="81509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pl-PL" sz="2400"/>
          </a:p>
        </p:txBody>
      </p:sp>
      <p:sp>
        <p:nvSpPr>
          <p:cNvPr id="6" name="pole tekstowe 5"/>
          <p:cNvSpPr txBox="1"/>
          <p:nvPr userDrawn="1"/>
        </p:nvSpPr>
        <p:spPr>
          <a:xfrm>
            <a:off x="11754414" y="6468897"/>
            <a:ext cx="364180" cy="461665"/>
          </a:xfrm>
          <a:prstGeom prst="rect">
            <a:avLst/>
          </a:prstGeom>
          <a:noFill/>
        </p:spPr>
        <p:txBody>
          <a:bodyPr wrap="square" lIns="91440" tIns="45720" rIns="91440" bIns="45720" rtlCol="0">
            <a:spAutoFit/>
          </a:bodyPr>
          <a:lstStyle/>
          <a:p>
            <a:pPr algn="ctr"/>
            <a:fld id="{E5B4EB64-54DE-40F8-9354-51A55C032A93}" type="slidenum">
              <a:rPr lang="pl-PL" sz="1200" b="1" smtClean="0">
                <a:solidFill>
                  <a:schemeClr val="bg1"/>
                </a:solidFill>
              </a:rPr>
              <a:pPr algn="ctr"/>
              <a:t>‹#›</a:t>
            </a:fld>
            <a:endParaRPr lang="pl-PL" sz="1200" b="1">
              <a:solidFill>
                <a:schemeClr val="bg1"/>
              </a:solidFill>
            </a:endParaRPr>
          </a:p>
        </p:txBody>
      </p:sp>
      <p:sp>
        <p:nvSpPr>
          <p:cNvPr id="7" name="Elipsa 6"/>
          <p:cNvSpPr/>
          <p:nvPr userDrawn="1"/>
        </p:nvSpPr>
        <p:spPr>
          <a:xfrm>
            <a:off x="11779456" y="6457492"/>
            <a:ext cx="314093" cy="31409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pl-PL" sz="2400"/>
          </a:p>
        </p:txBody>
      </p:sp>
      <p:pic>
        <p:nvPicPr>
          <p:cNvPr id="8" name="Obraz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53675" y="119063"/>
            <a:ext cx="364919" cy="402031"/>
          </a:xfrm>
          <a:prstGeom prst="rect">
            <a:avLst/>
          </a:prstGeom>
        </p:spPr>
      </p:pic>
      <p:sp>
        <p:nvSpPr>
          <p:cNvPr id="9" name="Title Placeholder 1"/>
          <p:cNvSpPr>
            <a:spLocks noGrp="1"/>
          </p:cNvSpPr>
          <p:nvPr>
            <p:ph type="title" hasCustomPrompt="1"/>
          </p:nvPr>
        </p:nvSpPr>
        <p:spPr>
          <a:xfrm>
            <a:off x="609600" y="123246"/>
            <a:ext cx="10811893" cy="500137"/>
          </a:xfrm>
          <a:prstGeom prst="rect">
            <a:avLst/>
          </a:prstGeom>
          <a:noFill/>
          <a:ln w="9525">
            <a:noFill/>
            <a:miter lim="800000"/>
            <a:headEnd/>
            <a:tailEnd/>
          </a:ln>
        </p:spPr>
        <p:txBody>
          <a:bodyPr vert="horz" wrap="square" lIns="68580" tIns="34290" rIns="68580" bIns="34290" numCol="1" rtlCol="0" anchor="ctr" anchorCtr="0" compatLnSpc="1">
            <a:prstTxWarp prst="textNoShape">
              <a:avLst/>
            </a:prstTxWarp>
            <a:spAutoFit/>
          </a:bodyPr>
          <a:lstStyle>
            <a:lvl1pPr algn="l" defTabSz="609570" rtl="0" eaLnBrk="1" latinLnBrk="0" hangingPunct="1">
              <a:lnSpc>
                <a:spcPct val="100000"/>
              </a:lnSpc>
              <a:spcBef>
                <a:spcPts val="0"/>
              </a:spcBef>
              <a:buNone/>
              <a:defRPr lang="en-US" sz="2800" b="1" kern="1200" dirty="0">
                <a:solidFill>
                  <a:schemeClr val="tx1">
                    <a:lumMod val="65000"/>
                    <a:lumOff val="35000"/>
                  </a:schemeClr>
                </a:solidFill>
                <a:latin typeface="Arial" pitchFamily="34" charset="0"/>
                <a:ea typeface="+mn-ea"/>
                <a:cs typeface="Arial" pitchFamily="34" charset="0"/>
              </a:defRPr>
            </a:lvl1pPr>
          </a:lstStyle>
          <a:p>
            <a:pPr marL="0" lvl="0" eaLnBrk="0" hangingPunct="0">
              <a:spcBef>
                <a:spcPct val="20000"/>
              </a:spcBef>
            </a:pPr>
            <a:r>
              <a:rPr lang="en-US"/>
              <a:t>Click to Add Title</a:t>
            </a:r>
          </a:p>
        </p:txBody>
      </p:sp>
      <p:sp>
        <p:nvSpPr>
          <p:cNvPr id="10" name="Title 17"/>
          <p:cNvSpPr txBox="1">
            <a:spLocks/>
          </p:cNvSpPr>
          <p:nvPr userDrawn="1"/>
        </p:nvSpPr>
        <p:spPr>
          <a:xfrm>
            <a:off x="0" y="68649"/>
            <a:ext cx="323851" cy="609334"/>
          </a:xfrm>
          <a:prstGeom prst="rect">
            <a:avLst/>
          </a:prstGeom>
          <a:solidFill>
            <a:srgbClr val="A472BE"/>
          </a:solidFill>
          <a:ln w="9525">
            <a:noFill/>
            <a:miter lim="800000"/>
            <a:headEnd/>
            <a:tailEnd/>
          </a:ln>
        </p:spPr>
        <p:txBody>
          <a:bodyPr vert="horz" wrap="square" lIns="91440" tIns="45720" rIns="91440" bIns="45720" numCol="1" rtlCol="0" anchor="ctr" anchorCtr="0" compatLnSpc="1">
            <a:prstTxWarp prst="textNoShape">
              <a:avLst/>
            </a:prstTxWarp>
            <a:spAutoFit/>
          </a:bodyPr>
          <a:lstStyle>
            <a:lvl1pPr algn="l" defTabSz="609585" rtl="0" eaLnBrk="1" latinLnBrk="0" hangingPunct="1">
              <a:lnSpc>
                <a:spcPct val="90000"/>
              </a:lnSpc>
              <a:spcBef>
                <a:spcPct val="0"/>
              </a:spcBef>
              <a:buNone/>
              <a:defRPr lang="en-US" sz="2800" b="1" kern="1200" dirty="0">
                <a:solidFill>
                  <a:schemeClr val="tx1">
                    <a:lumMod val="65000"/>
                    <a:lumOff val="35000"/>
                  </a:schemeClr>
                </a:solidFill>
                <a:latin typeface="Arial" pitchFamily="34" charset="0"/>
                <a:ea typeface="+mn-ea"/>
                <a:cs typeface="Arial" pitchFamily="34" charset="0"/>
              </a:defRPr>
            </a:lvl1pPr>
          </a:lstStyle>
          <a:p>
            <a:endParaRPr lang="en-US" sz="3733"/>
          </a:p>
        </p:txBody>
      </p:sp>
      <p:cxnSp>
        <p:nvCxnSpPr>
          <p:cNvPr id="11" name="Straight Connector 10"/>
          <p:cNvCxnSpPr/>
          <p:nvPr userDrawn="1"/>
        </p:nvCxnSpPr>
        <p:spPr>
          <a:xfrm>
            <a:off x="1" y="767761"/>
            <a:ext cx="11570321" cy="0"/>
          </a:xfrm>
          <a:prstGeom prst="line">
            <a:avLst/>
          </a:prstGeom>
          <a:ln>
            <a:gradFill flip="none" rotWithShape="1">
              <a:gsLst>
                <a:gs pos="0">
                  <a:srgbClr val="A472BE"/>
                </a:gs>
                <a:gs pos="50000">
                  <a:srgbClr val="A472BE"/>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4294279"/>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1_Title Slide">
    <p:spTree>
      <p:nvGrpSpPr>
        <p:cNvPr id="1" name=""/>
        <p:cNvGrpSpPr/>
        <p:nvPr/>
      </p:nvGrpSpPr>
      <p:grpSpPr>
        <a:xfrm>
          <a:off x="0" y="0"/>
          <a:ext cx="0" cy="0"/>
          <a:chOff x="0" y="0"/>
          <a:chExt cx="0" cy="0"/>
        </a:xfrm>
      </p:grpSpPr>
      <p:sp>
        <p:nvSpPr>
          <p:cNvPr id="11" name="Prostokąt 10"/>
          <p:cNvSpPr/>
          <p:nvPr userDrawn="1"/>
        </p:nvSpPr>
        <p:spPr>
          <a:xfrm flipV="1">
            <a:off x="1" y="1"/>
            <a:ext cx="4400289" cy="6858003"/>
          </a:xfrm>
          <a:prstGeom prst="rect">
            <a:avLst/>
          </a:prstGeom>
          <a:solidFill>
            <a:srgbClr val="81509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pl-PL" sz="2400"/>
          </a:p>
        </p:txBody>
      </p:sp>
    </p:spTree>
    <p:extLst>
      <p:ext uri="{BB962C8B-B14F-4D97-AF65-F5344CB8AC3E}">
        <p14:creationId xmlns:p14="http://schemas.microsoft.com/office/powerpoint/2010/main" val="39272893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819209" y="508125"/>
            <a:ext cx="10334626" cy="507319"/>
          </a:xfrm>
          <a:prstGeom prst="rect">
            <a:avLst/>
          </a:prstGeom>
        </p:spPr>
        <p:txBody>
          <a:bodyPr wrap="square" lIns="0" tIns="0" rIns="0" bIns="0">
            <a:spAutoFit/>
          </a:bodyPr>
          <a:lstStyle>
            <a:lvl1pPr>
              <a:lnSpc>
                <a:spcPts val="3866"/>
              </a:lnSpc>
              <a:defRPr sz="3999" b="1" cap="all" baseline="0">
                <a:solidFill>
                  <a:schemeClr val="bg1">
                    <a:lumMod val="10000"/>
                  </a:schemeClr>
                </a:solidFill>
                <a:latin typeface="Calibri" panose="020F0502020204030204" pitchFamily="34" charset="0"/>
                <a:cs typeface="Calibri" panose="020F0502020204030204" pitchFamily="34" charset="0"/>
              </a:defRPr>
            </a:lvl1pPr>
          </a:lstStyle>
          <a:p>
            <a:r>
              <a:rPr lang="en-GB"/>
              <a:t>SLIDE TITLE, CALIBRI BOLD, 60 PT</a:t>
            </a:r>
          </a:p>
        </p:txBody>
      </p:sp>
      <p:sp>
        <p:nvSpPr>
          <p:cNvPr id="4" name="Oval 3">
            <a:extLst>
              <a:ext uri="{FF2B5EF4-FFF2-40B4-BE49-F238E27FC236}">
                <a16:creationId xmlns:a16="http://schemas.microsoft.com/office/drawing/2014/main" id="{ABCE8737-B3C4-4649-8F17-90E5AF404914}"/>
              </a:ext>
            </a:extLst>
          </p:cNvPr>
          <p:cNvSpPr>
            <a:spLocks noChangeAspect="1"/>
          </p:cNvSpPr>
          <p:nvPr userDrawn="1"/>
        </p:nvSpPr>
        <p:spPr>
          <a:xfrm>
            <a:off x="11484236" y="6246686"/>
            <a:ext cx="384000" cy="384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3994" rIns="0" bIns="23994" rtlCol="0" anchor="ctr"/>
          <a:lstStyle/>
          <a:p>
            <a:pPr algn="ctr" defTabSz="304698"/>
            <a:fld id="{E5B4EB64-54DE-40F8-9354-51A55C032A93}" type="slidenum">
              <a:rPr lang="pl-PL" sz="1600">
                <a:solidFill>
                  <a:srgbClr val="F2F2F5">
                    <a:lumMod val="10000"/>
                  </a:srgbClr>
                </a:solidFill>
                <a:cs typeface="Arial" panose="020B0604020202020204" pitchFamily="34" charset="0"/>
              </a:rPr>
              <a:pPr algn="ctr" defTabSz="304698"/>
              <a:t>‹#›</a:t>
            </a:fld>
            <a:endParaRPr lang="pl-PL" sz="1600">
              <a:solidFill>
                <a:srgbClr val="F2F2F5">
                  <a:lumMod val="10000"/>
                </a:srgbClr>
              </a:solidFill>
              <a:cs typeface="Arial" panose="020B0604020202020204" pitchFamily="34" charset="0"/>
            </a:endParaRPr>
          </a:p>
        </p:txBody>
      </p:sp>
      <p:pic>
        <p:nvPicPr>
          <p:cNvPr id="5" name="Graphic 4">
            <a:extLst>
              <a:ext uri="{FF2B5EF4-FFF2-40B4-BE49-F238E27FC236}">
                <a16:creationId xmlns:a16="http://schemas.microsoft.com/office/drawing/2014/main" id="{22B6A3DF-45E2-45ED-B82C-F28F7AE07E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19147" y="395085"/>
            <a:ext cx="514297" cy="593017"/>
          </a:xfrm>
          <a:prstGeom prst="rect">
            <a:avLst/>
          </a:prstGeom>
        </p:spPr>
      </p:pic>
      <p:pic>
        <p:nvPicPr>
          <p:cNvPr id="6" name="Graphic 5">
            <a:extLst>
              <a:ext uri="{FF2B5EF4-FFF2-40B4-BE49-F238E27FC236}">
                <a16:creationId xmlns:a16="http://schemas.microsoft.com/office/drawing/2014/main" id="{38368C94-FFE1-4DED-8215-FBD80F225AD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 y="180950"/>
            <a:ext cx="539750" cy="1079500"/>
          </a:xfrm>
          <a:prstGeom prst="rect">
            <a:avLst/>
          </a:prstGeom>
        </p:spPr>
      </p:pic>
    </p:spTree>
    <p:extLst>
      <p:ext uri="{BB962C8B-B14F-4D97-AF65-F5344CB8AC3E}">
        <p14:creationId xmlns:p14="http://schemas.microsoft.com/office/powerpoint/2010/main" val="2358864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0899C25-4970-47A3-A3BC-2B8F4CEF81A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9" name="Graphic 8">
            <a:extLst>
              <a:ext uri="{FF2B5EF4-FFF2-40B4-BE49-F238E27FC236}">
                <a16:creationId xmlns:a16="http://schemas.microsoft.com/office/drawing/2014/main" id="{EA26CC81-52C7-4F36-9EC7-A049E3E7DC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56100" y="0"/>
            <a:ext cx="3479800" cy="1739900"/>
          </a:xfrm>
          <a:prstGeom prst="rect">
            <a:avLst/>
          </a:prstGeom>
        </p:spPr>
      </p:pic>
      <p:pic>
        <p:nvPicPr>
          <p:cNvPr id="10" name="Graphic 9">
            <a:extLst>
              <a:ext uri="{FF2B5EF4-FFF2-40B4-BE49-F238E27FC236}">
                <a16:creationId xmlns:a16="http://schemas.microsoft.com/office/drawing/2014/main" id="{A4CDCD79-1450-4EB7-A312-16C9C45A66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784850" y="5683097"/>
            <a:ext cx="622300" cy="717550"/>
          </a:xfrm>
          <a:prstGeom prst="rect">
            <a:avLst/>
          </a:prstGeom>
        </p:spPr>
      </p:pic>
      <p:sp>
        <p:nvSpPr>
          <p:cNvPr id="2" name="Title 1">
            <a:extLst>
              <a:ext uri="{FF2B5EF4-FFF2-40B4-BE49-F238E27FC236}">
                <a16:creationId xmlns:a16="http://schemas.microsoft.com/office/drawing/2014/main" id="{FD1D8B55-51F2-4A36-A9D5-6C2DD9AFB9D3}"/>
              </a:ext>
            </a:extLst>
          </p:cNvPr>
          <p:cNvSpPr>
            <a:spLocks noGrp="1"/>
          </p:cNvSpPr>
          <p:nvPr>
            <p:ph type="title" hasCustomPrompt="1"/>
          </p:nvPr>
        </p:nvSpPr>
        <p:spPr>
          <a:xfrm>
            <a:off x="3928534" y="2589432"/>
            <a:ext cx="4334933" cy="2342565"/>
          </a:xfrm>
          <a:prstGeom prst="rect">
            <a:avLst/>
          </a:prstGeom>
        </p:spPr>
        <p:txBody>
          <a:bodyPr wrap="square" lIns="0" tIns="0" rIns="0" bIns="0">
            <a:spAutoFit/>
          </a:bodyPr>
          <a:lstStyle>
            <a:lvl1pPr algn="ctr">
              <a:lnSpc>
                <a:spcPts val="4534"/>
              </a:lnSpc>
              <a:defRPr sz="4800" b="1" cap="all" baseline="0">
                <a:solidFill>
                  <a:schemeClr val="bg2"/>
                </a:solidFill>
                <a:latin typeface="Calibri" panose="020F0502020204030204" pitchFamily="34" charset="0"/>
                <a:cs typeface="Calibri" panose="020F0502020204030204" pitchFamily="34" charset="0"/>
              </a:defRPr>
            </a:lvl1pPr>
          </a:lstStyle>
          <a:p>
            <a:r>
              <a:rPr lang="pl-PL"/>
              <a:t>SECTION BREAK </a:t>
            </a:r>
            <a:r>
              <a:rPr lang="en-GB"/>
              <a:t>SLIDE TITLE, CALIBRI BOLD, </a:t>
            </a:r>
            <a:r>
              <a:rPr lang="pl-PL"/>
              <a:t>72</a:t>
            </a:r>
            <a:r>
              <a:rPr lang="en-GB"/>
              <a:t> PT</a:t>
            </a:r>
          </a:p>
        </p:txBody>
      </p:sp>
    </p:spTree>
    <p:extLst>
      <p:ext uri="{BB962C8B-B14F-4D97-AF65-F5344CB8AC3E}">
        <p14:creationId xmlns:p14="http://schemas.microsoft.com/office/powerpoint/2010/main" val="8859540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BDCFC-B2F1-4434-B8E7-ECFE8A7F44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81E58EA-A27B-4312-897B-E591D56945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CC1326A4-7DD0-4658-A178-5B8E69DE4829}"/>
              </a:ext>
            </a:extLst>
          </p:cNvPr>
          <p:cNvSpPr>
            <a:spLocks noGrp="1"/>
          </p:cNvSpPr>
          <p:nvPr>
            <p:ph type="sldNum" sz="quarter" idx="10"/>
          </p:nvPr>
        </p:nvSpPr>
        <p:spPr/>
        <p:txBody>
          <a:bodyPr/>
          <a:lstStyle/>
          <a:p>
            <a:fld id="{181750B2-C378-4896-80E6-341FDC8E0FED}" type="slidenum">
              <a:rPr lang="en-IN" smtClean="0"/>
              <a:pPr/>
              <a:t>‹#›</a:t>
            </a:fld>
            <a:endParaRPr lang="en-IN"/>
          </a:p>
        </p:txBody>
      </p:sp>
    </p:spTree>
    <p:extLst>
      <p:ext uri="{BB962C8B-B14F-4D97-AF65-F5344CB8AC3E}">
        <p14:creationId xmlns:p14="http://schemas.microsoft.com/office/powerpoint/2010/main" val="41441252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EDD33-DB1F-494F-BE1D-F5FAEBE59B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46000F-9F37-43B6-BAA5-F5E62AEB52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9561407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702A0-E762-4806-8858-E6CB092C75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FB718B8-6A99-4B92-ABB2-A61A84F0E5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683470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theme" Target="../theme/theme10.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2.png"/><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4.xml"/><Relationship Id="rId1" Type="http://schemas.openxmlformats.org/officeDocument/2006/relationships/slideLayout" Target="../slideLayouts/slideLayout8.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5.xml"/><Relationship Id="rId1" Type="http://schemas.openxmlformats.org/officeDocument/2006/relationships/slideLayout" Target="../slideLayouts/slideLayout9.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6.xml"/><Relationship Id="rId1" Type="http://schemas.openxmlformats.org/officeDocument/2006/relationships/slideLayout" Target="../slideLayouts/slideLayout1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theme" Target="../theme/theme7.xml"/><Relationship Id="rId1" Type="http://schemas.openxmlformats.org/officeDocument/2006/relationships/slideLayout" Target="../slideLayouts/slideLayout11.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theme" Target="../theme/theme8.xml"/><Relationship Id="rId1" Type="http://schemas.openxmlformats.org/officeDocument/2006/relationships/slideLayout" Target="../slideLayouts/slideLayout12.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9.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97231706"/>
      </p:ext>
    </p:extLst>
  </p:cSld>
  <p:clrMap bg1="lt1" tx1="dk1" bg2="lt2" tx2="dk2" accent1="accent1" accent2="accent2" accent3="accent3" accent4="accent4" accent5="accent5" accent6="accent6" hlink="hlink" folHlink="folHlink"/>
  <p:sldLayoutIdLst>
    <p:sldLayoutId id="2147483864" r:id="rId1"/>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860549"/>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5" r:id="rId12"/>
    <p:sldLayoutId id="2147483890" r:id="rId13"/>
    <p:sldLayoutId id="2147483891" r:id="rId14"/>
    <p:sldLayoutId id="2147483892" r:id="rId15"/>
  </p:sldLayoutIdLs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230937831"/>
      </p:ext>
    </p:extLst>
  </p:cSld>
  <p:clrMap bg1="lt1" tx1="dk1" bg2="lt2" tx2="dk2" accent1="accent1" accent2="accent2" accent3="accent3" accent4="accent4" accent5="accent5" accent6="accent6" hlink="hlink" folHlink="folHlink"/>
  <p:sldLayoutIdLst>
    <p:sldLayoutId id="2147483696" r:id="rId1"/>
    <p:sldLayoutId id="2147483863" r:id="rId2"/>
    <p:sldLayoutId id="2147483875" r:id="rId3"/>
    <p:sldLayoutId id="2147483876" r:id="rId4"/>
    <p:sldLayoutId id="2147483893" r:id="rId5"/>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921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7"/>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724856314"/>
      </p:ext>
    </p:extLst>
  </p:cSld>
  <p:clrMap bg1="lt1" tx1="dk1" bg2="lt2" tx2="dk2" accent1="accent1" accent2="accent2" accent3="accent3" accent4="accent4" accent5="accent5" accent6="accent6" hlink="hlink" folHlink="folHlink"/>
  <p:sldLayoutIdLst>
    <p:sldLayoutId id="2147483865" r:id="rId1"/>
  </p:sldLayoutIdLst>
  <p:transition>
    <p:fade/>
  </p:transition>
  <p:hf hdr="0" ftr="0" dt="0"/>
  <p:txStyles>
    <p:titleStyle>
      <a:lvl1pPr algn="l" defTabSz="914004"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004"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66527526"/>
      </p:ext>
    </p:extLst>
  </p:cSld>
  <p:clrMap bg1="lt1" tx1="dk1" bg2="lt2" tx2="dk2" accent1="accent1" accent2="accent2" accent3="accent3" accent4="accent4" accent5="accent5" accent6="accent6" hlink="hlink" folHlink="folHlink"/>
  <p:sldLayoutIdLst>
    <p:sldLayoutId id="2147483866"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a:stretch>
            <a:fillRect/>
          </a:stretch>
        </p:blipFill>
        <p:spPr>
          <a:xfrm rot="5400000">
            <a:off x="9200967" y="2990410"/>
            <a:ext cx="6858623" cy="876557"/>
          </a:xfrm>
          <a:prstGeom prst="rect">
            <a:avLst/>
          </a:prstGeom>
        </p:spPr>
      </p:pic>
    </p:spTree>
    <p:extLst>
      <p:ext uri="{BB962C8B-B14F-4D97-AF65-F5344CB8AC3E}">
        <p14:creationId xmlns:p14="http://schemas.microsoft.com/office/powerpoint/2010/main" val="59539196"/>
      </p:ext>
    </p:extLst>
  </p:cSld>
  <p:clrMap bg1="lt1" tx1="dk1" bg2="lt2" tx2="dk2" accent1="accent1" accent2="accent2" accent3="accent3" accent4="accent4" accent5="accent5" accent6="accent6" hlink="hlink" folHlink="folHlink"/>
  <p:sldLayoutIdLst>
    <p:sldLayoutId id="2147483867"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34585767"/>
      </p:ext>
    </p:extLst>
  </p:cSld>
  <p:clrMap bg1="lt1" tx1="dk1" bg2="lt2" tx2="dk2" accent1="accent1" accent2="accent2" accent3="accent3" accent4="accent4" accent5="accent5" accent6="accent6" hlink="hlink" folHlink="folHlink"/>
  <p:sldLayoutIdLst>
    <p:sldLayoutId id="2147483868"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70078183"/>
      </p:ext>
    </p:extLst>
  </p:cSld>
  <p:clrMap bg1="lt1" tx1="dk1" bg2="lt2" tx2="dk2" accent1="accent1" accent2="accent2" accent3="accent3" accent4="accent4" accent5="accent5" accent6="accent6" hlink="hlink" folHlink="folHlink"/>
  <p:sldLayoutIdLst>
    <p:sldLayoutId id="2147483869"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descr="NIST_Logo_3015_right_line.eps"/>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464800" y="6400801"/>
            <a:ext cx="1117600" cy="373101"/>
          </a:xfrm>
          <a:prstGeom prst="rect">
            <a:avLst/>
          </a:prstGeom>
        </p:spPr>
      </p:pic>
      <p:sp>
        <p:nvSpPr>
          <p:cNvPr id="20" name="Rectangle 19"/>
          <p:cNvSpPr/>
          <p:nvPr/>
        </p:nvSpPr>
        <p:spPr>
          <a:xfrm>
            <a:off x="0" y="0"/>
            <a:ext cx="12192000" cy="304800"/>
          </a:xfrm>
          <a:prstGeom prst="rect">
            <a:avLst/>
          </a:prstGeom>
          <a:solidFill>
            <a:srgbClr val="2083B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21" name="Straight Connector 20"/>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25" name="Title Placeholder 1"/>
          <p:cNvSpPr>
            <a:spLocks noGrp="1"/>
          </p:cNvSpPr>
          <p:nvPr>
            <p:ph type="title"/>
          </p:nvPr>
        </p:nvSpPr>
        <p:spPr bwMode="auto">
          <a:xfrm>
            <a:off x="609600" y="274638"/>
            <a:ext cx="109728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6" name="Text Placeholder 2"/>
          <p:cNvSpPr>
            <a:spLocks noGrp="1"/>
          </p:cNvSpPr>
          <p:nvPr>
            <p:ph type="body" idx="1"/>
          </p:nvPr>
        </p:nvSpPr>
        <p:spPr bwMode="auto">
          <a:xfrm>
            <a:off x="609600" y="1600201"/>
            <a:ext cx="109728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210644278"/>
      </p:ext>
    </p:extLst>
  </p:cSld>
  <p:clrMap bg1="lt1" tx1="dk1" bg2="lt2" tx2="dk2" accent1="accent1" accent2="accent2" accent3="accent3" accent4="accent4" accent5="accent5" accent6="accent6" hlink="hlink" folHlink="folHlink"/>
  <p:sldLayoutIdLst>
    <p:sldLayoutId id="2147483870" r:id="rId1"/>
  </p:sldLayoutIdLst>
  <p:hf hdr="0" ftr="0" dt="0"/>
  <p:txStyles>
    <p:titleStyle>
      <a:lvl1pPr algn="l" defTabSz="457200" rtl="0" eaLnBrk="1" latinLnBrk="0" hangingPunct="1">
        <a:spcBef>
          <a:spcPct val="0"/>
        </a:spcBef>
        <a:buNone/>
        <a:defRPr sz="4400" kern="1200">
          <a:solidFill>
            <a:srgbClr val="2083B6"/>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3200" kern="1200">
          <a:solidFill>
            <a:srgbClr val="2083B6"/>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rgbClr val="58595B"/>
          </a:solidFill>
          <a:latin typeface="Calibri"/>
          <a:ea typeface="+mn-ea"/>
          <a:cs typeface="Calibri"/>
        </a:defRPr>
      </a:lvl2pPr>
      <a:lvl3pPr marL="1143000" indent="-228600" algn="l" defTabSz="457200" rtl="0" eaLnBrk="1" latinLnBrk="0" hangingPunct="1">
        <a:spcBef>
          <a:spcPct val="20000"/>
        </a:spcBef>
        <a:buFont typeface="Arial"/>
        <a:buChar char="•"/>
        <a:defRPr sz="2400" kern="1200">
          <a:solidFill>
            <a:srgbClr val="58595B"/>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718642096"/>
      </p:ext>
    </p:extLst>
  </p:cSld>
  <p:clrMap bg1="lt1" tx1="dk1" bg2="lt2" tx2="dk2" accent1="accent1" accent2="accent2" accent3="accent3" accent4="accent4" accent5="accent5" accent6="accent6" hlink="hlink" folHlink="folHlink"/>
  <p:sldLayoutIdLst>
    <p:sldLayoutId id="2147483871" r:id="rId1"/>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erson using a computer&#10;&#10;Description automatically generated">
            <a:extLst>
              <a:ext uri="{FF2B5EF4-FFF2-40B4-BE49-F238E27FC236}">
                <a16:creationId xmlns:a16="http://schemas.microsoft.com/office/drawing/2014/main" id="{240D62AA-3BE1-40CD-8404-CADFB9BA3473}"/>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a:stretch>
            <a:fillRect/>
          </a:stretch>
        </p:blipFill>
        <p:spPr/>
      </p:pic>
      <p:sp>
        <p:nvSpPr>
          <p:cNvPr id="3" name="Title 2">
            <a:extLst>
              <a:ext uri="{FF2B5EF4-FFF2-40B4-BE49-F238E27FC236}">
                <a16:creationId xmlns:a16="http://schemas.microsoft.com/office/drawing/2014/main" id="{314F77B3-75F9-4EF1-9547-27822F56AC84}"/>
              </a:ext>
            </a:extLst>
          </p:cNvPr>
          <p:cNvSpPr>
            <a:spLocks noGrp="1"/>
          </p:cNvSpPr>
          <p:nvPr>
            <p:ph type="title"/>
          </p:nvPr>
        </p:nvSpPr>
        <p:spPr>
          <a:xfrm>
            <a:off x="819149" y="1036700"/>
            <a:ext cx="9782947" cy="595291"/>
          </a:xfrm>
          <a:solidFill>
            <a:srgbClr val="7030A0"/>
          </a:solidFill>
        </p:spPr>
        <p:txBody>
          <a:bodyPr/>
          <a:lstStyle/>
          <a:p>
            <a:r>
              <a:rPr lang="en-GB">
                <a:solidFill>
                  <a:schemeClr val="bg1"/>
                </a:solidFill>
              </a:rPr>
              <a:t>JHA- Security Presentation</a:t>
            </a:r>
          </a:p>
        </p:txBody>
      </p:sp>
      <p:sp>
        <p:nvSpPr>
          <p:cNvPr id="4" name="Text Placeholder 3">
            <a:extLst>
              <a:ext uri="{FF2B5EF4-FFF2-40B4-BE49-F238E27FC236}">
                <a16:creationId xmlns:a16="http://schemas.microsoft.com/office/drawing/2014/main" id="{697B4D40-F052-43BD-AB69-34048F3BF0A1}"/>
              </a:ext>
            </a:extLst>
          </p:cNvPr>
          <p:cNvSpPr>
            <a:spLocks noGrp="1"/>
          </p:cNvSpPr>
          <p:nvPr>
            <p:ph type="body" sz="quarter" idx="10"/>
          </p:nvPr>
        </p:nvSpPr>
        <p:spPr/>
        <p:txBody>
          <a:bodyPr/>
          <a:lstStyle/>
          <a:p>
            <a:endParaRPr lang="en-GB"/>
          </a:p>
        </p:txBody>
      </p:sp>
      <p:pic>
        <p:nvPicPr>
          <p:cNvPr id="11" name="Picture Placeholder 10" descr="A picture containing drawing&#10;&#10;Description automatically generated">
            <a:extLst>
              <a:ext uri="{FF2B5EF4-FFF2-40B4-BE49-F238E27FC236}">
                <a16:creationId xmlns:a16="http://schemas.microsoft.com/office/drawing/2014/main" id="{10320092-635C-4E8E-85D6-16812F943DE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pic>
        <p:nvPicPr>
          <p:cNvPr id="13" name="Picture Placeholder 12" descr="A picture containing drawing&#10;&#10;Description automatically generated">
            <a:extLst>
              <a:ext uri="{FF2B5EF4-FFF2-40B4-BE49-F238E27FC236}">
                <a16:creationId xmlns:a16="http://schemas.microsoft.com/office/drawing/2014/main" id="{87934812-DC45-43FA-8624-40D15B5AF5D5}"/>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5327565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SOC Dashboards</a:t>
            </a:r>
          </a:p>
        </p:txBody>
      </p:sp>
      <p:pic>
        <p:nvPicPr>
          <p:cNvPr id="3" name="Picture 2"/>
          <p:cNvPicPr>
            <a:picLocks noChangeAspect="1"/>
          </p:cNvPicPr>
          <p:nvPr/>
        </p:nvPicPr>
        <p:blipFill>
          <a:blip r:embed="rId2"/>
          <a:stretch>
            <a:fillRect/>
          </a:stretch>
        </p:blipFill>
        <p:spPr>
          <a:xfrm>
            <a:off x="609600" y="1046483"/>
            <a:ext cx="10430107" cy="5484479"/>
          </a:xfrm>
          <a:prstGeom prst="rect">
            <a:avLst/>
          </a:prstGeom>
          <a:ln>
            <a:solidFill>
              <a:schemeClr val="bg2">
                <a:lumMod val="90000"/>
              </a:schemeClr>
            </a:solidFill>
          </a:ln>
        </p:spPr>
      </p:pic>
    </p:spTree>
    <p:extLst>
      <p:ext uri="{BB962C8B-B14F-4D97-AF65-F5344CB8AC3E}">
        <p14:creationId xmlns:p14="http://schemas.microsoft.com/office/powerpoint/2010/main" val="3140921317"/>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SOC Dashboards</a:t>
            </a: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1990"/>
          <a:stretch/>
        </p:blipFill>
        <p:spPr>
          <a:xfrm>
            <a:off x="1204332" y="1315843"/>
            <a:ext cx="9345070" cy="5217145"/>
          </a:xfrm>
          <a:prstGeom prst="rect">
            <a:avLst/>
          </a:prstGeom>
          <a:ln>
            <a:solidFill>
              <a:schemeClr val="bg2"/>
            </a:solidFill>
          </a:ln>
        </p:spPr>
      </p:pic>
      <p:sp>
        <p:nvSpPr>
          <p:cNvPr id="4" name="Rectangle 3"/>
          <p:cNvSpPr/>
          <p:nvPr/>
        </p:nvSpPr>
        <p:spPr bwMode="auto">
          <a:xfrm>
            <a:off x="4806176" y="2400635"/>
            <a:ext cx="1070691" cy="777463"/>
          </a:xfrm>
          <a:prstGeom prst="rect">
            <a:avLst/>
          </a:prstGeom>
          <a:solidFill>
            <a:schemeClr val="bg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4612888" y="5418899"/>
            <a:ext cx="1386468" cy="123257"/>
          </a:xfrm>
          <a:prstGeom prst="rect">
            <a:avLst/>
          </a:prstGeom>
          <a:solidFill>
            <a:schemeClr val="bg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2693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SOC Dashboard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2414" y="1015444"/>
            <a:ext cx="10391775" cy="5610225"/>
          </a:xfrm>
          <a:prstGeom prst="rect">
            <a:avLst/>
          </a:prstGeom>
          <a:ln>
            <a:solidFill>
              <a:schemeClr val="bg2"/>
            </a:solidFill>
          </a:ln>
        </p:spPr>
      </p:pic>
      <p:sp>
        <p:nvSpPr>
          <p:cNvPr id="4" name="Rectangle 3"/>
          <p:cNvSpPr/>
          <p:nvPr/>
        </p:nvSpPr>
        <p:spPr bwMode="auto">
          <a:xfrm>
            <a:off x="5761462" y="3798254"/>
            <a:ext cx="1174597" cy="840654"/>
          </a:xfrm>
          <a:prstGeom prst="rect">
            <a:avLst/>
          </a:prstGeom>
          <a:solidFill>
            <a:schemeClr val="bg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4951141" y="2099552"/>
            <a:ext cx="1035381" cy="840654"/>
          </a:xfrm>
          <a:prstGeom prst="rect">
            <a:avLst/>
          </a:prstGeom>
          <a:solidFill>
            <a:schemeClr val="bg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811924" y="5496956"/>
            <a:ext cx="1174597" cy="134410"/>
          </a:xfrm>
          <a:prstGeom prst="rect">
            <a:avLst/>
          </a:prstGeom>
          <a:solidFill>
            <a:schemeClr val="bg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13362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 Same Side Corner Rectangle 36"/>
          <p:cNvSpPr/>
          <p:nvPr/>
        </p:nvSpPr>
        <p:spPr>
          <a:xfrm>
            <a:off x="712188" y="3243616"/>
            <a:ext cx="10767626" cy="3482976"/>
          </a:xfrm>
          <a:prstGeom prst="round2SameRect">
            <a:avLst>
              <a:gd name="adj1" fmla="val 5926"/>
              <a:gd name="adj2" fmla="val 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p:cNvSpPr>
            <a:spLocks noGrp="1"/>
          </p:cNvSpPr>
          <p:nvPr>
            <p:ph type="title"/>
          </p:nvPr>
        </p:nvSpPr>
        <p:spPr>
          <a:xfrm>
            <a:off x="770331" y="383397"/>
            <a:ext cx="10334626" cy="469872"/>
          </a:xfrm>
        </p:spPr>
        <p:txBody>
          <a:bodyPr/>
          <a:lstStyle/>
          <a:p>
            <a:r>
              <a:rPr lang="en-US" sz="2800"/>
              <a:t>Security Support for a banking Customer</a:t>
            </a:r>
          </a:p>
        </p:txBody>
      </p:sp>
      <p:grpSp>
        <p:nvGrpSpPr>
          <p:cNvPr id="11" name="Group 10"/>
          <p:cNvGrpSpPr/>
          <p:nvPr/>
        </p:nvGrpSpPr>
        <p:grpSpPr>
          <a:xfrm>
            <a:off x="407966" y="1089164"/>
            <a:ext cx="3569035" cy="2131280"/>
            <a:chOff x="790773" y="1845557"/>
            <a:chExt cx="5158686" cy="2810331"/>
          </a:xfrm>
        </p:grpSpPr>
        <p:grpSp>
          <p:nvGrpSpPr>
            <p:cNvPr id="3" name="Group 2">
              <a:extLst>
                <a:ext uri="{FF2B5EF4-FFF2-40B4-BE49-F238E27FC236}">
                  <a16:creationId xmlns:a16="http://schemas.microsoft.com/office/drawing/2014/main" id="{40DAFC85-4818-4482-88CF-94B528C345A3}"/>
                </a:ext>
              </a:extLst>
            </p:cNvPr>
            <p:cNvGrpSpPr/>
            <p:nvPr/>
          </p:nvGrpSpPr>
          <p:grpSpPr>
            <a:xfrm>
              <a:off x="790773" y="1932856"/>
              <a:ext cx="5158686" cy="2723032"/>
              <a:chOff x="4349750" y="2705101"/>
              <a:chExt cx="4417014" cy="2331540"/>
            </a:xfrm>
          </p:grpSpPr>
          <p:sp>
            <p:nvSpPr>
              <p:cNvPr id="4" name="Freeform 6">
                <a:extLst>
                  <a:ext uri="{FF2B5EF4-FFF2-40B4-BE49-F238E27FC236}">
                    <a16:creationId xmlns:a16="http://schemas.microsoft.com/office/drawing/2014/main" id="{7A792D7E-5CD3-47FF-A416-1D1456320B37}"/>
                  </a:ext>
                </a:extLst>
              </p:cNvPr>
              <p:cNvSpPr>
                <a:spLocks/>
              </p:cNvSpPr>
              <p:nvPr/>
            </p:nvSpPr>
            <p:spPr bwMode="auto">
              <a:xfrm>
                <a:off x="4525963" y="2719388"/>
                <a:ext cx="495300" cy="698500"/>
              </a:xfrm>
              <a:custGeom>
                <a:avLst/>
                <a:gdLst>
                  <a:gd name="T0" fmla="*/ 312 w 312"/>
                  <a:gd name="T1" fmla="*/ 38 h 440"/>
                  <a:gd name="T2" fmla="*/ 0 w 312"/>
                  <a:gd name="T3" fmla="*/ 0 h 440"/>
                  <a:gd name="T4" fmla="*/ 124 w 312"/>
                  <a:gd name="T5" fmla="*/ 440 h 440"/>
                  <a:gd name="T6" fmla="*/ 293 w 312"/>
                  <a:gd name="T7" fmla="*/ 307 h 440"/>
                  <a:gd name="T8" fmla="*/ 312 w 312"/>
                  <a:gd name="T9" fmla="*/ 38 h 440"/>
                </a:gdLst>
                <a:ahLst/>
                <a:cxnLst>
                  <a:cxn ang="0">
                    <a:pos x="T0" y="T1"/>
                  </a:cxn>
                  <a:cxn ang="0">
                    <a:pos x="T2" y="T3"/>
                  </a:cxn>
                  <a:cxn ang="0">
                    <a:pos x="T4" y="T5"/>
                  </a:cxn>
                  <a:cxn ang="0">
                    <a:pos x="T6" y="T7"/>
                  </a:cxn>
                  <a:cxn ang="0">
                    <a:pos x="T8" y="T9"/>
                  </a:cxn>
                </a:cxnLst>
                <a:rect l="0" t="0" r="r" b="b"/>
                <a:pathLst>
                  <a:path w="312" h="440">
                    <a:moveTo>
                      <a:pt x="312" y="38"/>
                    </a:moveTo>
                    <a:lnTo>
                      <a:pt x="0" y="0"/>
                    </a:lnTo>
                    <a:lnTo>
                      <a:pt x="124" y="440"/>
                    </a:lnTo>
                    <a:lnTo>
                      <a:pt x="293" y="307"/>
                    </a:lnTo>
                    <a:lnTo>
                      <a:pt x="312" y="38"/>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 name="Freeform 7">
                <a:extLst>
                  <a:ext uri="{FF2B5EF4-FFF2-40B4-BE49-F238E27FC236}">
                    <a16:creationId xmlns:a16="http://schemas.microsoft.com/office/drawing/2014/main" id="{0B172320-5970-409E-AC36-20AA0C0761FB}"/>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 name="T8" fmla="*/ 0 w 606"/>
                  <a:gd name="T9" fmla="*/ 259 h 965"/>
                </a:gdLst>
                <a:ahLst/>
                <a:cxnLst>
                  <a:cxn ang="0">
                    <a:pos x="T0" y="T1"/>
                  </a:cxn>
                  <a:cxn ang="0">
                    <a:pos x="T2" y="T3"/>
                  </a:cxn>
                  <a:cxn ang="0">
                    <a:pos x="T4" y="T5"/>
                  </a:cxn>
                  <a:cxn ang="0">
                    <a:pos x="T6" y="T7"/>
                  </a:cxn>
                  <a:cxn ang="0">
                    <a:pos x="T8" y="T9"/>
                  </a:cxn>
                </a:cxnLst>
                <a:rect l="0" t="0" r="r" b="b"/>
                <a:pathLst>
                  <a:path w="606" h="965">
                    <a:moveTo>
                      <a:pt x="0" y="259"/>
                    </a:moveTo>
                    <a:lnTo>
                      <a:pt x="423" y="0"/>
                    </a:lnTo>
                    <a:lnTo>
                      <a:pt x="606" y="727"/>
                    </a:lnTo>
                    <a:lnTo>
                      <a:pt x="230" y="965"/>
                    </a:lnTo>
                    <a:lnTo>
                      <a:pt x="0" y="259"/>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6" name="Freeform 8">
                <a:extLst>
                  <a:ext uri="{FF2B5EF4-FFF2-40B4-BE49-F238E27FC236}">
                    <a16:creationId xmlns:a16="http://schemas.microsoft.com/office/drawing/2014/main" id="{AD033240-C1B8-491A-A42F-CE92C7B857EF}"/>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Lst>
                <a:ahLst/>
                <a:cxnLst>
                  <a:cxn ang="0">
                    <a:pos x="T0" y="T1"/>
                  </a:cxn>
                  <a:cxn ang="0">
                    <a:pos x="T2" y="T3"/>
                  </a:cxn>
                  <a:cxn ang="0">
                    <a:pos x="T4" y="T5"/>
                  </a:cxn>
                  <a:cxn ang="0">
                    <a:pos x="T6" y="T7"/>
                  </a:cxn>
                </a:cxnLst>
                <a:rect l="0" t="0" r="r" b="b"/>
                <a:pathLst>
                  <a:path w="606" h="965">
                    <a:moveTo>
                      <a:pt x="0" y="259"/>
                    </a:moveTo>
                    <a:lnTo>
                      <a:pt x="423" y="0"/>
                    </a:lnTo>
                    <a:lnTo>
                      <a:pt x="606" y="727"/>
                    </a:lnTo>
                    <a:lnTo>
                      <a:pt x="230" y="9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7" name="Freeform 9">
                <a:extLst>
                  <a:ext uri="{FF2B5EF4-FFF2-40B4-BE49-F238E27FC236}">
                    <a16:creationId xmlns:a16="http://schemas.microsoft.com/office/drawing/2014/main" id="{CF9B586F-B6F0-4672-BD10-26E233D3A39B}"/>
                  </a:ext>
                </a:extLst>
              </p:cNvPr>
              <p:cNvSpPr>
                <a:spLocks/>
              </p:cNvSpPr>
              <p:nvPr/>
            </p:nvSpPr>
            <p:spPr bwMode="auto">
              <a:xfrm>
                <a:off x="4349750" y="2705101"/>
                <a:ext cx="4417014" cy="2331540"/>
              </a:xfrm>
              <a:custGeom>
                <a:avLst/>
                <a:gdLst>
                  <a:gd name="T0" fmla="*/ 0 w 2341"/>
                  <a:gd name="T1" fmla="*/ 306 h 1033"/>
                  <a:gd name="T2" fmla="*/ 230 w 2341"/>
                  <a:gd name="T3" fmla="*/ 1012 h 1033"/>
                  <a:gd name="T4" fmla="*/ 2086 w 2341"/>
                  <a:gd name="T5" fmla="*/ 1033 h 1033"/>
                  <a:gd name="T6" fmla="*/ 2341 w 2341"/>
                  <a:gd name="T7" fmla="*/ 0 h 1033"/>
                  <a:gd name="T8" fmla="*/ 0 w 2341"/>
                  <a:gd name="T9" fmla="*/ 306 h 1033"/>
                  <a:gd name="connsiteX0" fmla="*/ 0 w 10000"/>
                  <a:gd name="connsiteY0" fmla="*/ 2962 h 10000"/>
                  <a:gd name="connsiteX1" fmla="*/ 831 w 10000"/>
                  <a:gd name="connsiteY1" fmla="*/ 9768 h 10000"/>
                  <a:gd name="connsiteX2" fmla="*/ 8911 w 10000"/>
                  <a:gd name="connsiteY2" fmla="*/ 10000 h 10000"/>
                  <a:gd name="connsiteX3" fmla="*/ 10000 w 10000"/>
                  <a:gd name="connsiteY3" fmla="*/ 0 h 10000"/>
                  <a:gd name="connsiteX4" fmla="*/ 0 w 10000"/>
                  <a:gd name="connsiteY4" fmla="*/ 296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2962"/>
                    </a:moveTo>
                    <a:lnTo>
                      <a:pt x="831" y="9768"/>
                    </a:lnTo>
                    <a:lnTo>
                      <a:pt x="8911" y="10000"/>
                    </a:lnTo>
                    <a:lnTo>
                      <a:pt x="10000" y="0"/>
                    </a:lnTo>
                    <a:lnTo>
                      <a:pt x="0" y="296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8" name="Rectangle 7"/>
            <p:cNvSpPr/>
            <p:nvPr/>
          </p:nvSpPr>
          <p:spPr>
            <a:xfrm>
              <a:off x="1204036" y="2709514"/>
              <a:ext cx="4367544" cy="1826271"/>
            </a:xfrm>
            <a:prstGeom prst="rect">
              <a:avLst/>
            </a:prstGeom>
          </p:spPr>
          <p:txBody>
            <a:bodyPr wrap="square">
              <a:spAutoFit/>
            </a:bodyPr>
            <a:lstStyle/>
            <a:p>
              <a:pPr>
                <a:buClr>
                  <a:srgbClr val="7030A0"/>
                </a:buClr>
                <a:defRPr/>
              </a:pPr>
              <a:r>
                <a:rPr lang="en-US" sz="1200" b="1">
                  <a:solidFill>
                    <a:schemeClr val="bg2"/>
                  </a:solidFill>
                  <a:latin typeface="Calibri" panose="020F0502020204030204" pitchFamily="34" charset="0"/>
                  <a:cs typeface="Calibri" panose="020F0502020204030204" pitchFamily="34" charset="0"/>
                </a:rPr>
                <a:t>The NBK was founded in 1952. It is the largest financial institution in Kuwait, with branches and subsidiaries in China, Geneva, London, Paris, New York, and Singapore, and a regional presence across the Middle East in Lebanon, Jordan, Egypt, Bahrain, Saudi Arabia, Iraq, Turkey, and the UAE</a:t>
              </a:r>
              <a:endParaRPr lang="en-US" sz="1200">
                <a:solidFill>
                  <a:schemeClr val="bg2"/>
                </a:solidFill>
                <a:latin typeface="Calibri" panose="020F0502020204030204" pitchFamily="34" charset="0"/>
                <a:cs typeface="Calibri" panose="020F0502020204030204" pitchFamily="34" charset="0"/>
              </a:endParaRPr>
            </a:p>
          </p:txBody>
        </p:sp>
        <p:sp>
          <p:nvSpPr>
            <p:cNvPr id="9" name="Rectangle 8"/>
            <p:cNvSpPr/>
            <p:nvPr/>
          </p:nvSpPr>
          <p:spPr>
            <a:xfrm rot="21229639">
              <a:off x="1640747" y="1845557"/>
              <a:ext cx="1583031" cy="477150"/>
            </a:xfrm>
            <a:prstGeom prst="rect">
              <a:avLst/>
            </a:prstGeom>
          </p:spPr>
          <p:txBody>
            <a:bodyPr wrap="none">
              <a:spAutoFit/>
            </a:bodyPr>
            <a:lstStyle/>
            <a:p>
              <a:r>
                <a:rPr lang="en-US" sz="1467" b="1">
                  <a:solidFill>
                    <a:schemeClr val="accent2">
                      <a:lumMod val="75000"/>
                    </a:schemeClr>
                  </a:solidFill>
                  <a:latin typeface="+mj-lt"/>
                  <a:cs typeface="Calibri" pitchFamily="34" charset="0"/>
                </a:rPr>
                <a:t>Customer: </a:t>
              </a:r>
              <a:endParaRPr lang="en-US" sz="1467">
                <a:solidFill>
                  <a:schemeClr val="accent2">
                    <a:lumMod val="75000"/>
                  </a:schemeClr>
                </a:solidFill>
                <a:latin typeface="+mj-lt"/>
              </a:endParaRPr>
            </a:p>
          </p:txBody>
        </p:sp>
      </p:grpSp>
      <p:grpSp>
        <p:nvGrpSpPr>
          <p:cNvPr id="12" name="Group 11"/>
          <p:cNvGrpSpPr/>
          <p:nvPr/>
        </p:nvGrpSpPr>
        <p:grpSpPr>
          <a:xfrm>
            <a:off x="4393326" y="1410038"/>
            <a:ext cx="3442655" cy="1367113"/>
            <a:chOff x="790768" y="1797431"/>
            <a:chExt cx="5163982" cy="2050669"/>
          </a:xfrm>
        </p:grpSpPr>
        <p:grpSp>
          <p:nvGrpSpPr>
            <p:cNvPr id="13" name="Group 12">
              <a:extLst>
                <a:ext uri="{FF2B5EF4-FFF2-40B4-BE49-F238E27FC236}">
                  <a16:creationId xmlns:a16="http://schemas.microsoft.com/office/drawing/2014/main" id="{40DAFC85-4818-4482-88CF-94B528C345A3}"/>
                </a:ext>
              </a:extLst>
            </p:cNvPr>
            <p:cNvGrpSpPr/>
            <p:nvPr/>
          </p:nvGrpSpPr>
          <p:grpSpPr>
            <a:xfrm>
              <a:off x="790768" y="1932856"/>
              <a:ext cx="5163982" cy="1915244"/>
              <a:chOff x="4349750" y="2705101"/>
              <a:chExt cx="4421553" cy="1639888"/>
            </a:xfrm>
          </p:grpSpPr>
          <p:sp>
            <p:nvSpPr>
              <p:cNvPr id="16" name="Freeform 6">
                <a:extLst>
                  <a:ext uri="{FF2B5EF4-FFF2-40B4-BE49-F238E27FC236}">
                    <a16:creationId xmlns:a16="http://schemas.microsoft.com/office/drawing/2014/main" id="{7A792D7E-5CD3-47FF-A416-1D1456320B37}"/>
                  </a:ext>
                </a:extLst>
              </p:cNvPr>
              <p:cNvSpPr>
                <a:spLocks/>
              </p:cNvSpPr>
              <p:nvPr/>
            </p:nvSpPr>
            <p:spPr bwMode="auto">
              <a:xfrm>
                <a:off x="4525963" y="2719388"/>
                <a:ext cx="495300" cy="698500"/>
              </a:xfrm>
              <a:custGeom>
                <a:avLst/>
                <a:gdLst>
                  <a:gd name="T0" fmla="*/ 312 w 312"/>
                  <a:gd name="T1" fmla="*/ 38 h 440"/>
                  <a:gd name="T2" fmla="*/ 0 w 312"/>
                  <a:gd name="T3" fmla="*/ 0 h 440"/>
                  <a:gd name="T4" fmla="*/ 124 w 312"/>
                  <a:gd name="T5" fmla="*/ 440 h 440"/>
                  <a:gd name="T6" fmla="*/ 293 w 312"/>
                  <a:gd name="T7" fmla="*/ 307 h 440"/>
                  <a:gd name="T8" fmla="*/ 312 w 312"/>
                  <a:gd name="T9" fmla="*/ 38 h 440"/>
                </a:gdLst>
                <a:ahLst/>
                <a:cxnLst>
                  <a:cxn ang="0">
                    <a:pos x="T0" y="T1"/>
                  </a:cxn>
                  <a:cxn ang="0">
                    <a:pos x="T2" y="T3"/>
                  </a:cxn>
                  <a:cxn ang="0">
                    <a:pos x="T4" y="T5"/>
                  </a:cxn>
                  <a:cxn ang="0">
                    <a:pos x="T6" y="T7"/>
                  </a:cxn>
                  <a:cxn ang="0">
                    <a:pos x="T8" y="T9"/>
                  </a:cxn>
                </a:cxnLst>
                <a:rect l="0" t="0" r="r" b="b"/>
                <a:pathLst>
                  <a:path w="312" h="440">
                    <a:moveTo>
                      <a:pt x="312" y="38"/>
                    </a:moveTo>
                    <a:lnTo>
                      <a:pt x="0" y="0"/>
                    </a:lnTo>
                    <a:lnTo>
                      <a:pt x="124" y="440"/>
                    </a:lnTo>
                    <a:lnTo>
                      <a:pt x="293" y="307"/>
                    </a:lnTo>
                    <a:lnTo>
                      <a:pt x="312" y="38"/>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7" name="Freeform 7">
                <a:extLst>
                  <a:ext uri="{FF2B5EF4-FFF2-40B4-BE49-F238E27FC236}">
                    <a16:creationId xmlns:a16="http://schemas.microsoft.com/office/drawing/2014/main" id="{0B172320-5970-409E-AC36-20AA0C0761FB}"/>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 name="T8" fmla="*/ 0 w 606"/>
                  <a:gd name="T9" fmla="*/ 259 h 965"/>
                </a:gdLst>
                <a:ahLst/>
                <a:cxnLst>
                  <a:cxn ang="0">
                    <a:pos x="T0" y="T1"/>
                  </a:cxn>
                  <a:cxn ang="0">
                    <a:pos x="T2" y="T3"/>
                  </a:cxn>
                  <a:cxn ang="0">
                    <a:pos x="T4" y="T5"/>
                  </a:cxn>
                  <a:cxn ang="0">
                    <a:pos x="T6" y="T7"/>
                  </a:cxn>
                  <a:cxn ang="0">
                    <a:pos x="T8" y="T9"/>
                  </a:cxn>
                </a:cxnLst>
                <a:rect l="0" t="0" r="r" b="b"/>
                <a:pathLst>
                  <a:path w="606" h="965">
                    <a:moveTo>
                      <a:pt x="0" y="259"/>
                    </a:moveTo>
                    <a:lnTo>
                      <a:pt x="423" y="0"/>
                    </a:lnTo>
                    <a:lnTo>
                      <a:pt x="606" y="727"/>
                    </a:lnTo>
                    <a:lnTo>
                      <a:pt x="230" y="965"/>
                    </a:lnTo>
                    <a:lnTo>
                      <a:pt x="0" y="259"/>
                    </a:ln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8" name="Freeform 8">
                <a:extLst>
                  <a:ext uri="{FF2B5EF4-FFF2-40B4-BE49-F238E27FC236}">
                    <a16:creationId xmlns:a16="http://schemas.microsoft.com/office/drawing/2014/main" id="{AD033240-C1B8-491A-A42F-CE92C7B857EF}"/>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Lst>
                <a:ahLst/>
                <a:cxnLst>
                  <a:cxn ang="0">
                    <a:pos x="T0" y="T1"/>
                  </a:cxn>
                  <a:cxn ang="0">
                    <a:pos x="T2" y="T3"/>
                  </a:cxn>
                  <a:cxn ang="0">
                    <a:pos x="T4" y="T5"/>
                  </a:cxn>
                  <a:cxn ang="0">
                    <a:pos x="T6" y="T7"/>
                  </a:cxn>
                </a:cxnLst>
                <a:rect l="0" t="0" r="r" b="b"/>
                <a:pathLst>
                  <a:path w="606" h="965">
                    <a:moveTo>
                      <a:pt x="0" y="259"/>
                    </a:moveTo>
                    <a:lnTo>
                      <a:pt x="423" y="0"/>
                    </a:lnTo>
                    <a:lnTo>
                      <a:pt x="606" y="727"/>
                    </a:lnTo>
                    <a:lnTo>
                      <a:pt x="230" y="9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9" name="Freeform 9">
                <a:extLst>
                  <a:ext uri="{FF2B5EF4-FFF2-40B4-BE49-F238E27FC236}">
                    <a16:creationId xmlns:a16="http://schemas.microsoft.com/office/drawing/2014/main" id="{CF9B586F-B6F0-4672-BD10-26E233D3A39B}"/>
                  </a:ext>
                </a:extLst>
              </p:cNvPr>
              <p:cNvSpPr>
                <a:spLocks/>
              </p:cNvSpPr>
              <p:nvPr/>
            </p:nvSpPr>
            <p:spPr bwMode="auto">
              <a:xfrm>
                <a:off x="4349750" y="2705101"/>
                <a:ext cx="4421553" cy="1639888"/>
              </a:xfrm>
              <a:custGeom>
                <a:avLst/>
                <a:gdLst>
                  <a:gd name="T0" fmla="*/ 0 w 2341"/>
                  <a:gd name="T1" fmla="*/ 306 h 1033"/>
                  <a:gd name="T2" fmla="*/ 230 w 2341"/>
                  <a:gd name="T3" fmla="*/ 1012 h 1033"/>
                  <a:gd name="T4" fmla="*/ 2086 w 2341"/>
                  <a:gd name="T5" fmla="*/ 1033 h 1033"/>
                  <a:gd name="T6" fmla="*/ 2341 w 2341"/>
                  <a:gd name="T7" fmla="*/ 0 h 1033"/>
                  <a:gd name="T8" fmla="*/ 0 w 2341"/>
                  <a:gd name="T9" fmla="*/ 306 h 1033"/>
                  <a:gd name="connsiteX0" fmla="*/ 0 w 10000"/>
                  <a:gd name="connsiteY0" fmla="*/ 2962 h 10000"/>
                  <a:gd name="connsiteX1" fmla="*/ 831 w 10000"/>
                  <a:gd name="connsiteY1" fmla="*/ 9768 h 10000"/>
                  <a:gd name="connsiteX2" fmla="*/ 8911 w 10000"/>
                  <a:gd name="connsiteY2" fmla="*/ 10000 h 10000"/>
                  <a:gd name="connsiteX3" fmla="*/ 10000 w 10000"/>
                  <a:gd name="connsiteY3" fmla="*/ 0 h 10000"/>
                  <a:gd name="connsiteX4" fmla="*/ 0 w 10000"/>
                  <a:gd name="connsiteY4" fmla="*/ 296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2962"/>
                    </a:moveTo>
                    <a:lnTo>
                      <a:pt x="831" y="9768"/>
                    </a:lnTo>
                    <a:lnTo>
                      <a:pt x="8911" y="10000"/>
                    </a:lnTo>
                    <a:lnTo>
                      <a:pt x="10000" y="0"/>
                    </a:lnTo>
                    <a:lnTo>
                      <a:pt x="0" y="296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14" name="Rectangle 13"/>
            <p:cNvSpPr/>
            <p:nvPr/>
          </p:nvSpPr>
          <p:spPr>
            <a:xfrm>
              <a:off x="1536935" y="2815011"/>
              <a:ext cx="3587515" cy="446181"/>
            </a:xfrm>
            <a:prstGeom prst="rect">
              <a:avLst/>
            </a:prstGeom>
          </p:spPr>
          <p:txBody>
            <a:bodyPr wrap="square">
              <a:spAutoFit/>
            </a:bodyPr>
            <a:lstStyle/>
            <a:p>
              <a:pPr>
                <a:buClr>
                  <a:srgbClr val="7030A0"/>
                </a:buClr>
                <a:defRPr/>
              </a:pPr>
              <a:r>
                <a:rPr lang="en-US" sz="1333" b="1">
                  <a:solidFill>
                    <a:schemeClr val="bg2"/>
                  </a:solidFill>
                  <a:latin typeface="+mj-lt"/>
                  <a:cs typeface="Calibri" pitchFamily="34" charset="0"/>
                </a:rPr>
                <a:t>Banking and Financial Services</a:t>
              </a:r>
            </a:p>
          </p:txBody>
        </p:sp>
        <p:sp>
          <p:nvSpPr>
            <p:cNvPr id="15" name="Rectangle 14"/>
            <p:cNvSpPr/>
            <p:nvPr/>
          </p:nvSpPr>
          <p:spPr>
            <a:xfrm rot="21229639">
              <a:off x="1716181" y="1797431"/>
              <a:ext cx="2234265" cy="477150"/>
            </a:xfrm>
            <a:prstGeom prst="rect">
              <a:avLst/>
            </a:prstGeom>
          </p:spPr>
          <p:txBody>
            <a:bodyPr wrap="none">
              <a:spAutoFit/>
            </a:bodyPr>
            <a:lstStyle/>
            <a:p>
              <a:r>
                <a:rPr lang="en-US" sz="1467" b="1">
                  <a:solidFill>
                    <a:schemeClr val="accent5"/>
                  </a:solidFill>
                  <a:latin typeface="+mj-lt"/>
                  <a:cs typeface="Calibri" pitchFamily="34" charset="0"/>
                </a:rPr>
                <a:t>Business Model: </a:t>
              </a:r>
              <a:endParaRPr lang="en-US" sz="1467">
                <a:solidFill>
                  <a:schemeClr val="accent5"/>
                </a:solidFill>
                <a:latin typeface="+mj-lt"/>
              </a:endParaRPr>
            </a:p>
          </p:txBody>
        </p:sp>
      </p:grpSp>
      <p:grpSp>
        <p:nvGrpSpPr>
          <p:cNvPr id="20" name="Group 19"/>
          <p:cNvGrpSpPr/>
          <p:nvPr/>
        </p:nvGrpSpPr>
        <p:grpSpPr>
          <a:xfrm>
            <a:off x="8248776" y="1442122"/>
            <a:ext cx="3442653" cy="1335028"/>
            <a:chOff x="790764" y="1845557"/>
            <a:chExt cx="5163978" cy="2002542"/>
          </a:xfrm>
        </p:grpSpPr>
        <p:grpSp>
          <p:nvGrpSpPr>
            <p:cNvPr id="21" name="Group 20">
              <a:extLst>
                <a:ext uri="{FF2B5EF4-FFF2-40B4-BE49-F238E27FC236}">
                  <a16:creationId xmlns:a16="http://schemas.microsoft.com/office/drawing/2014/main" id="{40DAFC85-4818-4482-88CF-94B528C345A3}"/>
                </a:ext>
              </a:extLst>
            </p:cNvPr>
            <p:cNvGrpSpPr/>
            <p:nvPr/>
          </p:nvGrpSpPr>
          <p:grpSpPr>
            <a:xfrm>
              <a:off x="790764" y="1932855"/>
              <a:ext cx="5163978" cy="1915244"/>
              <a:chOff x="4349750" y="2705101"/>
              <a:chExt cx="4421553" cy="1639888"/>
            </a:xfrm>
          </p:grpSpPr>
          <p:sp>
            <p:nvSpPr>
              <p:cNvPr id="24" name="Freeform 6">
                <a:extLst>
                  <a:ext uri="{FF2B5EF4-FFF2-40B4-BE49-F238E27FC236}">
                    <a16:creationId xmlns:a16="http://schemas.microsoft.com/office/drawing/2014/main" id="{7A792D7E-5CD3-47FF-A416-1D1456320B37}"/>
                  </a:ext>
                </a:extLst>
              </p:cNvPr>
              <p:cNvSpPr>
                <a:spLocks/>
              </p:cNvSpPr>
              <p:nvPr/>
            </p:nvSpPr>
            <p:spPr bwMode="auto">
              <a:xfrm>
                <a:off x="4525963" y="2719388"/>
                <a:ext cx="495300" cy="698500"/>
              </a:xfrm>
              <a:custGeom>
                <a:avLst/>
                <a:gdLst>
                  <a:gd name="T0" fmla="*/ 312 w 312"/>
                  <a:gd name="T1" fmla="*/ 38 h 440"/>
                  <a:gd name="T2" fmla="*/ 0 w 312"/>
                  <a:gd name="T3" fmla="*/ 0 h 440"/>
                  <a:gd name="T4" fmla="*/ 124 w 312"/>
                  <a:gd name="T5" fmla="*/ 440 h 440"/>
                  <a:gd name="T6" fmla="*/ 293 w 312"/>
                  <a:gd name="T7" fmla="*/ 307 h 440"/>
                  <a:gd name="T8" fmla="*/ 312 w 312"/>
                  <a:gd name="T9" fmla="*/ 38 h 440"/>
                </a:gdLst>
                <a:ahLst/>
                <a:cxnLst>
                  <a:cxn ang="0">
                    <a:pos x="T0" y="T1"/>
                  </a:cxn>
                  <a:cxn ang="0">
                    <a:pos x="T2" y="T3"/>
                  </a:cxn>
                  <a:cxn ang="0">
                    <a:pos x="T4" y="T5"/>
                  </a:cxn>
                  <a:cxn ang="0">
                    <a:pos x="T6" y="T7"/>
                  </a:cxn>
                  <a:cxn ang="0">
                    <a:pos x="T8" y="T9"/>
                  </a:cxn>
                </a:cxnLst>
                <a:rect l="0" t="0" r="r" b="b"/>
                <a:pathLst>
                  <a:path w="312" h="440">
                    <a:moveTo>
                      <a:pt x="312" y="38"/>
                    </a:moveTo>
                    <a:lnTo>
                      <a:pt x="0" y="0"/>
                    </a:lnTo>
                    <a:lnTo>
                      <a:pt x="124" y="440"/>
                    </a:lnTo>
                    <a:lnTo>
                      <a:pt x="293" y="307"/>
                    </a:lnTo>
                    <a:lnTo>
                      <a:pt x="312" y="38"/>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25" name="Freeform 7">
                <a:extLst>
                  <a:ext uri="{FF2B5EF4-FFF2-40B4-BE49-F238E27FC236}">
                    <a16:creationId xmlns:a16="http://schemas.microsoft.com/office/drawing/2014/main" id="{0B172320-5970-409E-AC36-20AA0C0761FB}"/>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 name="T8" fmla="*/ 0 w 606"/>
                  <a:gd name="T9" fmla="*/ 259 h 965"/>
                </a:gdLst>
                <a:ahLst/>
                <a:cxnLst>
                  <a:cxn ang="0">
                    <a:pos x="T0" y="T1"/>
                  </a:cxn>
                  <a:cxn ang="0">
                    <a:pos x="T2" y="T3"/>
                  </a:cxn>
                  <a:cxn ang="0">
                    <a:pos x="T4" y="T5"/>
                  </a:cxn>
                  <a:cxn ang="0">
                    <a:pos x="T6" y="T7"/>
                  </a:cxn>
                  <a:cxn ang="0">
                    <a:pos x="T8" y="T9"/>
                  </a:cxn>
                </a:cxnLst>
                <a:rect l="0" t="0" r="r" b="b"/>
                <a:pathLst>
                  <a:path w="606" h="965">
                    <a:moveTo>
                      <a:pt x="0" y="259"/>
                    </a:moveTo>
                    <a:lnTo>
                      <a:pt x="423" y="0"/>
                    </a:lnTo>
                    <a:lnTo>
                      <a:pt x="606" y="727"/>
                    </a:lnTo>
                    <a:lnTo>
                      <a:pt x="230" y="965"/>
                    </a:lnTo>
                    <a:lnTo>
                      <a:pt x="0" y="259"/>
                    </a:lnTo>
                    <a:close/>
                  </a:path>
                </a:pathLst>
              </a:custGeom>
              <a:solidFill>
                <a:schemeClr val="accent3">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26" name="Freeform 8">
                <a:extLst>
                  <a:ext uri="{FF2B5EF4-FFF2-40B4-BE49-F238E27FC236}">
                    <a16:creationId xmlns:a16="http://schemas.microsoft.com/office/drawing/2014/main" id="{AD033240-C1B8-491A-A42F-CE92C7B857EF}"/>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Lst>
                <a:ahLst/>
                <a:cxnLst>
                  <a:cxn ang="0">
                    <a:pos x="T0" y="T1"/>
                  </a:cxn>
                  <a:cxn ang="0">
                    <a:pos x="T2" y="T3"/>
                  </a:cxn>
                  <a:cxn ang="0">
                    <a:pos x="T4" y="T5"/>
                  </a:cxn>
                  <a:cxn ang="0">
                    <a:pos x="T6" y="T7"/>
                  </a:cxn>
                </a:cxnLst>
                <a:rect l="0" t="0" r="r" b="b"/>
                <a:pathLst>
                  <a:path w="606" h="965">
                    <a:moveTo>
                      <a:pt x="0" y="259"/>
                    </a:moveTo>
                    <a:lnTo>
                      <a:pt x="423" y="0"/>
                    </a:lnTo>
                    <a:lnTo>
                      <a:pt x="606" y="727"/>
                    </a:lnTo>
                    <a:lnTo>
                      <a:pt x="230" y="9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27" name="Freeform 9">
                <a:extLst>
                  <a:ext uri="{FF2B5EF4-FFF2-40B4-BE49-F238E27FC236}">
                    <a16:creationId xmlns:a16="http://schemas.microsoft.com/office/drawing/2014/main" id="{CF9B586F-B6F0-4672-BD10-26E233D3A39B}"/>
                  </a:ext>
                </a:extLst>
              </p:cNvPr>
              <p:cNvSpPr>
                <a:spLocks/>
              </p:cNvSpPr>
              <p:nvPr/>
            </p:nvSpPr>
            <p:spPr bwMode="auto">
              <a:xfrm>
                <a:off x="4349750" y="2705101"/>
                <a:ext cx="4421553" cy="1639888"/>
              </a:xfrm>
              <a:custGeom>
                <a:avLst/>
                <a:gdLst>
                  <a:gd name="T0" fmla="*/ 0 w 2341"/>
                  <a:gd name="T1" fmla="*/ 306 h 1033"/>
                  <a:gd name="T2" fmla="*/ 230 w 2341"/>
                  <a:gd name="T3" fmla="*/ 1012 h 1033"/>
                  <a:gd name="T4" fmla="*/ 2086 w 2341"/>
                  <a:gd name="T5" fmla="*/ 1033 h 1033"/>
                  <a:gd name="T6" fmla="*/ 2341 w 2341"/>
                  <a:gd name="T7" fmla="*/ 0 h 1033"/>
                  <a:gd name="T8" fmla="*/ 0 w 2341"/>
                  <a:gd name="T9" fmla="*/ 306 h 1033"/>
                  <a:gd name="connsiteX0" fmla="*/ 0 w 10000"/>
                  <a:gd name="connsiteY0" fmla="*/ 2962 h 10000"/>
                  <a:gd name="connsiteX1" fmla="*/ 831 w 10000"/>
                  <a:gd name="connsiteY1" fmla="*/ 9768 h 10000"/>
                  <a:gd name="connsiteX2" fmla="*/ 8911 w 10000"/>
                  <a:gd name="connsiteY2" fmla="*/ 10000 h 10000"/>
                  <a:gd name="connsiteX3" fmla="*/ 10000 w 10000"/>
                  <a:gd name="connsiteY3" fmla="*/ 0 h 10000"/>
                  <a:gd name="connsiteX4" fmla="*/ 0 w 10000"/>
                  <a:gd name="connsiteY4" fmla="*/ 296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2962"/>
                    </a:moveTo>
                    <a:lnTo>
                      <a:pt x="831" y="9768"/>
                    </a:lnTo>
                    <a:lnTo>
                      <a:pt x="8911" y="10000"/>
                    </a:lnTo>
                    <a:lnTo>
                      <a:pt x="10000" y="0"/>
                    </a:lnTo>
                    <a:lnTo>
                      <a:pt x="0" y="296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22" name="Rectangle 21"/>
            <p:cNvSpPr/>
            <p:nvPr/>
          </p:nvSpPr>
          <p:spPr>
            <a:xfrm>
              <a:off x="1536935" y="2863137"/>
              <a:ext cx="3587515" cy="446181"/>
            </a:xfrm>
            <a:prstGeom prst="rect">
              <a:avLst/>
            </a:prstGeom>
          </p:spPr>
          <p:txBody>
            <a:bodyPr wrap="square">
              <a:spAutoFit/>
            </a:bodyPr>
            <a:lstStyle/>
            <a:p>
              <a:pPr>
                <a:buClr>
                  <a:srgbClr val="7030A0"/>
                </a:buClr>
                <a:defRPr/>
              </a:pPr>
              <a:r>
                <a:rPr lang="en-US" sz="1333">
                  <a:solidFill>
                    <a:schemeClr val="bg2"/>
                  </a:solidFill>
                  <a:latin typeface="+mj-lt"/>
                  <a:cs typeface="Calibri" pitchFamily="34" charset="0"/>
                </a:rPr>
                <a:t>USD 32 Million and above</a:t>
              </a:r>
            </a:p>
          </p:txBody>
        </p:sp>
        <p:sp>
          <p:nvSpPr>
            <p:cNvPr id="23" name="Rectangle 22"/>
            <p:cNvSpPr/>
            <p:nvPr/>
          </p:nvSpPr>
          <p:spPr>
            <a:xfrm rot="21229639">
              <a:off x="1717885" y="1845557"/>
              <a:ext cx="1428757" cy="477150"/>
            </a:xfrm>
            <a:prstGeom prst="rect">
              <a:avLst/>
            </a:prstGeom>
          </p:spPr>
          <p:txBody>
            <a:bodyPr wrap="none">
              <a:spAutoFit/>
            </a:bodyPr>
            <a:lstStyle/>
            <a:p>
              <a:r>
                <a:rPr lang="en-US" sz="1467" b="1">
                  <a:solidFill>
                    <a:schemeClr val="accent3"/>
                  </a:solidFill>
                  <a:latin typeface="+mj-lt"/>
                  <a:cs typeface="Calibri" pitchFamily="34" charset="0"/>
                </a:rPr>
                <a:t>Revenue :</a:t>
              </a:r>
              <a:endParaRPr lang="en-US" sz="1467">
                <a:solidFill>
                  <a:schemeClr val="accent3"/>
                </a:solidFill>
                <a:latin typeface="+mj-lt"/>
              </a:endParaRPr>
            </a:p>
          </p:txBody>
        </p:sp>
      </p:grpSp>
      <p:sp>
        <p:nvSpPr>
          <p:cNvPr id="36" name="Rounded Rectangle 35"/>
          <p:cNvSpPr/>
          <p:nvPr/>
        </p:nvSpPr>
        <p:spPr>
          <a:xfrm>
            <a:off x="4463614" y="3309428"/>
            <a:ext cx="3264774" cy="40640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a:solidFill>
                  <a:schemeClr val="bg2"/>
                </a:solidFill>
                <a:latin typeface="+mj-lt"/>
              </a:rPr>
              <a:t>Challenges</a:t>
            </a:r>
            <a:endParaRPr lang="en-US" sz="2133">
              <a:solidFill>
                <a:schemeClr val="bg2"/>
              </a:solidFill>
              <a:latin typeface="+mj-lt"/>
            </a:endParaRPr>
          </a:p>
        </p:txBody>
      </p:sp>
      <p:sp>
        <p:nvSpPr>
          <p:cNvPr id="38" name="Google Shape;5170;p64"/>
          <p:cNvSpPr/>
          <p:nvPr/>
        </p:nvSpPr>
        <p:spPr>
          <a:xfrm>
            <a:off x="1583183" y="3900923"/>
            <a:ext cx="330284" cy="326359"/>
          </a:xfrm>
          <a:custGeom>
            <a:avLst/>
            <a:gdLst/>
            <a:ahLst/>
            <a:cxnLst/>
            <a:rect l="l" t="t" r="r" b="b"/>
            <a:pathLst>
              <a:path w="12877" h="12724" extrusionOk="0">
                <a:moveTo>
                  <a:pt x="10492" y="1603"/>
                </a:moveTo>
                <a:lnTo>
                  <a:pt x="10429" y="1855"/>
                </a:lnTo>
                <a:cubicBezTo>
                  <a:pt x="10429" y="1981"/>
                  <a:pt x="10492" y="2138"/>
                  <a:pt x="10555" y="2201"/>
                </a:cubicBezTo>
                <a:cubicBezTo>
                  <a:pt x="10649" y="2296"/>
                  <a:pt x="10807" y="2327"/>
                  <a:pt x="10901" y="2327"/>
                </a:cubicBezTo>
                <a:lnTo>
                  <a:pt x="11153" y="2296"/>
                </a:lnTo>
                <a:lnTo>
                  <a:pt x="10492" y="2957"/>
                </a:lnTo>
                <a:lnTo>
                  <a:pt x="9736" y="3083"/>
                </a:lnTo>
                <a:lnTo>
                  <a:pt x="9799" y="2296"/>
                </a:lnTo>
                <a:lnTo>
                  <a:pt x="10492" y="1603"/>
                </a:lnTo>
                <a:close/>
                <a:moveTo>
                  <a:pt x="6270" y="6108"/>
                </a:moveTo>
                <a:cubicBezTo>
                  <a:pt x="6396" y="6108"/>
                  <a:pt x="6459" y="6139"/>
                  <a:pt x="6554" y="6234"/>
                </a:cubicBezTo>
                <a:cubicBezTo>
                  <a:pt x="6617" y="6265"/>
                  <a:pt x="6648" y="6391"/>
                  <a:pt x="6648" y="6486"/>
                </a:cubicBezTo>
                <a:cubicBezTo>
                  <a:pt x="6648" y="6738"/>
                  <a:pt x="6459" y="6927"/>
                  <a:pt x="6270" y="6927"/>
                </a:cubicBezTo>
                <a:cubicBezTo>
                  <a:pt x="6081" y="6927"/>
                  <a:pt x="5861" y="6738"/>
                  <a:pt x="5861" y="6486"/>
                </a:cubicBezTo>
                <a:cubicBezTo>
                  <a:pt x="5861" y="6265"/>
                  <a:pt x="6081" y="6108"/>
                  <a:pt x="6270" y="6108"/>
                </a:cubicBezTo>
                <a:close/>
                <a:moveTo>
                  <a:pt x="6176" y="4375"/>
                </a:moveTo>
                <a:cubicBezTo>
                  <a:pt x="6617" y="4375"/>
                  <a:pt x="7026" y="4501"/>
                  <a:pt x="7341" y="4722"/>
                </a:cubicBezTo>
                <a:lnTo>
                  <a:pt x="6743" y="5320"/>
                </a:lnTo>
                <a:cubicBezTo>
                  <a:pt x="6617" y="5289"/>
                  <a:pt x="6428" y="5226"/>
                  <a:pt x="6239" y="5226"/>
                </a:cubicBezTo>
                <a:cubicBezTo>
                  <a:pt x="5546" y="5226"/>
                  <a:pt x="5010" y="5793"/>
                  <a:pt x="5010" y="6454"/>
                </a:cubicBezTo>
                <a:cubicBezTo>
                  <a:pt x="5010" y="7116"/>
                  <a:pt x="5546" y="7715"/>
                  <a:pt x="6239" y="7715"/>
                </a:cubicBezTo>
                <a:cubicBezTo>
                  <a:pt x="6900" y="7715"/>
                  <a:pt x="7467" y="7147"/>
                  <a:pt x="7467" y="6454"/>
                </a:cubicBezTo>
                <a:cubicBezTo>
                  <a:pt x="7467" y="6265"/>
                  <a:pt x="7404" y="6108"/>
                  <a:pt x="7341" y="5887"/>
                </a:cubicBezTo>
                <a:lnTo>
                  <a:pt x="7908" y="5320"/>
                </a:lnTo>
                <a:cubicBezTo>
                  <a:pt x="8160" y="5635"/>
                  <a:pt x="8286" y="6013"/>
                  <a:pt x="8286" y="6454"/>
                </a:cubicBezTo>
                <a:cubicBezTo>
                  <a:pt x="8286" y="7588"/>
                  <a:pt x="7341" y="8534"/>
                  <a:pt x="6176" y="8534"/>
                </a:cubicBezTo>
                <a:cubicBezTo>
                  <a:pt x="5041" y="8534"/>
                  <a:pt x="4096" y="7588"/>
                  <a:pt x="4096" y="6454"/>
                </a:cubicBezTo>
                <a:cubicBezTo>
                  <a:pt x="4096" y="5320"/>
                  <a:pt x="5041" y="4375"/>
                  <a:pt x="6176" y="4375"/>
                </a:cubicBezTo>
                <a:close/>
                <a:moveTo>
                  <a:pt x="6239" y="2800"/>
                </a:moveTo>
                <a:cubicBezTo>
                  <a:pt x="7089" y="2800"/>
                  <a:pt x="7908" y="3115"/>
                  <a:pt x="8539" y="3619"/>
                </a:cubicBezTo>
                <a:lnTo>
                  <a:pt x="7971" y="4217"/>
                </a:lnTo>
                <a:cubicBezTo>
                  <a:pt x="7499" y="3839"/>
                  <a:pt x="6869" y="3619"/>
                  <a:pt x="6239" y="3619"/>
                </a:cubicBezTo>
                <a:cubicBezTo>
                  <a:pt x="4600" y="3619"/>
                  <a:pt x="3309" y="4911"/>
                  <a:pt x="3309" y="6486"/>
                </a:cubicBezTo>
                <a:cubicBezTo>
                  <a:pt x="3309" y="8124"/>
                  <a:pt x="4632" y="9416"/>
                  <a:pt x="6239" y="9416"/>
                </a:cubicBezTo>
                <a:cubicBezTo>
                  <a:pt x="7845" y="9416"/>
                  <a:pt x="9137" y="8124"/>
                  <a:pt x="9137" y="6486"/>
                </a:cubicBezTo>
                <a:cubicBezTo>
                  <a:pt x="9137" y="5856"/>
                  <a:pt x="8948" y="5226"/>
                  <a:pt x="8539" y="4753"/>
                </a:cubicBezTo>
                <a:lnTo>
                  <a:pt x="9137" y="4154"/>
                </a:lnTo>
                <a:cubicBezTo>
                  <a:pt x="9641" y="4816"/>
                  <a:pt x="9956" y="5604"/>
                  <a:pt x="9956" y="6486"/>
                </a:cubicBezTo>
                <a:cubicBezTo>
                  <a:pt x="9956" y="8534"/>
                  <a:pt x="8318" y="10235"/>
                  <a:pt x="6239" y="10235"/>
                </a:cubicBezTo>
                <a:cubicBezTo>
                  <a:pt x="4191" y="10235"/>
                  <a:pt x="2490" y="8597"/>
                  <a:pt x="2490" y="6486"/>
                </a:cubicBezTo>
                <a:cubicBezTo>
                  <a:pt x="2490" y="4438"/>
                  <a:pt x="4128" y="2800"/>
                  <a:pt x="6239" y="2800"/>
                </a:cubicBezTo>
                <a:close/>
                <a:moveTo>
                  <a:pt x="6270" y="1130"/>
                </a:moveTo>
                <a:cubicBezTo>
                  <a:pt x="7247" y="1130"/>
                  <a:pt x="8223" y="1414"/>
                  <a:pt x="9074" y="1918"/>
                </a:cubicBezTo>
                <a:cubicBezTo>
                  <a:pt x="9074" y="1949"/>
                  <a:pt x="9011" y="2012"/>
                  <a:pt x="9011" y="2044"/>
                </a:cubicBezTo>
                <a:lnTo>
                  <a:pt x="8917" y="2831"/>
                </a:lnTo>
                <a:cubicBezTo>
                  <a:pt x="8160" y="2296"/>
                  <a:pt x="7247" y="1981"/>
                  <a:pt x="6270" y="1981"/>
                </a:cubicBezTo>
                <a:cubicBezTo>
                  <a:pt x="3750" y="1981"/>
                  <a:pt x="1733" y="4028"/>
                  <a:pt x="1733" y="6486"/>
                </a:cubicBezTo>
                <a:cubicBezTo>
                  <a:pt x="1733" y="9006"/>
                  <a:pt x="3781" y="11054"/>
                  <a:pt x="6270" y="11054"/>
                </a:cubicBezTo>
                <a:cubicBezTo>
                  <a:pt x="8759" y="11054"/>
                  <a:pt x="10807" y="9006"/>
                  <a:pt x="10807" y="6486"/>
                </a:cubicBezTo>
                <a:cubicBezTo>
                  <a:pt x="10807" y="5509"/>
                  <a:pt x="10492" y="4596"/>
                  <a:pt x="9925" y="3871"/>
                </a:cubicBezTo>
                <a:lnTo>
                  <a:pt x="10712" y="3745"/>
                </a:lnTo>
                <a:cubicBezTo>
                  <a:pt x="10744" y="3745"/>
                  <a:pt x="10807" y="3745"/>
                  <a:pt x="10838" y="3713"/>
                </a:cubicBezTo>
                <a:cubicBezTo>
                  <a:pt x="11342" y="4533"/>
                  <a:pt x="11626" y="5478"/>
                  <a:pt x="11626" y="6486"/>
                </a:cubicBezTo>
                <a:cubicBezTo>
                  <a:pt x="11626" y="9447"/>
                  <a:pt x="9232" y="11873"/>
                  <a:pt x="6270" y="11873"/>
                </a:cubicBezTo>
                <a:cubicBezTo>
                  <a:pt x="3309" y="11873"/>
                  <a:pt x="914" y="9479"/>
                  <a:pt x="914" y="6486"/>
                </a:cubicBezTo>
                <a:cubicBezTo>
                  <a:pt x="914" y="3524"/>
                  <a:pt x="3309" y="1130"/>
                  <a:pt x="6270" y="1130"/>
                </a:cubicBezTo>
                <a:close/>
                <a:moveTo>
                  <a:pt x="11030" y="0"/>
                </a:moveTo>
                <a:cubicBezTo>
                  <a:pt x="10930" y="0"/>
                  <a:pt x="10829" y="37"/>
                  <a:pt x="10744" y="122"/>
                </a:cubicBezTo>
                <a:lnTo>
                  <a:pt x="9610" y="1256"/>
                </a:lnTo>
                <a:cubicBezTo>
                  <a:pt x="8602" y="594"/>
                  <a:pt x="7467" y="279"/>
                  <a:pt x="6239" y="279"/>
                </a:cubicBezTo>
                <a:cubicBezTo>
                  <a:pt x="2805" y="279"/>
                  <a:pt x="1" y="3020"/>
                  <a:pt x="1" y="6486"/>
                </a:cubicBezTo>
                <a:cubicBezTo>
                  <a:pt x="1" y="9920"/>
                  <a:pt x="2773" y="12724"/>
                  <a:pt x="6239" y="12724"/>
                </a:cubicBezTo>
                <a:cubicBezTo>
                  <a:pt x="9641" y="12724"/>
                  <a:pt x="12445" y="9951"/>
                  <a:pt x="12445" y="6486"/>
                </a:cubicBezTo>
                <a:cubicBezTo>
                  <a:pt x="12445" y="5289"/>
                  <a:pt x="12099" y="4123"/>
                  <a:pt x="11468" y="3115"/>
                </a:cubicBezTo>
                <a:lnTo>
                  <a:pt x="12603" y="1981"/>
                </a:lnTo>
                <a:cubicBezTo>
                  <a:pt x="12877" y="1706"/>
                  <a:pt x="12650" y="1255"/>
                  <a:pt x="12292" y="1255"/>
                </a:cubicBezTo>
                <a:cubicBezTo>
                  <a:pt x="12280" y="1255"/>
                  <a:pt x="12268" y="1255"/>
                  <a:pt x="12256" y="1256"/>
                </a:cubicBezTo>
                <a:lnTo>
                  <a:pt x="11342" y="1382"/>
                </a:lnTo>
                <a:lnTo>
                  <a:pt x="11468" y="468"/>
                </a:lnTo>
                <a:cubicBezTo>
                  <a:pt x="11491" y="203"/>
                  <a:pt x="11265" y="0"/>
                  <a:pt x="11030" y="0"/>
                </a:cubicBezTo>
                <a:close/>
              </a:path>
            </a:pathLst>
          </a:custGeom>
          <a:solidFill>
            <a:schemeClr val="bg2"/>
          </a:solidFill>
          <a:ln>
            <a:noFill/>
          </a:ln>
        </p:spPr>
        <p:txBody>
          <a:bodyPr spcFirstLastPara="1" wrap="square" lIns="60950" tIns="60950" rIns="60950" bIns="60950" anchor="ctr" anchorCtr="0">
            <a:noAutofit/>
          </a:bodyPr>
          <a:lstStyle/>
          <a:p>
            <a:endParaRPr sz="1200"/>
          </a:p>
        </p:txBody>
      </p:sp>
      <p:grpSp>
        <p:nvGrpSpPr>
          <p:cNvPr id="39" name="Google Shape;5314;p64"/>
          <p:cNvGrpSpPr/>
          <p:nvPr/>
        </p:nvGrpSpPr>
        <p:grpSpPr>
          <a:xfrm>
            <a:off x="6923834" y="3918187"/>
            <a:ext cx="318698" cy="317527"/>
            <a:chOff x="-63666550" y="2278975"/>
            <a:chExt cx="319800" cy="318625"/>
          </a:xfrm>
          <a:solidFill>
            <a:schemeClr val="tx1"/>
          </a:solidFill>
        </p:grpSpPr>
        <p:sp>
          <p:nvSpPr>
            <p:cNvPr id="40" name="Google Shape;5315;p64"/>
            <p:cNvSpPr/>
            <p:nvPr/>
          </p:nvSpPr>
          <p:spPr>
            <a:xfrm>
              <a:off x="-63481450" y="2309700"/>
              <a:ext cx="62225" cy="146525"/>
            </a:xfrm>
            <a:custGeom>
              <a:avLst/>
              <a:gdLst/>
              <a:ahLst/>
              <a:cxnLst/>
              <a:rect l="l" t="t" r="r" b="b"/>
              <a:pathLst>
                <a:path w="2489" h="5861" extrusionOk="0">
                  <a:moveTo>
                    <a:pt x="1229" y="0"/>
                  </a:moveTo>
                  <a:cubicBezTo>
                    <a:pt x="977" y="0"/>
                    <a:pt x="819" y="189"/>
                    <a:pt x="819" y="441"/>
                  </a:cubicBezTo>
                  <a:lnTo>
                    <a:pt x="819" y="694"/>
                  </a:lnTo>
                  <a:cubicBezTo>
                    <a:pt x="347" y="883"/>
                    <a:pt x="0" y="1324"/>
                    <a:pt x="0" y="1891"/>
                  </a:cubicBezTo>
                  <a:cubicBezTo>
                    <a:pt x="0" y="2552"/>
                    <a:pt x="536" y="2962"/>
                    <a:pt x="977" y="3277"/>
                  </a:cubicBezTo>
                  <a:cubicBezTo>
                    <a:pt x="1292" y="3497"/>
                    <a:pt x="1638" y="3749"/>
                    <a:pt x="1638" y="3970"/>
                  </a:cubicBezTo>
                  <a:cubicBezTo>
                    <a:pt x="1607" y="4254"/>
                    <a:pt x="1418" y="4411"/>
                    <a:pt x="1197" y="4411"/>
                  </a:cubicBezTo>
                  <a:cubicBezTo>
                    <a:pt x="977" y="4411"/>
                    <a:pt x="819" y="4222"/>
                    <a:pt x="819" y="3970"/>
                  </a:cubicBezTo>
                  <a:cubicBezTo>
                    <a:pt x="819" y="3749"/>
                    <a:pt x="630" y="3560"/>
                    <a:pt x="410" y="3560"/>
                  </a:cubicBezTo>
                  <a:cubicBezTo>
                    <a:pt x="189" y="3560"/>
                    <a:pt x="0" y="3749"/>
                    <a:pt x="0" y="3970"/>
                  </a:cubicBezTo>
                  <a:cubicBezTo>
                    <a:pt x="0" y="4537"/>
                    <a:pt x="347" y="4978"/>
                    <a:pt x="819" y="5167"/>
                  </a:cubicBezTo>
                  <a:lnTo>
                    <a:pt x="819" y="5419"/>
                  </a:lnTo>
                  <a:cubicBezTo>
                    <a:pt x="819" y="5671"/>
                    <a:pt x="1008" y="5860"/>
                    <a:pt x="1197" y="5860"/>
                  </a:cubicBezTo>
                  <a:cubicBezTo>
                    <a:pt x="1449" y="5860"/>
                    <a:pt x="1638" y="5671"/>
                    <a:pt x="1638" y="5419"/>
                  </a:cubicBezTo>
                  <a:lnTo>
                    <a:pt x="1638" y="5167"/>
                  </a:lnTo>
                  <a:cubicBezTo>
                    <a:pt x="2111" y="5010"/>
                    <a:pt x="2489" y="4537"/>
                    <a:pt x="2489" y="3970"/>
                  </a:cubicBezTo>
                  <a:cubicBezTo>
                    <a:pt x="2489" y="3308"/>
                    <a:pt x="1922" y="2930"/>
                    <a:pt x="1481" y="2615"/>
                  </a:cubicBezTo>
                  <a:cubicBezTo>
                    <a:pt x="1166" y="2363"/>
                    <a:pt x="819" y="2143"/>
                    <a:pt x="819" y="1891"/>
                  </a:cubicBezTo>
                  <a:cubicBezTo>
                    <a:pt x="819" y="1670"/>
                    <a:pt x="1008" y="1450"/>
                    <a:pt x="1229" y="1450"/>
                  </a:cubicBezTo>
                  <a:cubicBezTo>
                    <a:pt x="1449" y="1450"/>
                    <a:pt x="1638" y="1670"/>
                    <a:pt x="1638" y="1891"/>
                  </a:cubicBezTo>
                  <a:cubicBezTo>
                    <a:pt x="1638" y="2111"/>
                    <a:pt x="1859" y="2332"/>
                    <a:pt x="2048" y="2332"/>
                  </a:cubicBezTo>
                  <a:cubicBezTo>
                    <a:pt x="2269" y="2332"/>
                    <a:pt x="2489" y="2111"/>
                    <a:pt x="2489" y="1891"/>
                  </a:cubicBezTo>
                  <a:cubicBezTo>
                    <a:pt x="2489" y="1324"/>
                    <a:pt x="2111" y="914"/>
                    <a:pt x="1638" y="694"/>
                  </a:cubicBezTo>
                  <a:lnTo>
                    <a:pt x="1638" y="441"/>
                  </a:lnTo>
                  <a:cubicBezTo>
                    <a:pt x="1638" y="189"/>
                    <a:pt x="1449" y="0"/>
                    <a:pt x="1229" y="0"/>
                  </a:cubicBezTo>
                  <a:close/>
                </a:path>
              </a:pathLst>
            </a:custGeom>
            <a:grpFill/>
            <a:ln>
              <a:noFill/>
            </a:ln>
          </p:spPr>
          <p:txBody>
            <a:bodyPr spcFirstLastPara="1" wrap="square" lIns="60950" tIns="60950" rIns="60950" bIns="60950" anchor="ctr" anchorCtr="0">
              <a:noAutofit/>
            </a:bodyPr>
            <a:lstStyle/>
            <a:p>
              <a:endParaRPr sz="1200"/>
            </a:p>
          </p:txBody>
        </p:sp>
        <p:sp>
          <p:nvSpPr>
            <p:cNvPr id="41" name="Google Shape;5316;p64"/>
            <p:cNvSpPr/>
            <p:nvPr/>
          </p:nvSpPr>
          <p:spPr>
            <a:xfrm>
              <a:off x="-63666550" y="2278975"/>
              <a:ext cx="319800" cy="318625"/>
            </a:xfrm>
            <a:custGeom>
              <a:avLst/>
              <a:gdLst/>
              <a:ahLst/>
              <a:cxnLst/>
              <a:rect l="l" t="t" r="r" b="b"/>
              <a:pathLst>
                <a:path w="12792" h="12745" extrusionOk="0">
                  <a:moveTo>
                    <a:pt x="8601" y="914"/>
                  </a:moveTo>
                  <a:cubicBezTo>
                    <a:pt x="10429" y="914"/>
                    <a:pt x="11909" y="2427"/>
                    <a:pt x="11909" y="4222"/>
                  </a:cubicBezTo>
                  <a:cubicBezTo>
                    <a:pt x="11909" y="6050"/>
                    <a:pt x="10429" y="7530"/>
                    <a:pt x="8601" y="7530"/>
                  </a:cubicBezTo>
                  <a:cubicBezTo>
                    <a:pt x="7971" y="7530"/>
                    <a:pt x="7404" y="7373"/>
                    <a:pt x="6869" y="7026"/>
                  </a:cubicBezTo>
                  <a:lnTo>
                    <a:pt x="7089" y="6270"/>
                  </a:lnTo>
                  <a:cubicBezTo>
                    <a:pt x="7144" y="5997"/>
                    <a:pt x="6938" y="5748"/>
                    <a:pt x="6677" y="5748"/>
                  </a:cubicBezTo>
                  <a:cubicBezTo>
                    <a:pt x="6637" y="5748"/>
                    <a:pt x="6596" y="5754"/>
                    <a:pt x="6554" y="5766"/>
                  </a:cubicBezTo>
                  <a:lnTo>
                    <a:pt x="5829" y="5955"/>
                  </a:lnTo>
                  <a:cubicBezTo>
                    <a:pt x="5514" y="5451"/>
                    <a:pt x="5293" y="4852"/>
                    <a:pt x="5293" y="4222"/>
                  </a:cubicBezTo>
                  <a:cubicBezTo>
                    <a:pt x="5293" y="2364"/>
                    <a:pt x="6774" y="914"/>
                    <a:pt x="8601" y="914"/>
                  </a:cubicBezTo>
                  <a:close/>
                  <a:moveTo>
                    <a:pt x="6050" y="6711"/>
                  </a:moveTo>
                  <a:lnTo>
                    <a:pt x="5041" y="10303"/>
                  </a:lnTo>
                  <a:lnTo>
                    <a:pt x="4789" y="9421"/>
                  </a:lnTo>
                  <a:cubicBezTo>
                    <a:pt x="4749" y="9221"/>
                    <a:pt x="4571" y="9098"/>
                    <a:pt x="4389" y="9098"/>
                  </a:cubicBezTo>
                  <a:cubicBezTo>
                    <a:pt x="4284" y="9098"/>
                    <a:pt x="4177" y="9139"/>
                    <a:pt x="4096" y="9232"/>
                  </a:cubicBezTo>
                  <a:lnTo>
                    <a:pt x="1418" y="11910"/>
                  </a:lnTo>
                  <a:lnTo>
                    <a:pt x="820" y="11311"/>
                  </a:lnTo>
                  <a:lnTo>
                    <a:pt x="3529" y="8665"/>
                  </a:lnTo>
                  <a:cubicBezTo>
                    <a:pt x="3781" y="8444"/>
                    <a:pt x="3655" y="8034"/>
                    <a:pt x="3340" y="7971"/>
                  </a:cubicBezTo>
                  <a:lnTo>
                    <a:pt x="2458" y="7719"/>
                  </a:lnTo>
                  <a:lnTo>
                    <a:pt x="6050" y="6711"/>
                  </a:lnTo>
                  <a:close/>
                  <a:moveTo>
                    <a:pt x="8664" y="1"/>
                  </a:moveTo>
                  <a:cubicBezTo>
                    <a:pt x="6365" y="1"/>
                    <a:pt x="4506" y="1860"/>
                    <a:pt x="4506" y="4159"/>
                  </a:cubicBezTo>
                  <a:cubicBezTo>
                    <a:pt x="4506" y="4852"/>
                    <a:pt x="4663" y="5514"/>
                    <a:pt x="5041" y="6113"/>
                  </a:cubicBezTo>
                  <a:lnTo>
                    <a:pt x="820" y="7341"/>
                  </a:lnTo>
                  <a:cubicBezTo>
                    <a:pt x="631" y="7373"/>
                    <a:pt x="505" y="7562"/>
                    <a:pt x="505" y="7719"/>
                  </a:cubicBezTo>
                  <a:cubicBezTo>
                    <a:pt x="505" y="7940"/>
                    <a:pt x="631" y="8097"/>
                    <a:pt x="820" y="8129"/>
                  </a:cubicBezTo>
                  <a:lnTo>
                    <a:pt x="2458" y="8570"/>
                  </a:lnTo>
                  <a:lnTo>
                    <a:pt x="316" y="10712"/>
                  </a:lnTo>
                  <a:cubicBezTo>
                    <a:pt x="1" y="11027"/>
                    <a:pt x="1" y="11563"/>
                    <a:pt x="316" y="11910"/>
                  </a:cubicBezTo>
                  <a:lnTo>
                    <a:pt x="883" y="12508"/>
                  </a:lnTo>
                  <a:cubicBezTo>
                    <a:pt x="1040" y="12666"/>
                    <a:pt x="1253" y="12744"/>
                    <a:pt x="1469" y="12744"/>
                  </a:cubicBezTo>
                  <a:cubicBezTo>
                    <a:pt x="1686" y="12744"/>
                    <a:pt x="1907" y="12666"/>
                    <a:pt x="2080" y="12508"/>
                  </a:cubicBezTo>
                  <a:lnTo>
                    <a:pt x="4254" y="10334"/>
                  </a:lnTo>
                  <a:lnTo>
                    <a:pt x="4663" y="11973"/>
                  </a:lnTo>
                  <a:cubicBezTo>
                    <a:pt x="4727" y="12181"/>
                    <a:pt x="4906" y="12292"/>
                    <a:pt x="5078" y="12292"/>
                  </a:cubicBezTo>
                  <a:cubicBezTo>
                    <a:pt x="5244" y="12292"/>
                    <a:pt x="5405" y="12189"/>
                    <a:pt x="5451" y="11973"/>
                  </a:cubicBezTo>
                  <a:lnTo>
                    <a:pt x="6680" y="7782"/>
                  </a:lnTo>
                  <a:cubicBezTo>
                    <a:pt x="7278" y="8097"/>
                    <a:pt x="7940" y="8286"/>
                    <a:pt x="8664" y="8286"/>
                  </a:cubicBezTo>
                  <a:cubicBezTo>
                    <a:pt x="10933" y="8286"/>
                    <a:pt x="12792" y="6428"/>
                    <a:pt x="12792" y="4159"/>
                  </a:cubicBezTo>
                  <a:cubicBezTo>
                    <a:pt x="12792" y="1860"/>
                    <a:pt x="10933" y="1"/>
                    <a:pt x="8664" y="1"/>
                  </a:cubicBezTo>
                  <a:close/>
                </a:path>
              </a:pathLst>
            </a:custGeom>
            <a:grpFill/>
            <a:ln>
              <a:noFill/>
            </a:ln>
          </p:spPr>
          <p:txBody>
            <a:bodyPr spcFirstLastPara="1" wrap="square" lIns="60950" tIns="60950" rIns="60950" bIns="60950" anchor="ctr" anchorCtr="0">
              <a:noAutofit/>
            </a:bodyPr>
            <a:lstStyle/>
            <a:p>
              <a:endParaRPr sz="1200"/>
            </a:p>
          </p:txBody>
        </p:sp>
      </p:grpSp>
      <p:grpSp>
        <p:nvGrpSpPr>
          <p:cNvPr id="42" name="Google Shape;5338;p64"/>
          <p:cNvGrpSpPr/>
          <p:nvPr/>
        </p:nvGrpSpPr>
        <p:grpSpPr>
          <a:xfrm>
            <a:off x="11161502" y="1698162"/>
            <a:ext cx="256518" cy="254065"/>
            <a:chOff x="-59889100" y="2671925"/>
            <a:chExt cx="319000" cy="315950"/>
          </a:xfrm>
          <a:solidFill>
            <a:schemeClr val="bg2"/>
          </a:solidFill>
        </p:grpSpPr>
        <p:sp>
          <p:nvSpPr>
            <p:cNvPr id="43" name="Google Shape;5339;p64"/>
            <p:cNvSpPr/>
            <p:nvPr/>
          </p:nvSpPr>
          <p:spPr>
            <a:xfrm>
              <a:off x="-59889100" y="2672000"/>
              <a:ext cx="149675" cy="256025"/>
            </a:xfrm>
            <a:custGeom>
              <a:avLst/>
              <a:gdLst/>
              <a:ahLst/>
              <a:cxnLst/>
              <a:rect l="l" t="t" r="r" b="b"/>
              <a:pathLst>
                <a:path w="5987" h="10241" extrusionOk="0">
                  <a:moveTo>
                    <a:pt x="5073" y="946"/>
                  </a:moveTo>
                  <a:lnTo>
                    <a:pt x="5073" y="2647"/>
                  </a:lnTo>
                  <a:lnTo>
                    <a:pt x="5104" y="2647"/>
                  </a:lnTo>
                  <a:cubicBezTo>
                    <a:pt x="3623" y="3151"/>
                    <a:pt x="2489" y="4569"/>
                    <a:pt x="2489" y="6302"/>
                  </a:cubicBezTo>
                  <a:cubicBezTo>
                    <a:pt x="2489" y="6900"/>
                    <a:pt x="2647" y="7499"/>
                    <a:pt x="2867" y="8034"/>
                  </a:cubicBezTo>
                  <a:lnTo>
                    <a:pt x="1639" y="9263"/>
                  </a:lnTo>
                  <a:cubicBezTo>
                    <a:pt x="1103" y="8381"/>
                    <a:pt x="788" y="7373"/>
                    <a:pt x="788" y="6302"/>
                  </a:cubicBezTo>
                  <a:cubicBezTo>
                    <a:pt x="788" y="3750"/>
                    <a:pt x="2584" y="1513"/>
                    <a:pt x="5073" y="946"/>
                  </a:cubicBezTo>
                  <a:close/>
                  <a:moveTo>
                    <a:pt x="5482" y="1"/>
                  </a:moveTo>
                  <a:cubicBezTo>
                    <a:pt x="2395" y="442"/>
                    <a:pt x="0" y="3088"/>
                    <a:pt x="0" y="6270"/>
                  </a:cubicBezTo>
                  <a:cubicBezTo>
                    <a:pt x="0" y="7688"/>
                    <a:pt x="441" y="8979"/>
                    <a:pt x="1292" y="10082"/>
                  </a:cubicBezTo>
                  <a:cubicBezTo>
                    <a:pt x="1377" y="10184"/>
                    <a:pt x="1500" y="10241"/>
                    <a:pt x="1624" y="10241"/>
                  </a:cubicBezTo>
                  <a:cubicBezTo>
                    <a:pt x="1729" y="10241"/>
                    <a:pt x="1835" y="10200"/>
                    <a:pt x="1922" y="10114"/>
                  </a:cubicBezTo>
                  <a:lnTo>
                    <a:pt x="3718" y="8349"/>
                  </a:lnTo>
                  <a:cubicBezTo>
                    <a:pt x="3812" y="8223"/>
                    <a:pt x="3844" y="8003"/>
                    <a:pt x="3781" y="7845"/>
                  </a:cubicBezTo>
                  <a:cubicBezTo>
                    <a:pt x="3497" y="7373"/>
                    <a:pt x="3340" y="6806"/>
                    <a:pt x="3340" y="6270"/>
                  </a:cubicBezTo>
                  <a:cubicBezTo>
                    <a:pt x="3340" y="4884"/>
                    <a:pt x="4285" y="3655"/>
                    <a:pt x="5671" y="3309"/>
                  </a:cubicBezTo>
                  <a:cubicBezTo>
                    <a:pt x="5860" y="3277"/>
                    <a:pt x="5986" y="3120"/>
                    <a:pt x="5986" y="2899"/>
                  </a:cubicBezTo>
                  <a:lnTo>
                    <a:pt x="5986" y="379"/>
                  </a:lnTo>
                  <a:cubicBezTo>
                    <a:pt x="5955" y="190"/>
                    <a:pt x="5703" y="1"/>
                    <a:pt x="5482" y="1"/>
                  </a:cubicBezTo>
                  <a:close/>
                </a:path>
              </a:pathLst>
            </a:custGeom>
            <a:grpFill/>
            <a:ln>
              <a:noFill/>
            </a:ln>
          </p:spPr>
          <p:txBody>
            <a:bodyPr spcFirstLastPara="1" wrap="square" lIns="60950" tIns="60950" rIns="60950" bIns="60950" anchor="ctr" anchorCtr="0">
              <a:noAutofit/>
            </a:bodyPr>
            <a:lstStyle/>
            <a:p>
              <a:endParaRPr sz="1200"/>
            </a:p>
          </p:txBody>
        </p:sp>
        <p:sp>
          <p:nvSpPr>
            <p:cNvPr id="44" name="Google Shape;5340;p64"/>
            <p:cNvSpPr/>
            <p:nvPr/>
          </p:nvSpPr>
          <p:spPr>
            <a:xfrm>
              <a:off x="-59830825" y="2892525"/>
              <a:ext cx="201650" cy="95350"/>
            </a:xfrm>
            <a:custGeom>
              <a:avLst/>
              <a:gdLst/>
              <a:ahLst/>
              <a:cxnLst/>
              <a:rect l="l" t="t" r="r" b="b"/>
              <a:pathLst>
                <a:path w="8066" h="3814" extrusionOk="0">
                  <a:moveTo>
                    <a:pt x="5735" y="946"/>
                  </a:moveTo>
                  <a:lnTo>
                    <a:pt x="6963" y="2175"/>
                  </a:lnTo>
                  <a:cubicBezTo>
                    <a:pt x="6113" y="2710"/>
                    <a:pt x="5073" y="2994"/>
                    <a:pt x="4065" y="2994"/>
                  </a:cubicBezTo>
                  <a:cubicBezTo>
                    <a:pt x="3025" y="2994"/>
                    <a:pt x="2017" y="2710"/>
                    <a:pt x="1135" y="2175"/>
                  </a:cubicBezTo>
                  <a:lnTo>
                    <a:pt x="2364" y="946"/>
                  </a:lnTo>
                  <a:cubicBezTo>
                    <a:pt x="2868" y="1198"/>
                    <a:pt x="3466" y="1356"/>
                    <a:pt x="4065" y="1356"/>
                  </a:cubicBezTo>
                  <a:cubicBezTo>
                    <a:pt x="4600" y="1356"/>
                    <a:pt x="5199" y="1198"/>
                    <a:pt x="5735" y="946"/>
                  </a:cubicBezTo>
                  <a:close/>
                  <a:moveTo>
                    <a:pt x="5758" y="1"/>
                  </a:moveTo>
                  <a:cubicBezTo>
                    <a:pt x="5693" y="1"/>
                    <a:pt x="5630" y="11"/>
                    <a:pt x="5577" y="32"/>
                  </a:cubicBezTo>
                  <a:cubicBezTo>
                    <a:pt x="5105" y="316"/>
                    <a:pt x="4569" y="474"/>
                    <a:pt x="4002" y="474"/>
                  </a:cubicBezTo>
                  <a:cubicBezTo>
                    <a:pt x="3956" y="476"/>
                    <a:pt x="3911" y="478"/>
                    <a:pt x="3865" y="478"/>
                  </a:cubicBezTo>
                  <a:cubicBezTo>
                    <a:pt x="3376" y="478"/>
                    <a:pt x="2890" y="326"/>
                    <a:pt x="2458" y="95"/>
                  </a:cubicBezTo>
                  <a:cubicBezTo>
                    <a:pt x="2389" y="54"/>
                    <a:pt x="2315" y="31"/>
                    <a:pt x="2239" y="31"/>
                  </a:cubicBezTo>
                  <a:cubicBezTo>
                    <a:pt x="2142" y="31"/>
                    <a:pt x="2043" y="70"/>
                    <a:pt x="1954" y="158"/>
                  </a:cubicBezTo>
                  <a:lnTo>
                    <a:pt x="190" y="1923"/>
                  </a:lnTo>
                  <a:cubicBezTo>
                    <a:pt x="1" y="2143"/>
                    <a:pt x="32" y="2395"/>
                    <a:pt x="221" y="2553"/>
                  </a:cubicBezTo>
                  <a:cubicBezTo>
                    <a:pt x="1324" y="3403"/>
                    <a:pt x="2616" y="3813"/>
                    <a:pt x="4002" y="3813"/>
                  </a:cubicBezTo>
                  <a:cubicBezTo>
                    <a:pt x="5388" y="3813"/>
                    <a:pt x="6711" y="3403"/>
                    <a:pt x="7814" y="2521"/>
                  </a:cubicBezTo>
                  <a:cubicBezTo>
                    <a:pt x="8035" y="2364"/>
                    <a:pt x="8066" y="2080"/>
                    <a:pt x="7877" y="1891"/>
                  </a:cubicBezTo>
                  <a:lnTo>
                    <a:pt x="6113" y="127"/>
                  </a:lnTo>
                  <a:cubicBezTo>
                    <a:pt x="6029" y="43"/>
                    <a:pt x="5889" y="1"/>
                    <a:pt x="5758" y="1"/>
                  </a:cubicBezTo>
                  <a:close/>
                </a:path>
              </a:pathLst>
            </a:custGeom>
            <a:grpFill/>
            <a:ln>
              <a:noFill/>
            </a:ln>
          </p:spPr>
          <p:txBody>
            <a:bodyPr spcFirstLastPara="1" wrap="square" lIns="60950" tIns="60950" rIns="60950" bIns="60950" anchor="ctr" anchorCtr="0">
              <a:noAutofit/>
            </a:bodyPr>
            <a:lstStyle/>
            <a:p>
              <a:endParaRPr sz="1200"/>
            </a:p>
          </p:txBody>
        </p:sp>
        <p:sp>
          <p:nvSpPr>
            <p:cNvPr id="45" name="Google Shape;5341;p64"/>
            <p:cNvSpPr/>
            <p:nvPr/>
          </p:nvSpPr>
          <p:spPr>
            <a:xfrm>
              <a:off x="-59719775" y="2671925"/>
              <a:ext cx="149675" cy="256425"/>
            </a:xfrm>
            <a:custGeom>
              <a:avLst/>
              <a:gdLst/>
              <a:ahLst/>
              <a:cxnLst/>
              <a:rect l="l" t="t" r="r" b="b"/>
              <a:pathLst>
                <a:path w="5987" h="10257" extrusionOk="0">
                  <a:moveTo>
                    <a:pt x="820" y="917"/>
                  </a:moveTo>
                  <a:cubicBezTo>
                    <a:pt x="3309" y="1453"/>
                    <a:pt x="5105" y="3690"/>
                    <a:pt x="5105" y="6273"/>
                  </a:cubicBezTo>
                  <a:cubicBezTo>
                    <a:pt x="5073" y="7344"/>
                    <a:pt x="4790" y="8352"/>
                    <a:pt x="4254" y="9235"/>
                  </a:cubicBezTo>
                  <a:lnTo>
                    <a:pt x="3025" y="8006"/>
                  </a:lnTo>
                  <a:cubicBezTo>
                    <a:pt x="3309" y="7502"/>
                    <a:pt x="3435" y="6903"/>
                    <a:pt x="3435" y="6305"/>
                  </a:cubicBezTo>
                  <a:cubicBezTo>
                    <a:pt x="3435" y="4572"/>
                    <a:pt x="2332" y="3154"/>
                    <a:pt x="820" y="2650"/>
                  </a:cubicBezTo>
                  <a:lnTo>
                    <a:pt x="820" y="917"/>
                  </a:lnTo>
                  <a:close/>
                  <a:moveTo>
                    <a:pt x="419" y="0"/>
                  </a:moveTo>
                  <a:cubicBezTo>
                    <a:pt x="190" y="0"/>
                    <a:pt x="1" y="180"/>
                    <a:pt x="1" y="413"/>
                  </a:cubicBezTo>
                  <a:lnTo>
                    <a:pt x="1" y="2934"/>
                  </a:lnTo>
                  <a:cubicBezTo>
                    <a:pt x="1" y="3123"/>
                    <a:pt x="127" y="3280"/>
                    <a:pt x="316" y="3312"/>
                  </a:cubicBezTo>
                  <a:cubicBezTo>
                    <a:pt x="1639" y="3658"/>
                    <a:pt x="2647" y="4855"/>
                    <a:pt x="2647" y="6273"/>
                  </a:cubicBezTo>
                  <a:cubicBezTo>
                    <a:pt x="2647" y="6809"/>
                    <a:pt x="2490" y="7376"/>
                    <a:pt x="2206" y="7848"/>
                  </a:cubicBezTo>
                  <a:cubicBezTo>
                    <a:pt x="2080" y="8006"/>
                    <a:pt x="2112" y="8195"/>
                    <a:pt x="2269" y="8352"/>
                  </a:cubicBezTo>
                  <a:lnTo>
                    <a:pt x="4065" y="10117"/>
                  </a:lnTo>
                  <a:cubicBezTo>
                    <a:pt x="4149" y="10214"/>
                    <a:pt x="4251" y="10257"/>
                    <a:pt x="4353" y="10257"/>
                  </a:cubicBezTo>
                  <a:cubicBezTo>
                    <a:pt x="4481" y="10257"/>
                    <a:pt x="4608" y="10190"/>
                    <a:pt x="4695" y="10085"/>
                  </a:cubicBezTo>
                  <a:cubicBezTo>
                    <a:pt x="5514" y="8982"/>
                    <a:pt x="5987" y="7659"/>
                    <a:pt x="5987" y="6273"/>
                  </a:cubicBezTo>
                  <a:cubicBezTo>
                    <a:pt x="5892" y="3123"/>
                    <a:pt x="3529" y="445"/>
                    <a:pt x="474" y="4"/>
                  </a:cubicBezTo>
                  <a:cubicBezTo>
                    <a:pt x="455" y="1"/>
                    <a:pt x="437" y="0"/>
                    <a:pt x="419" y="0"/>
                  </a:cubicBezTo>
                  <a:close/>
                </a:path>
              </a:pathLst>
            </a:custGeom>
            <a:grpFill/>
            <a:ln>
              <a:noFill/>
            </a:ln>
          </p:spPr>
          <p:txBody>
            <a:bodyPr spcFirstLastPara="1" wrap="square" lIns="60950" tIns="60950" rIns="60950" bIns="60950" anchor="ctr" anchorCtr="0">
              <a:noAutofit/>
            </a:bodyPr>
            <a:lstStyle/>
            <a:p>
              <a:endParaRPr sz="1200"/>
            </a:p>
          </p:txBody>
        </p:sp>
        <p:sp>
          <p:nvSpPr>
            <p:cNvPr id="46" name="Google Shape;5342;p64"/>
            <p:cNvSpPr/>
            <p:nvPr/>
          </p:nvSpPr>
          <p:spPr>
            <a:xfrm>
              <a:off x="-59762300" y="2757075"/>
              <a:ext cx="63025" cy="145725"/>
            </a:xfrm>
            <a:custGeom>
              <a:avLst/>
              <a:gdLst/>
              <a:ahLst/>
              <a:cxnLst/>
              <a:rect l="l" t="t" r="r" b="b"/>
              <a:pathLst>
                <a:path w="2521" h="5829" extrusionOk="0">
                  <a:moveTo>
                    <a:pt x="1261" y="0"/>
                  </a:moveTo>
                  <a:cubicBezTo>
                    <a:pt x="1040" y="0"/>
                    <a:pt x="820" y="189"/>
                    <a:pt x="820" y="378"/>
                  </a:cubicBezTo>
                  <a:lnTo>
                    <a:pt x="820" y="662"/>
                  </a:lnTo>
                  <a:cubicBezTo>
                    <a:pt x="347" y="819"/>
                    <a:pt x="1" y="1292"/>
                    <a:pt x="1" y="1827"/>
                  </a:cubicBezTo>
                  <a:cubicBezTo>
                    <a:pt x="1" y="2521"/>
                    <a:pt x="568" y="2899"/>
                    <a:pt x="977" y="3214"/>
                  </a:cubicBezTo>
                  <a:cubicBezTo>
                    <a:pt x="1292" y="3466"/>
                    <a:pt x="1670" y="3686"/>
                    <a:pt x="1670" y="3938"/>
                  </a:cubicBezTo>
                  <a:cubicBezTo>
                    <a:pt x="1670" y="4159"/>
                    <a:pt x="1450" y="4348"/>
                    <a:pt x="1261" y="4348"/>
                  </a:cubicBezTo>
                  <a:cubicBezTo>
                    <a:pt x="1072" y="4348"/>
                    <a:pt x="820" y="4159"/>
                    <a:pt x="820" y="3938"/>
                  </a:cubicBezTo>
                  <a:cubicBezTo>
                    <a:pt x="820" y="3686"/>
                    <a:pt x="631" y="3497"/>
                    <a:pt x="442" y="3497"/>
                  </a:cubicBezTo>
                  <a:cubicBezTo>
                    <a:pt x="253" y="3497"/>
                    <a:pt x="32" y="3686"/>
                    <a:pt x="32" y="3938"/>
                  </a:cubicBezTo>
                  <a:cubicBezTo>
                    <a:pt x="32" y="4474"/>
                    <a:pt x="410" y="4915"/>
                    <a:pt x="883" y="5104"/>
                  </a:cubicBezTo>
                  <a:lnTo>
                    <a:pt x="883" y="5387"/>
                  </a:lnTo>
                  <a:cubicBezTo>
                    <a:pt x="883" y="5608"/>
                    <a:pt x="1072" y="5829"/>
                    <a:pt x="1292" y="5829"/>
                  </a:cubicBezTo>
                  <a:cubicBezTo>
                    <a:pt x="1544" y="5829"/>
                    <a:pt x="1702" y="5608"/>
                    <a:pt x="1702" y="5387"/>
                  </a:cubicBezTo>
                  <a:lnTo>
                    <a:pt x="1702" y="5104"/>
                  </a:lnTo>
                  <a:cubicBezTo>
                    <a:pt x="2175" y="4946"/>
                    <a:pt x="2521" y="4474"/>
                    <a:pt x="2521" y="3938"/>
                  </a:cubicBezTo>
                  <a:cubicBezTo>
                    <a:pt x="2521" y="3245"/>
                    <a:pt x="1985" y="2867"/>
                    <a:pt x="1544" y="2552"/>
                  </a:cubicBezTo>
                  <a:cubicBezTo>
                    <a:pt x="1229" y="2300"/>
                    <a:pt x="883" y="2079"/>
                    <a:pt x="883" y="1827"/>
                  </a:cubicBezTo>
                  <a:cubicBezTo>
                    <a:pt x="883" y="1607"/>
                    <a:pt x="1072" y="1418"/>
                    <a:pt x="1292" y="1418"/>
                  </a:cubicBezTo>
                  <a:cubicBezTo>
                    <a:pt x="1544" y="1418"/>
                    <a:pt x="1702" y="1607"/>
                    <a:pt x="1702" y="1827"/>
                  </a:cubicBezTo>
                  <a:cubicBezTo>
                    <a:pt x="1702" y="2079"/>
                    <a:pt x="1891" y="2268"/>
                    <a:pt x="2143" y="2268"/>
                  </a:cubicBezTo>
                  <a:cubicBezTo>
                    <a:pt x="2364" y="2268"/>
                    <a:pt x="2521" y="2079"/>
                    <a:pt x="2521" y="1827"/>
                  </a:cubicBezTo>
                  <a:cubicBezTo>
                    <a:pt x="2521" y="1292"/>
                    <a:pt x="2175" y="851"/>
                    <a:pt x="1702" y="662"/>
                  </a:cubicBezTo>
                  <a:lnTo>
                    <a:pt x="1702" y="378"/>
                  </a:lnTo>
                  <a:cubicBezTo>
                    <a:pt x="1702" y="189"/>
                    <a:pt x="1513" y="0"/>
                    <a:pt x="1261" y="0"/>
                  </a:cubicBezTo>
                  <a:close/>
                </a:path>
              </a:pathLst>
            </a:custGeom>
            <a:grpFill/>
            <a:ln>
              <a:noFill/>
            </a:ln>
          </p:spPr>
          <p:txBody>
            <a:bodyPr spcFirstLastPara="1" wrap="square" lIns="60950" tIns="60950" rIns="60950" bIns="60950" anchor="ctr" anchorCtr="0">
              <a:noAutofit/>
            </a:bodyPr>
            <a:lstStyle/>
            <a:p>
              <a:endParaRPr sz="1200"/>
            </a:p>
          </p:txBody>
        </p:sp>
      </p:grpSp>
      <p:grpSp>
        <p:nvGrpSpPr>
          <p:cNvPr id="47" name="Google Shape;5228;p64"/>
          <p:cNvGrpSpPr/>
          <p:nvPr/>
        </p:nvGrpSpPr>
        <p:grpSpPr>
          <a:xfrm>
            <a:off x="3470671" y="1639069"/>
            <a:ext cx="256518" cy="255131"/>
            <a:chOff x="-64401400" y="1914475"/>
            <a:chExt cx="319000" cy="317275"/>
          </a:xfrm>
          <a:solidFill>
            <a:schemeClr val="bg2"/>
          </a:solidFill>
        </p:grpSpPr>
        <p:sp>
          <p:nvSpPr>
            <p:cNvPr id="48" name="Google Shape;5229;p64"/>
            <p:cNvSpPr/>
            <p:nvPr/>
          </p:nvSpPr>
          <p:spPr>
            <a:xfrm>
              <a:off x="-64401400" y="1914475"/>
              <a:ext cx="319000" cy="317275"/>
            </a:xfrm>
            <a:custGeom>
              <a:avLst/>
              <a:gdLst/>
              <a:ahLst/>
              <a:cxnLst/>
              <a:rect l="l" t="t" r="r" b="b"/>
              <a:pathLst>
                <a:path w="12760" h="12691" extrusionOk="0">
                  <a:moveTo>
                    <a:pt x="4726" y="1317"/>
                  </a:moveTo>
                  <a:lnTo>
                    <a:pt x="4726" y="2703"/>
                  </a:lnTo>
                  <a:cubicBezTo>
                    <a:pt x="4663" y="2735"/>
                    <a:pt x="4600" y="2829"/>
                    <a:pt x="4569" y="2861"/>
                  </a:cubicBezTo>
                  <a:lnTo>
                    <a:pt x="4065" y="3554"/>
                  </a:lnTo>
                  <a:cubicBezTo>
                    <a:pt x="3970" y="3176"/>
                    <a:pt x="3907" y="2703"/>
                    <a:pt x="3907" y="2388"/>
                  </a:cubicBezTo>
                  <a:cubicBezTo>
                    <a:pt x="3876" y="1947"/>
                    <a:pt x="3970" y="1632"/>
                    <a:pt x="4222" y="1475"/>
                  </a:cubicBezTo>
                  <a:cubicBezTo>
                    <a:pt x="4348" y="1349"/>
                    <a:pt x="4537" y="1317"/>
                    <a:pt x="4726" y="1317"/>
                  </a:cubicBezTo>
                  <a:close/>
                  <a:moveTo>
                    <a:pt x="7046" y="813"/>
                  </a:moveTo>
                  <a:cubicBezTo>
                    <a:pt x="7507" y="813"/>
                    <a:pt x="7937" y="916"/>
                    <a:pt x="8286" y="1128"/>
                  </a:cubicBezTo>
                  <a:cubicBezTo>
                    <a:pt x="8759" y="1412"/>
                    <a:pt x="8979" y="1821"/>
                    <a:pt x="8948" y="2420"/>
                  </a:cubicBezTo>
                  <a:cubicBezTo>
                    <a:pt x="8948" y="2703"/>
                    <a:pt x="8853" y="3113"/>
                    <a:pt x="8790" y="3554"/>
                  </a:cubicBezTo>
                  <a:lnTo>
                    <a:pt x="8286" y="2861"/>
                  </a:lnTo>
                  <a:cubicBezTo>
                    <a:pt x="8066" y="2609"/>
                    <a:pt x="7814" y="2451"/>
                    <a:pt x="7499" y="2451"/>
                  </a:cubicBezTo>
                  <a:lnTo>
                    <a:pt x="5514" y="2451"/>
                  </a:lnTo>
                  <a:lnTo>
                    <a:pt x="5514" y="1160"/>
                  </a:lnTo>
                  <a:cubicBezTo>
                    <a:pt x="6020" y="931"/>
                    <a:pt x="6551" y="813"/>
                    <a:pt x="7046" y="813"/>
                  </a:cubicBezTo>
                  <a:close/>
                  <a:moveTo>
                    <a:pt x="7530" y="3334"/>
                  </a:moveTo>
                  <a:cubicBezTo>
                    <a:pt x="7562" y="3334"/>
                    <a:pt x="7593" y="3365"/>
                    <a:pt x="7656" y="3365"/>
                  </a:cubicBezTo>
                  <a:lnTo>
                    <a:pt x="8601" y="4657"/>
                  </a:lnTo>
                  <a:cubicBezTo>
                    <a:pt x="8444" y="5917"/>
                    <a:pt x="7688" y="7177"/>
                    <a:pt x="6427" y="7177"/>
                  </a:cubicBezTo>
                  <a:cubicBezTo>
                    <a:pt x="5167" y="7177"/>
                    <a:pt x="4411" y="5980"/>
                    <a:pt x="4254" y="4657"/>
                  </a:cubicBezTo>
                  <a:lnTo>
                    <a:pt x="5199" y="3365"/>
                  </a:lnTo>
                  <a:cubicBezTo>
                    <a:pt x="5230" y="3334"/>
                    <a:pt x="5293" y="3334"/>
                    <a:pt x="5325" y="3334"/>
                  </a:cubicBezTo>
                  <a:close/>
                  <a:moveTo>
                    <a:pt x="5199" y="7681"/>
                  </a:moveTo>
                  <a:cubicBezTo>
                    <a:pt x="5608" y="7902"/>
                    <a:pt x="5986" y="8028"/>
                    <a:pt x="6427" y="8028"/>
                  </a:cubicBezTo>
                  <a:cubicBezTo>
                    <a:pt x="6869" y="8028"/>
                    <a:pt x="7310" y="7902"/>
                    <a:pt x="7688" y="7713"/>
                  </a:cubicBezTo>
                  <a:lnTo>
                    <a:pt x="7688" y="7807"/>
                  </a:lnTo>
                  <a:cubicBezTo>
                    <a:pt x="7688" y="8028"/>
                    <a:pt x="7719" y="8185"/>
                    <a:pt x="7814" y="8343"/>
                  </a:cubicBezTo>
                  <a:lnTo>
                    <a:pt x="6427" y="9634"/>
                  </a:lnTo>
                  <a:lnTo>
                    <a:pt x="5073" y="8280"/>
                  </a:lnTo>
                  <a:cubicBezTo>
                    <a:pt x="5167" y="8122"/>
                    <a:pt x="5199" y="7965"/>
                    <a:pt x="5199" y="7776"/>
                  </a:cubicBezTo>
                  <a:lnTo>
                    <a:pt x="5199" y="7681"/>
                  </a:lnTo>
                  <a:close/>
                  <a:moveTo>
                    <a:pt x="4537" y="8878"/>
                  </a:moveTo>
                  <a:lnTo>
                    <a:pt x="5829" y="10170"/>
                  </a:lnTo>
                  <a:lnTo>
                    <a:pt x="5230" y="10769"/>
                  </a:lnTo>
                  <a:lnTo>
                    <a:pt x="4065" y="9036"/>
                  </a:lnTo>
                  <a:cubicBezTo>
                    <a:pt x="4222" y="9036"/>
                    <a:pt x="4380" y="9004"/>
                    <a:pt x="4537" y="8878"/>
                  </a:cubicBezTo>
                  <a:close/>
                  <a:moveTo>
                    <a:pt x="8318" y="8878"/>
                  </a:moveTo>
                  <a:cubicBezTo>
                    <a:pt x="8475" y="8973"/>
                    <a:pt x="8633" y="9036"/>
                    <a:pt x="8790" y="9036"/>
                  </a:cubicBezTo>
                  <a:lnTo>
                    <a:pt x="7593" y="10769"/>
                  </a:lnTo>
                  <a:lnTo>
                    <a:pt x="7026" y="10170"/>
                  </a:lnTo>
                  <a:lnTo>
                    <a:pt x="8318" y="8878"/>
                  </a:lnTo>
                  <a:close/>
                  <a:moveTo>
                    <a:pt x="10460" y="9067"/>
                  </a:moveTo>
                  <a:cubicBezTo>
                    <a:pt x="11279" y="9067"/>
                    <a:pt x="11941" y="9760"/>
                    <a:pt x="11941" y="10580"/>
                  </a:cubicBezTo>
                  <a:lnTo>
                    <a:pt x="11941" y="11840"/>
                  </a:lnTo>
                  <a:lnTo>
                    <a:pt x="7814" y="11840"/>
                  </a:lnTo>
                  <a:cubicBezTo>
                    <a:pt x="7908" y="11808"/>
                    <a:pt x="8003" y="11745"/>
                    <a:pt x="8034" y="11682"/>
                  </a:cubicBezTo>
                  <a:lnTo>
                    <a:pt x="9798" y="9067"/>
                  </a:lnTo>
                  <a:close/>
                  <a:moveTo>
                    <a:pt x="3088" y="9067"/>
                  </a:moveTo>
                  <a:lnTo>
                    <a:pt x="4852" y="11651"/>
                  </a:lnTo>
                  <a:cubicBezTo>
                    <a:pt x="4915" y="11745"/>
                    <a:pt x="5041" y="11808"/>
                    <a:pt x="5167" y="11840"/>
                  </a:cubicBezTo>
                  <a:lnTo>
                    <a:pt x="5199" y="11840"/>
                  </a:lnTo>
                  <a:cubicBezTo>
                    <a:pt x="5325" y="11840"/>
                    <a:pt x="5419" y="11808"/>
                    <a:pt x="5482" y="11714"/>
                  </a:cubicBezTo>
                  <a:lnTo>
                    <a:pt x="6427" y="10769"/>
                  </a:lnTo>
                  <a:lnTo>
                    <a:pt x="7404" y="11745"/>
                  </a:lnTo>
                  <a:cubicBezTo>
                    <a:pt x="7436" y="11777"/>
                    <a:pt x="7530" y="11840"/>
                    <a:pt x="7593" y="11871"/>
                  </a:cubicBezTo>
                  <a:lnTo>
                    <a:pt x="914" y="11871"/>
                  </a:lnTo>
                  <a:lnTo>
                    <a:pt x="914" y="11840"/>
                  </a:lnTo>
                  <a:lnTo>
                    <a:pt x="914" y="10580"/>
                  </a:lnTo>
                  <a:cubicBezTo>
                    <a:pt x="914" y="9760"/>
                    <a:pt x="1576" y="9067"/>
                    <a:pt x="2395" y="9067"/>
                  </a:cubicBezTo>
                  <a:close/>
                  <a:moveTo>
                    <a:pt x="7043" y="1"/>
                  </a:moveTo>
                  <a:cubicBezTo>
                    <a:pt x="6380" y="1"/>
                    <a:pt x="5673" y="166"/>
                    <a:pt x="5010" y="498"/>
                  </a:cubicBezTo>
                  <a:cubicBezTo>
                    <a:pt x="4898" y="477"/>
                    <a:pt x="4788" y="467"/>
                    <a:pt x="4680" y="467"/>
                  </a:cubicBezTo>
                  <a:cubicBezTo>
                    <a:pt x="4300" y="467"/>
                    <a:pt x="3942" y="592"/>
                    <a:pt x="3624" y="813"/>
                  </a:cubicBezTo>
                  <a:cubicBezTo>
                    <a:pt x="3308" y="1034"/>
                    <a:pt x="2962" y="1506"/>
                    <a:pt x="2962" y="2388"/>
                  </a:cubicBezTo>
                  <a:cubicBezTo>
                    <a:pt x="2962" y="3144"/>
                    <a:pt x="3277" y="4405"/>
                    <a:pt x="3340" y="4625"/>
                  </a:cubicBezTo>
                  <a:cubicBezTo>
                    <a:pt x="3466" y="5570"/>
                    <a:pt x="3781" y="6389"/>
                    <a:pt x="4285" y="6988"/>
                  </a:cubicBezTo>
                  <a:lnTo>
                    <a:pt x="4285" y="7744"/>
                  </a:lnTo>
                  <a:cubicBezTo>
                    <a:pt x="4285" y="8028"/>
                    <a:pt x="4065" y="8248"/>
                    <a:pt x="3781" y="8248"/>
                  </a:cubicBezTo>
                  <a:lnTo>
                    <a:pt x="2332" y="8248"/>
                  </a:lnTo>
                  <a:cubicBezTo>
                    <a:pt x="1072" y="8248"/>
                    <a:pt x="0" y="9288"/>
                    <a:pt x="0" y="10580"/>
                  </a:cubicBezTo>
                  <a:lnTo>
                    <a:pt x="0" y="12281"/>
                  </a:lnTo>
                  <a:cubicBezTo>
                    <a:pt x="0" y="12501"/>
                    <a:pt x="189" y="12690"/>
                    <a:pt x="410" y="12690"/>
                  </a:cubicBezTo>
                  <a:lnTo>
                    <a:pt x="12256" y="12690"/>
                  </a:lnTo>
                  <a:cubicBezTo>
                    <a:pt x="12508" y="12690"/>
                    <a:pt x="12697" y="12501"/>
                    <a:pt x="12697" y="12281"/>
                  </a:cubicBezTo>
                  <a:lnTo>
                    <a:pt x="12697" y="10580"/>
                  </a:lnTo>
                  <a:cubicBezTo>
                    <a:pt x="12760" y="9319"/>
                    <a:pt x="11689" y="8248"/>
                    <a:pt x="10429" y="8248"/>
                  </a:cubicBezTo>
                  <a:lnTo>
                    <a:pt x="8979" y="8248"/>
                  </a:lnTo>
                  <a:cubicBezTo>
                    <a:pt x="8696" y="8248"/>
                    <a:pt x="8475" y="8028"/>
                    <a:pt x="8475" y="7744"/>
                  </a:cubicBezTo>
                  <a:lnTo>
                    <a:pt x="8475" y="6957"/>
                  </a:lnTo>
                  <a:cubicBezTo>
                    <a:pt x="8979" y="6358"/>
                    <a:pt x="9294" y="5539"/>
                    <a:pt x="9389" y="4625"/>
                  </a:cubicBezTo>
                  <a:cubicBezTo>
                    <a:pt x="9546" y="4121"/>
                    <a:pt x="9735" y="3050"/>
                    <a:pt x="9767" y="2420"/>
                  </a:cubicBezTo>
                  <a:cubicBezTo>
                    <a:pt x="9767" y="1538"/>
                    <a:pt x="9420" y="845"/>
                    <a:pt x="8664" y="404"/>
                  </a:cubicBezTo>
                  <a:cubicBezTo>
                    <a:pt x="8202" y="135"/>
                    <a:pt x="7640" y="1"/>
                    <a:pt x="7043" y="1"/>
                  </a:cubicBezTo>
                  <a:close/>
                </a:path>
              </a:pathLst>
            </a:custGeom>
            <a:grpFill/>
            <a:ln>
              <a:noFill/>
            </a:ln>
          </p:spPr>
          <p:txBody>
            <a:bodyPr spcFirstLastPara="1" wrap="square" lIns="60950" tIns="60950" rIns="60950" bIns="60950" anchor="ctr" anchorCtr="0">
              <a:noAutofit/>
            </a:bodyPr>
            <a:lstStyle/>
            <a:p>
              <a:endParaRPr sz="1200"/>
            </a:p>
          </p:txBody>
        </p:sp>
        <p:sp>
          <p:nvSpPr>
            <p:cNvPr id="49" name="Google Shape;5230;p64"/>
            <p:cNvSpPr/>
            <p:nvPr/>
          </p:nvSpPr>
          <p:spPr>
            <a:xfrm>
              <a:off x="-64172200" y="2175800"/>
              <a:ext cx="48850" cy="22075"/>
            </a:xfrm>
            <a:custGeom>
              <a:avLst/>
              <a:gdLst/>
              <a:ahLst/>
              <a:cxnLst/>
              <a:rect l="l" t="t" r="r" b="b"/>
              <a:pathLst>
                <a:path w="1954" h="883" extrusionOk="0">
                  <a:moveTo>
                    <a:pt x="410" y="1"/>
                  </a:moveTo>
                  <a:cubicBezTo>
                    <a:pt x="158" y="1"/>
                    <a:pt x="0" y="190"/>
                    <a:pt x="0" y="442"/>
                  </a:cubicBezTo>
                  <a:cubicBezTo>
                    <a:pt x="0" y="662"/>
                    <a:pt x="221" y="883"/>
                    <a:pt x="410" y="883"/>
                  </a:cubicBezTo>
                  <a:lnTo>
                    <a:pt x="1513" y="883"/>
                  </a:lnTo>
                  <a:cubicBezTo>
                    <a:pt x="1765" y="883"/>
                    <a:pt x="1891" y="662"/>
                    <a:pt x="1891" y="442"/>
                  </a:cubicBezTo>
                  <a:cubicBezTo>
                    <a:pt x="1954" y="190"/>
                    <a:pt x="1733" y="1"/>
                    <a:pt x="1513" y="1"/>
                  </a:cubicBezTo>
                  <a:close/>
                </a:path>
              </a:pathLst>
            </a:custGeom>
            <a:grpFill/>
            <a:ln>
              <a:noFill/>
            </a:ln>
          </p:spPr>
          <p:txBody>
            <a:bodyPr spcFirstLastPara="1" wrap="square" lIns="60950" tIns="60950" rIns="60950" bIns="60950" anchor="ctr" anchorCtr="0">
              <a:noAutofit/>
            </a:bodyPr>
            <a:lstStyle/>
            <a:p>
              <a:endParaRPr sz="1200"/>
            </a:p>
          </p:txBody>
        </p:sp>
        <p:sp>
          <p:nvSpPr>
            <p:cNvPr id="50" name="Google Shape;5231;p64"/>
            <p:cNvSpPr/>
            <p:nvPr/>
          </p:nvSpPr>
          <p:spPr>
            <a:xfrm>
              <a:off x="-64212375" y="2210450"/>
              <a:ext cx="5525" cy="25"/>
            </a:xfrm>
            <a:custGeom>
              <a:avLst/>
              <a:gdLst/>
              <a:ahLst/>
              <a:cxnLst/>
              <a:rect l="l" t="t" r="r" b="b"/>
              <a:pathLst>
                <a:path w="221" h="1" extrusionOk="0">
                  <a:moveTo>
                    <a:pt x="1" y="1"/>
                  </a:moveTo>
                  <a:lnTo>
                    <a:pt x="221" y="1"/>
                  </a:lnTo>
                </a:path>
              </a:pathLst>
            </a:custGeom>
            <a:grpFill/>
            <a:ln>
              <a:noFill/>
            </a:ln>
          </p:spPr>
          <p:txBody>
            <a:bodyPr spcFirstLastPara="1" wrap="square" lIns="60950" tIns="60950" rIns="60950" bIns="60950" anchor="ctr" anchorCtr="0">
              <a:noAutofit/>
            </a:bodyPr>
            <a:lstStyle/>
            <a:p>
              <a:endParaRPr sz="1200"/>
            </a:p>
          </p:txBody>
        </p:sp>
      </p:grpSp>
      <p:grpSp>
        <p:nvGrpSpPr>
          <p:cNvPr id="51" name="Google Shape;5211;p64"/>
          <p:cNvGrpSpPr/>
          <p:nvPr/>
        </p:nvGrpSpPr>
        <p:grpSpPr>
          <a:xfrm>
            <a:off x="7361009" y="1659718"/>
            <a:ext cx="254628" cy="250206"/>
            <a:chOff x="-60988625" y="2310475"/>
            <a:chExt cx="316650" cy="311150"/>
          </a:xfrm>
          <a:solidFill>
            <a:schemeClr val="bg2"/>
          </a:solidFill>
        </p:grpSpPr>
        <p:sp>
          <p:nvSpPr>
            <p:cNvPr id="52" name="Google Shape;5212;p64"/>
            <p:cNvSpPr/>
            <p:nvPr/>
          </p:nvSpPr>
          <p:spPr>
            <a:xfrm>
              <a:off x="-60988625" y="2310475"/>
              <a:ext cx="311125" cy="311150"/>
            </a:xfrm>
            <a:custGeom>
              <a:avLst/>
              <a:gdLst/>
              <a:ahLst/>
              <a:cxnLst/>
              <a:rect l="l" t="t" r="r" b="b"/>
              <a:pathLst>
                <a:path w="12445" h="12446" extrusionOk="0">
                  <a:moveTo>
                    <a:pt x="7877" y="883"/>
                  </a:moveTo>
                  <a:cubicBezTo>
                    <a:pt x="8097" y="883"/>
                    <a:pt x="8318" y="1072"/>
                    <a:pt x="8318" y="1324"/>
                  </a:cubicBezTo>
                  <a:lnTo>
                    <a:pt x="8318" y="10398"/>
                  </a:lnTo>
                  <a:cubicBezTo>
                    <a:pt x="8318" y="10870"/>
                    <a:pt x="8444" y="11311"/>
                    <a:pt x="8727" y="11626"/>
                  </a:cubicBezTo>
                  <a:lnTo>
                    <a:pt x="2111" y="11626"/>
                  </a:lnTo>
                  <a:cubicBezTo>
                    <a:pt x="1450" y="11626"/>
                    <a:pt x="851" y="11091"/>
                    <a:pt x="851" y="10398"/>
                  </a:cubicBezTo>
                  <a:lnTo>
                    <a:pt x="851" y="1324"/>
                  </a:lnTo>
                  <a:lnTo>
                    <a:pt x="820" y="1324"/>
                  </a:lnTo>
                  <a:cubicBezTo>
                    <a:pt x="820" y="1072"/>
                    <a:pt x="1009" y="883"/>
                    <a:pt x="1261" y="883"/>
                  </a:cubicBezTo>
                  <a:close/>
                  <a:moveTo>
                    <a:pt x="11500" y="10807"/>
                  </a:moveTo>
                  <a:cubicBezTo>
                    <a:pt x="11342" y="11280"/>
                    <a:pt x="10870" y="11626"/>
                    <a:pt x="10303" y="11626"/>
                  </a:cubicBezTo>
                  <a:cubicBezTo>
                    <a:pt x="9767" y="11626"/>
                    <a:pt x="9326" y="11280"/>
                    <a:pt x="9137" y="10807"/>
                  </a:cubicBezTo>
                  <a:close/>
                  <a:moveTo>
                    <a:pt x="1261" y="1"/>
                  </a:moveTo>
                  <a:cubicBezTo>
                    <a:pt x="568" y="1"/>
                    <a:pt x="32" y="568"/>
                    <a:pt x="32" y="1230"/>
                  </a:cubicBezTo>
                  <a:lnTo>
                    <a:pt x="32" y="10334"/>
                  </a:lnTo>
                  <a:cubicBezTo>
                    <a:pt x="0" y="11563"/>
                    <a:pt x="946" y="12445"/>
                    <a:pt x="2080" y="12445"/>
                  </a:cubicBezTo>
                  <a:lnTo>
                    <a:pt x="10334" y="12445"/>
                  </a:lnTo>
                  <a:cubicBezTo>
                    <a:pt x="11500" y="12445"/>
                    <a:pt x="12445" y="11500"/>
                    <a:pt x="12445" y="10366"/>
                  </a:cubicBezTo>
                  <a:cubicBezTo>
                    <a:pt x="12445" y="10145"/>
                    <a:pt x="12224" y="9925"/>
                    <a:pt x="12004" y="9925"/>
                  </a:cubicBezTo>
                  <a:lnTo>
                    <a:pt x="9074" y="9925"/>
                  </a:lnTo>
                  <a:lnTo>
                    <a:pt x="9074" y="1230"/>
                  </a:lnTo>
                  <a:cubicBezTo>
                    <a:pt x="9074" y="568"/>
                    <a:pt x="8538" y="1"/>
                    <a:pt x="7877" y="1"/>
                  </a:cubicBezTo>
                  <a:close/>
                </a:path>
              </a:pathLst>
            </a:custGeom>
            <a:grpFill/>
            <a:ln>
              <a:noFill/>
            </a:ln>
          </p:spPr>
          <p:txBody>
            <a:bodyPr spcFirstLastPara="1" wrap="square" lIns="60950" tIns="60950" rIns="60950" bIns="60950" anchor="ctr" anchorCtr="0">
              <a:noAutofit/>
            </a:bodyPr>
            <a:lstStyle/>
            <a:p>
              <a:endParaRPr sz="1200"/>
            </a:p>
          </p:txBody>
        </p:sp>
        <p:sp>
          <p:nvSpPr>
            <p:cNvPr id="53" name="Google Shape;5213;p64"/>
            <p:cNvSpPr/>
            <p:nvPr/>
          </p:nvSpPr>
          <p:spPr>
            <a:xfrm>
              <a:off x="-60947675" y="2353025"/>
              <a:ext cx="145725" cy="20500"/>
            </a:xfrm>
            <a:custGeom>
              <a:avLst/>
              <a:gdLst/>
              <a:ahLst/>
              <a:cxnLst/>
              <a:rect l="l" t="t" r="r" b="b"/>
              <a:pathLst>
                <a:path w="5829" h="820" extrusionOk="0">
                  <a:moveTo>
                    <a:pt x="442" y="0"/>
                  </a:moveTo>
                  <a:cubicBezTo>
                    <a:pt x="190" y="0"/>
                    <a:pt x="1" y="189"/>
                    <a:pt x="1" y="441"/>
                  </a:cubicBezTo>
                  <a:cubicBezTo>
                    <a:pt x="1" y="630"/>
                    <a:pt x="190" y="819"/>
                    <a:pt x="442" y="819"/>
                  </a:cubicBezTo>
                  <a:lnTo>
                    <a:pt x="5388" y="819"/>
                  </a:lnTo>
                  <a:cubicBezTo>
                    <a:pt x="5640" y="819"/>
                    <a:pt x="5829" y="630"/>
                    <a:pt x="5829" y="441"/>
                  </a:cubicBezTo>
                  <a:cubicBezTo>
                    <a:pt x="5829" y="189"/>
                    <a:pt x="5640" y="0"/>
                    <a:pt x="5388" y="0"/>
                  </a:cubicBezTo>
                  <a:close/>
                </a:path>
              </a:pathLst>
            </a:custGeom>
            <a:grpFill/>
            <a:ln>
              <a:noFill/>
            </a:ln>
          </p:spPr>
          <p:txBody>
            <a:bodyPr spcFirstLastPara="1" wrap="square" lIns="60950" tIns="60950" rIns="60950" bIns="60950" anchor="ctr" anchorCtr="0">
              <a:noAutofit/>
            </a:bodyPr>
            <a:lstStyle/>
            <a:p>
              <a:endParaRPr sz="1200"/>
            </a:p>
          </p:txBody>
        </p:sp>
        <p:sp>
          <p:nvSpPr>
            <p:cNvPr id="54" name="Google Shape;5214;p64"/>
            <p:cNvSpPr/>
            <p:nvPr/>
          </p:nvSpPr>
          <p:spPr>
            <a:xfrm>
              <a:off x="-60947675" y="2415250"/>
              <a:ext cx="145725" cy="20500"/>
            </a:xfrm>
            <a:custGeom>
              <a:avLst/>
              <a:gdLst/>
              <a:ahLst/>
              <a:cxnLst/>
              <a:rect l="l" t="t" r="r" b="b"/>
              <a:pathLst>
                <a:path w="5829" h="820" extrusionOk="0">
                  <a:moveTo>
                    <a:pt x="442" y="0"/>
                  </a:moveTo>
                  <a:cubicBezTo>
                    <a:pt x="190" y="0"/>
                    <a:pt x="1" y="189"/>
                    <a:pt x="1" y="378"/>
                  </a:cubicBezTo>
                  <a:cubicBezTo>
                    <a:pt x="1" y="630"/>
                    <a:pt x="190" y="819"/>
                    <a:pt x="442" y="819"/>
                  </a:cubicBezTo>
                  <a:lnTo>
                    <a:pt x="5388" y="819"/>
                  </a:lnTo>
                  <a:cubicBezTo>
                    <a:pt x="5640" y="819"/>
                    <a:pt x="5829" y="630"/>
                    <a:pt x="5829" y="378"/>
                  </a:cubicBezTo>
                  <a:cubicBezTo>
                    <a:pt x="5829" y="158"/>
                    <a:pt x="5640" y="0"/>
                    <a:pt x="5388" y="0"/>
                  </a:cubicBezTo>
                  <a:close/>
                </a:path>
              </a:pathLst>
            </a:custGeom>
            <a:grpFill/>
            <a:ln>
              <a:noFill/>
            </a:ln>
          </p:spPr>
          <p:txBody>
            <a:bodyPr spcFirstLastPara="1" wrap="square" lIns="60950" tIns="60950" rIns="60950" bIns="60950" anchor="ctr" anchorCtr="0">
              <a:noAutofit/>
            </a:bodyPr>
            <a:lstStyle/>
            <a:p>
              <a:endParaRPr sz="1200"/>
            </a:p>
          </p:txBody>
        </p:sp>
        <p:sp>
          <p:nvSpPr>
            <p:cNvPr id="55" name="Google Shape;5215;p64"/>
            <p:cNvSpPr/>
            <p:nvPr/>
          </p:nvSpPr>
          <p:spPr>
            <a:xfrm>
              <a:off x="-60947675" y="2475875"/>
              <a:ext cx="145725" cy="22100"/>
            </a:xfrm>
            <a:custGeom>
              <a:avLst/>
              <a:gdLst/>
              <a:ahLst/>
              <a:cxnLst/>
              <a:rect l="l" t="t" r="r" b="b"/>
              <a:pathLst>
                <a:path w="5829" h="884" extrusionOk="0">
                  <a:moveTo>
                    <a:pt x="442" y="1"/>
                  </a:moveTo>
                  <a:cubicBezTo>
                    <a:pt x="190" y="1"/>
                    <a:pt x="1" y="221"/>
                    <a:pt x="1" y="442"/>
                  </a:cubicBezTo>
                  <a:cubicBezTo>
                    <a:pt x="1" y="694"/>
                    <a:pt x="190" y="883"/>
                    <a:pt x="442" y="883"/>
                  </a:cubicBezTo>
                  <a:lnTo>
                    <a:pt x="5388" y="883"/>
                  </a:lnTo>
                  <a:cubicBezTo>
                    <a:pt x="5640" y="883"/>
                    <a:pt x="5829" y="694"/>
                    <a:pt x="5829" y="442"/>
                  </a:cubicBezTo>
                  <a:cubicBezTo>
                    <a:pt x="5829" y="221"/>
                    <a:pt x="5640" y="1"/>
                    <a:pt x="5388" y="1"/>
                  </a:cubicBezTo>
                  <a:close/>
                </a:path>
              </a:pathLst>
            </a:custGeom>
            <a:grpFill/>
            <a:ln>
              <a:noFill/>
            </a:ln>
          </p:spPr>
          <p:txBody>
            <a:bodyPr spcFirstLastPara="1" wrap="square" lIns="60950" tIns="60950" rIns="60950" bIns="60950" anchor="ctr" anchorCtr="0">
              <a:noAutofit/>
            </a:bodyPr>
            <a:lstStyle/>
            <a:p>
              <a:endParaRPr sz="1200"/>
            </a:p>
          </p:txBody>
        </p:sp>
        <p:sp>
          <p:nvSpPr>
            <p:cNvPr id="56" name="Google Shape;5216;p64"/>
            <p:cNvSpPr/>
            <p:nvPr/>
          </p:nvSpPr>
          <p:spPr>
            <a:xfrm>
              <a:off x="-60947675" y="2538100"/>
              <a:ext cx="145725" cy="22075"/>
            </a:xfrm>
            <a:custGeom>
              <a:avLst/>
              <a:gdLst/>
              <a:ahLst/>
              <a:cxnLst/>
              <a:rect l="l" t="t" r="r" b="b"/>
              <a:pathLst>
                <a:path w="5829" h="883" extrusionOk="0">
                  <a:moveTo>
                    <a:pt x="442" y="1"/>
                  </a:moveTo>
                  <a:cubicBezTo>
                    <a:pt x="190" y="1"/>
                    <a:pt x="1" y="190"/>
                    <a:pt x="1" y="442"/>
                  </a:cubicBezTo>
                  <a:cubicBezTo>
                    <a:pt x="1" y="662"/>
                    <a:pt x="190" y="883"/>
                    <a:pt x="442" y="883"/>
                  </a:cubicBezTo>
                  <a:lnTo>
                    <a:pt x="5388" y="883"/>
                  </a:lnTo>
                  <a:cubicBezTo>
                    <a:pt x="5640" y="883"/>
                    <a:pt x="5829" y="662"/>
                    <a:pt x="5829" y="442"/>
                  </a:cubicBezTo>
                  <a:cubicBezTo>
                    <a:pt x="5829" y="190"/>
                    <a:pt x="5640" y="1"/>
                    <a:pt x="5388" y="1"/>
                  </a:cubicBezTo>
                  <a:close/>
                </a:path>
              </a:pathLst>
            </a:custGeom>
            <a:grpFill/>
            <a:ln>
              <a:noFill/>
            </a:ln>
          </p:spPr>
          <p:txBody>
            <a:bodyPr spcFirstLastPara="1" wrap="square" lIns="60950" tIns="60950" rIns="60950" bIns="60950" anchor="ctr" anchorCtr="0">
              <a:noAutofit/>
            </a:bodyPr>
            <a:lstStyle/>
            <a:p>
              <a:endParaRPr sz="1200"/>
            </a:p>
          </p:txBody>
        </p:sp>
        <p:sp>
          <p:nvSpPr>
            <p:cNvPr id="57" name="Google Shape;5217;p64"/>
            <p:cNvSpPr/>
            <p:nvPr/>
          </p:nvSpPr>
          <p:spPr>
            <a:xfrm>
              <a:off x="-60740525" y="2312050"/>
              <a:ext cx="68550" cy="233950"/>
            </a:xfrm>
            <a:custGeom>
              <a:avLst/>
              <a:gdLst/>
              <a:ahLst/>
              <a:cxnLst/>
              <a:rect l="l" t="t" r="r" b="b"/>
              <a:pathLst>
                <a:path w="2742" h="9358" extrusionOk="0">
                  <a:moveTo>
                    <a:pt x="1796" y="789"/>
                  </a:moveTo>
                  <a:cubicBezTo>
                    <a:pt x="1891" y="789"/>
                    <a:pt x="1922" y="852"/>
                    <a:pt x="1922" y="946"/>
                  </a:cubicBezTo>
                  <a:lnTo>
                    <a:pt x="1922" y="1639"/>
                  </a:lnTo>
                  <a:lnTo>
                    <a:pt x="820" y="1639"/>
                  </a:lnTo>
                  <a:lnTo>
                    <a:pt x="820" y="946"/>
                  </a:lnTo>
                  <a:cubicBezTo>
                    <a:pt x="820" y="852"/>
                    <a:pt x="883" y="789"/>
                    <a:pt x="977" y="789"/>
                  </a:cubicBezTo>
                  <a:close/>
                  <a:moveTo>
                    <a:pt x="1922" y="2458"/>
                  </a:moveTo>
                  <a:lnTo>
                    <a:pt x="1922" y="6617"/>
                  </a:lnTo>
                  <a:lnTo>
                    <a:pt x="820" y="6617"/>
                  </a:lnTo>
                  <a:lnTo>
                    <a:pt x="820" y="2458"/>
                  </a:lnTo>
                  <a:close/>
                  <a:moveTo>
                    <a:pt x="1639" y="7436"/>
                  </a:moveTo>
                  <a:lnTo>
                    <a:pt x="1355" y="8035"/>
                  </a:lnTo>
                  <a:lnTo>
                    <a:pt x="1040" y="7436"/>
                  </a:lnTo>
                  <a:close/>
                  <a:moveTo>
                    <a:pt x="977" y="1"/>
                  </a:moveTo>
                  <a:cubicBezTo>
                    <a:pt x="410" y="1"/>
                    <a:pt x="1" y="410"/>
                    <a:pt x="1" y="946"/>
                  </a:cubicBezTo>
                  <a:lnTo>
                    <a:pt x="1" y="6995"/>
                  </a:lnTo>
                  <a:cubicBezTo>
                    <a:pt x="1" y="7090"/>
                    <a:pt x="1" y="7121"/>
                    <a:pt x="32" y="7184"/>
                  </a:cubicBezTo>
                  <a:lnTo>
                    <a:pt x="1009" y="9137"/>
                  </a:lnTo>
                  <a:cubicBezTo>
                    <a:pt x="1103" y="9295"/>
                    <a:pt x="1198" y="9358"/>
                    <a:pt x="1355" y="9358"/>
                  </a:cubicBezTo>
                  <a:cubicBezTo>
                    <a:pt x="1513" y="9358"/>
                    <a:pt x="1670" y="9295"/>
                    <a:pt x="1733" y="9137"/>
                  </a:cubicBezTo>
                  <a:lnTo>
                    <a:pt x="2678" y="7184"/>
                  </a:lnTo>
                  <a:cubicBezTo>
                    <a:pt x="2710" y="7153"/>
                    <a:pt x="2710" y="7090"/>
                    <a:pt x="2710" y="6995"/>
                  </a:cubicBezTo>
                  <a:lnTo>
                    <a:pt x="2710" y="946"/>
                  </a:lnTo>
                  <a:cubicBezTo>
                    <a:pt x="2741" y="410"/>
                    <a:pt x="2300" y="1"/>
                    <a:pt x="1796" y="1"/>
                  </a:cubicBezTo>
                  <a:close/>
                </a:path>
              </a:pathLst>
            </a:custGeom>
            <a:grpFill/>
            <a:ln>
              <a:noFill/>
            </a:ln>
          </p:spPr>
          <p:txBody>
            <a:bodyPr spcFirstLastPara="1" wrap="square" lIns="60950" tIns="60950" rIns="60950" bIns="60950" anchor="ctr" anchorCtr="0">
              <a:noAutofit/>
            </a:bodyPr>
            <a:lstStyle/>
            <a:p>
              <a:endParaRPr sz="1200"/>
            </a:p>
          </p:txBody>
        </p:sp>
      </p:grpSp>
      <p:sp>
        <p:nvSpPr>
          <p:cNvPr id="58" name="Rectangle 57"/>
          <p:cNvSpPr/>
          <p:nvPr/>
        </p:nvSpPr>
        <p:spPr>
          <a:xfrm>
            <a:off x="2373394" y="3924539"/>
            <a:ext cx="7843185" cy="2336800"/>
          </a:xfrm>
          <a:prstGeom prst="rect">
            <a:avLst/>
          </a:prstGeom>
          <a:solidFill>
            <a:schemeClr val="bg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510" indent="-19051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The part of the digital banking initiative the Bank was looking to build new Digital Banking Application.</a:t>
            </a:r>
          </a:p>
          <a:p>
            <a:pPr marL="190510" indent="-19051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Aspire was designated to setup the Azure infrastructure with the security compliances recommended by the bank</a:t>
            </a:r>
          </a:p>
          <a:p>
            <a:pPr marL="190510" indent="-19051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Build the CI/CD pipeline for the digital banking application within a short timeline of 3 months.</a:t>
            </a:r>
          </a:p>
        </p:txBody>
      </p:sp>
    </p:spTree>
    <p:extLst>
      <p:ext uri="{BB962C8B-B14F-4D97-AF65-F5344CB8AC3E}">
        <p14:creationId xmlns:p14="http://schemas.microsoft.com/office/powerpoint/2010/main" val="39349073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ools and Technologies</a:t>
            </a:r>
          </a:p>
        </p:txBody>
      </p:sp>
      <p:graphicFrame>
        <p:nvGraphicFramePr>
          <p:cNvPr id="3" name="Table 3">
            <a:extLst>
              <a:ext uri="{FF2B5EF4-FFF2-40B4-BE49-F238E27FC236}">
                <a16:creationId xmlns:a16="http://schemas.microsoft.com/office/drawing/2014/main" id="{3F9EC4CE-CEF0-4925-B1BD-191871D8460E}"/>
              </a:ext>
            </a:extLst>
          </p:cNvPr>
          <p:cNvGraphicFramePr>
            <a:graphicFrameLocks noGrp="1"/>
          </p:cNvGraphicFramePr>
          <p:nvPr>
            <p:extLst>
              <p:ext uri="{D42A27DB-BD31-4B8C-83A1-F6EECF244321}">
                <p14:modId xmlns:p14="http://schemas.microsoft.com/office/powerpoint/2010/main" val="3205985559"/>
              </p:ext>
            </p:extLst>
          </p:nvPr>
        </p:nvGraphicFramePr>
        <p:xfrm>
          <a:off x="655386" y="1207072"/>
          <a:ext cx="10212594" cy="4943897"/>
        </p:xfrm>
        <a:graphic>
          <a:graphicData uri="http://schemas.openxmlformats.org/drawingml/2006/table">
            <a:tbl>
              <a:tblPr firstRow="1" bandRow="1">
                <a:tableStyleId>{00A15C55-8517-42AA-B614-E9B94910E393}</a:tableStyleId>
              </a:tblPr>
              <a:tblGrid>
                <a:gridCol w="3404198">
                  <a:extLst>
                    <a:ext uri="{9D8B030D-6E8A-4147-A177-3AD203B41FA5}">
                      <a16:colId xmlns:a16="http://schemas.microsoft.com/office/drawing/2014/main" val="255473247"/>
                    </a:ext>
                  </a:extLst>
                </a:gridCol>
                <a:gridCol w="3404198">
                  <a:extLst>
                    <a:ext uri="{9D8B030D-6E8A-4147-A177-3AD203B41FA5}">
                      <a16:colId xmlns:a16="http://schemas.microsoft.com/office/drawing/2014/main" val="2522138796"/>
                    </a:ext>
                  </a:extLst>
                </a:gridCol>
                <a:gridCol w="3404198">
                  <a:extLst>
                    <a:ext uri="{9D8B030D-6E8A-4147-A177-3AD203B41FA5}">
                      <a16:colId xmlns:a16="http://schemas.microsoft.com/office/drawing/2014/main" val="4048095516"/>
                    </a:ext>
                  </a:extLst>
                </a:gridCol>
              </a:tblGrid>
              <a:tr h="323609">
                <a:tc>
                  <a:txBody>
                    <a:bodyPr/>
                    <a:lstStyle/>
                    <a:p>
                      <a:pPr algn="ctr"/>
                      <a:r>
                        <a:rPr lang="en-US"/>
                        <a:t>Tool N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Purpo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t>Resources/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0668248"/>
                  </a:ext>
                </a:extLst>
              </a:tr>
              <a:tr h="323609">
                <a:tc>
                  <a:txBody>
                    <a:bodyPr/>
                    <a:lstStyle/>
                    <a:p>
                      <a:r>
                        <a:rPr lang="en-US"/>
                        <a:t>Azure Sentin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SI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All Azure Security ev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3054005"/>
                  </a:ext>
                </a:extLst>
              </a:tr>
              <a:tr h="776556">
                <a:tc>
                  <a:txBody>
                    <a:bodyPr/>
                    <a:lstStyle/>
                    <a:p>
                      <a:r>
                        <a:rPr lang="en-US"/>
                        <a:t>Azure Defen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Threat protection and Endpoint solu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Azure VM, Key Vault, Storage account and Azure SQ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3069050"/>
                  </a:ext>
                </a:extLst>
              </a:tr>
              <a:tr h="323609">
                <a:tc>
                  <a:txBody>
                    <a:bodyPr/>
                    <a:lstStyle/>
                    <a:p>
                      <a:r>
                        <a:rPr lang="en-US"/>
                        <a:t>Azure Security Cent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Threat Det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All Azure sour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1371608"/>
                  </a:ext>
                </a:extLst>
              </a:tr>
              <a:tr h="544062">
                <a:tc>
                  <a:txBody>
                    <a:bodyPr/>
                    <a:lstStyle/>
                    <a:p>
                      <a:r>
                        <a:rPr lang="en-US"/>
                        <a:t>Azure Polic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Security compliance polic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All Azure resour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8850496"/>
                  </a:ext>
                </a:extLst>
              </a:tr>
              <a:tr h="323609">
                <a:tc>
                  <a:txBody>
                    <a:bodyPr/>
                    <a:lstStyle/>
                    <a:p>
                      <a:r>
                        <a:rPr lang="en-US"/>
                        <a:t>Azure Threat Prot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Threat prot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All Azure resour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05552998"/>
                  </a:ext>
                </a:extLst>
              </a:tr>
              <a:tr h="323609">
                <a:tc>
                  <a:txBody>
                    <a:bodyPr/>
                    <a:lstStyle/>
                    <a:p>
                      <a:r>
                        <a:rPr lang="en-US"/>
                        <a:t>Azure Intu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Data prot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Mobile de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4118055"/>
                  </a:ext>
                </a:extLst>
              </a:tr>
              <a:tr h="323609">
                <a:tc>
                  <a:txBody>
                    <a:bodyPr/>
                    <a:lstStyle/>
                    <a:p>
                      <a:r>
                        <a:rPr lang="en-US"/>
                        <a:t>Azure Monitor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Monitor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All Azure resour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3860258"/>
                  </a:ext>
                </a:extLst>
              </a:tr>
              <a:tr h="323609">
                <a:tc>
                  <a:txBody>
                    <a:bodyPr/>
                    <a:lstStyle/>
                    <a:p>
                      <a:r>
                        <a:rPr lang="en-US"/>
                        <a:t>Palo Alt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VP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Network resour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515351"/>
                  </a:ext>
                </a:extLst>
              </a:tr>
              <a:tr h="550593">
                <a:tc>
                  <a:txBody>
                    <a:bodyPr/>
                    <a:lstStyle/>
                    <a:p>
                      <a:r>
                        <a:rPr lang="en-US"/>
                        <a:t>Azure conditional Ac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Security access restri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Azure portal and 3</a:t>
                      </a:r>
                      <a:r>
                        <a:rPr lang="en-US" baseline="30000"/>
                        <a:t>rd</a:t>
                      </a:r>
                      <a:r>
                        <a:rPr lang="en-US"/>
                        <a:t> party ap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60872967"/>
                  </a:ext>
                </a:extLst>
              </a:tr>
              <a:tr h="550593">
                <a:tc>
                  <a:txBody>
                    <a:bodyPr/>
                    <a:lstStyle/>
                    <a:p>
                      <a:r>
                        <a:rPr lang="en-US"/>
                        <a:t>Qualy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Vulnerability Assess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Azure V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78484551"/>
                  </a:ext>
                </a:extLst>
              </a:tr>
            </a:tbl>
          </a:graphicData>
        </a:graphic>
      </p:graphicFrame>
    </p:spTree>
    <p:extLst>
      <p:ext uri="{BB962C8B-B14F-4D97-AF65-F5344CB8AC3E}">
        <p14:creationId xmlns:p14="http://schemas.microsoft.com/office/powerpoint/2010/main" val="13116610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echnical Highlights and Benefits</a:t>
            </a:r>
          </a:p>
        </p:txBody>
      </p:sp>
      <p:sp>
        <p:nvSpPr>
          <p:cNvPr id="3" name="Trapezoid 2"/>
          <p:cNvSpPr/>
          <p:nvPr/>
        </p:nvSpPr>
        <p:spPr>
          <a:xfrm>
            <a:off x="585057" y="1699709"/>
            <a:ext cx="4999047" cy="1087117"/>
          </a:xfrm>
          <a:prstGeom prst="trapezoid">
            <a:avLst>
              <a:gd name="adj" fmla="val 6978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 name="Trapezoid 3"/>
          <p:cNvSpPr/>
          <p:nvPr/>
        </p:nvSpPr>
        <p:spPr>
          <a:xfrm>
            <a:off x="6397903" y="1699709"/>
            <a:ext cx="4999047" cy="1087117"/>
          </a:xfrm>
          <a:prstGeom prst="trapezoid">
            <a:avLst>
              <a:gd name="adj" fmla="val 697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 name="Round Same Side Corner Rectangle 4"/>
          <p:cNvSpPr/>
          <p:nvPr/>
        </p:nvSpPr>
        <p:spPr>
          <a:xfrm>
            <a:off x="585057" y="1816079"/>
            <a:ext cx="4999047" cy="847414"/>
          </a:xfrm>
          <a:prstGeom prst="round2SameRect">
            <a:avLst/>
          </a:prstGeom>
          <a:solidFill>
            <a:schemeClr val="bg2"/>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a:solidFill>
                  <a:schemeClr val="tx1"/>
                </a:solidFill>
                <a:cs typeface="Arial"/>
              </a:rPr>
              <a:t>Built Azure Security complaint to the following Azure Security Benchmark, ISO 27001,PCI DSS 3.2.1,SOC TSP</a:t>
            </a:r>
          </a:p>
        </p:txBody>
      </p:sp>
      <p:sp>
        <p:nvSpPr>
          <p:cNvPr id="6" name="Round Same Side Corner Rectangle 5"/>
          <p:cNvSpPr/>
          <p:nvPr/>
        </p:nvSpPr>
        <p:spPr>
          <a:xfrm>
            <a:off x="6397902" y="1816079"/>
            <a:ext cx="4999047" cy="847414"/>
          </a:xfrm>
          <a:prstGeom prst="round2SameRect">
            <a:avLst/>
          </a:prstGeom>
          <a:solidFill>
            <a:schemeClr val="bg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solidFill>
                  <a:schemeClr val="tx1"/>
                </a:solidFill>
                <a:cs typeface="Arial"/>
              </a:rPr>
              <a:t>Azure Sentinel implemented for centralized SIEM activity</a:t>
            </a:r>
          </a:p>
        </p:txBody>
      </p:sp>
      <p:sp>
        <p:nvSpPr>
          <p:cNvPr id="7" name="Trapezoid 6"/>
          <p:cNvSpPr/>
          <p:nvPr/>
        </p:nvSpPr>
        <p:spPr>
          <a:xfrm>
            <a:off x="585057" y="2957058"/>
            <a:ext cx="4999047" cy="1087117"/>
          </a:xfrm>
          <a:prstGeom prst="trapezoid">
            <a:avLst>
              <a:gd name="adj" fmla="val 6978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Trapezoid 7"/>
          <p:cNvSpPr/>
          <p:nvPr/>
        </p:nvSpPr>
        <p:spPr>
          <a:xfrm>
            <a:off x="6397903" y="2957058"/>
            <a:ext cx="4999047" cy="1087117"/>
          </a:xfrm>
          <a:prstGeom prst="trapezoid">
            <a:avLst>
              <a:gd name="adj" fmla="val 6978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 name="Round Same Side Corner Rectangle 8"/>
          <p:cNvSpPr/>
          <p:nvPr/>
        </p:nvSpPr>
        <p:spPr>
          <a:xfrm>
            <a:off x="585057" y="3073428"/>
            <a:ext cx="4999047" cy="847414"/>
          </a:xfrm>
          <a:prstGeom prst="round2SameRect">
            <a:avLst/>
          </a:prstGeom>
          <a:solidFill>
            <a:schemeClr val="bg2"/>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solidFill>
                  <a:schemeClr val="tx1"/>
                </a:solidFill>
                <a:cs typeface="Arial"/>
              </a:rPr>
              <a:t>Achieved 99% in Azure security center score</a:t>
            </a:r>
          </a:p>
        </p:txBody>
      </p:sp>
      <p:sp>
        <p:nvSpPr>
          <p:cNvPr id="10" name="Round Same Side Corner Rectangle 9"/>
          <p:cNvSpPr/>
          <p:nvPr/>
        </p:nvSpPr>
        <p:spPr>
          <a:xfrm>
            <a:off x="6397902" y="3073428"/>
            <a:ext cx="4999047" cy="847414"/>
          </a:xfrm>
          <a:prstGeom prst="round2SameRect">
            <a:avLst/>
          </a:prstGeom>
          <a:solidFill>
            <a:schemeClr val="bg2"/>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solidFill>
                  <a:schemeClr val="tx1"/>
                </a:solidFill>
                <a:cs typeface="Arial"/>
              </a:rPr>
              <a:t>Azure AD SSO, MCAS security solution implemented for 3rd party applications​</a:t>
            </a:r>
          </a:p>
        </p:txBody>
      </p:sp>
      <p:sp>
        <p:nvSpPr>
          <p:cNvPr id="11" name="Trapezoid 10"/>
          <p:cNvSpPr/>
          <p:nvPr/>
        </p:nvSpPr>
        <p:spPr>
          <a:xfrm>
            <a:off x="554578" y="4101919"/>
            <a:ext cx="4999047" cy="1087117"/>
          </a:xfrm>
          <a:prstGeom prst="trapezoid">
            <a:avLst>
              <a:gd name="adj" fmla="val 6978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rapezoid 11"/>
          <p:cNvSpPr/>
          <p:nvPr/>
        </p:nvSpPr>
        <p:spPr>
          <a:xfrm>
            <a:off x="6367424" y="4101919"/>
            <a:ext cx="4999047" cy="1087117"/>
          </a:xfrm>
          <a:prstGeom prst="trapezoid">
            <a:avLst>
              <a:gd name="adj" fmla="val 697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Round Same Side Corner Rectangle 12"/>
          <p:cNvSpPr/>
          <p:nvPr/>
        </p:nvSpPr>
        <p:spPr>
          <a:xfrm>
            <a:off x="554578" y="4218289"/>
            <a:ext cx="4999047" cy="847414"/>
          </a:xfrm>
          <a:prstGeom prst="round2SameRect">
            <a:avLst/>
          </a:prstGeom>
          <a:solidFill>
            <a:schemeClr val="bg2"/>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a:solidFill>
                  <a:schemeClr val="tx1"/>
                </a:solidFill>
                <a:cs typeface="Arial"/>
              </a:rPr>
              <a:t>Implemented Intune for device security​</a:t>
            </a:r>
          </a:p>
        </p:txBody>
      </p:sp>
      <p:sp>
        <p:nvSpPr>
          <p:cNvPr id="14" name="Round Same Side Corner Rectangle 13"/>
          <p:cNvSpPr/>
          <p:nvPr/>
        </p:nvSpPr>
        <p:spPr>
          <a:xfrm>
            <a:off x="6367423" y="4218289"/>
            <a:ext cx="4999047" cy="847414"/>
          </a:xfrm>
          <a:prstGeom prst="round2SameRect">
            <a:avLst/>
          </a:prstGeom>
          <a:solidFill>
            <a:schemeClr val="bg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solidFill>
                  <a:schemeClr val="tx1"/>
                </a:solidFill>
                <a:cs typeface="Arial"/>
              </a:rPr>
              <a:t>O365 security compliances implemented working along Bank GISO​ team</a:t>
            </a:r>
          </a:p>
        </p:txBody>
      </p:sp>
      <p:sp>
        <p:nvSpPr>
          <p:cNvPr id="15" name="Trapezoid 14"/>
          <p:cNvSpPr/>
          <p:nvPr/>
        </p:nvSpPr>
        <p:spPr>
          <a:xfrm>
            <a:off x="3964753" y="5359268"/>
            <a:ext cx="4999047" cy="1087117"/>
          </a:xfrm>
          <a:prstGeom prst="trapezoid">
            <a:avLst>
              <a:gd name="adj" fmla="val 6978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 name="Round Same Side Corner Rectangle 16"/>
          <p:cNvSpPr/>
          <p:nvPr/>
        </p:nvSpPr>
        <p:spPr>
          <a:xfrm>
            <a:off x="3964753" y="5475639"/>
            <a:ext cx="4999047" cy="847414"/>
          </a:xfrm>
          <a:prstGeom prst="round2SameRect">
            <a:avLst/>
          </a:prstGeom>
          <a:solidFill>
            <a:schemeClr val="bg2"/>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solidFill>
                  <a:schemeClr val="tx1"/>
                </a:solidFill>
                <a:cs typeface="Arial"/>
              </a:rPr>
              <a:t>Implemented Next-Gen Palo-alto ​</a:t>
            </a:r>
          </a:p>
        </p:txBody>
      </p:sp>
    </p:spTree>
    <p:extLst>
      <p:ext uri="{BB962C8B-B14F-4D97-AF65-F5344CB8AC3E}">
        <p14:creationId xmlns:p14="http://schemas.microsoft.com/office/powerpoint/2010/main" val="39299877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 Same Side Corner Rectangle 36"/>
          <p:cNvSpPr/>
          <p:nvPr/>
        </p:nvSpPr>
        <p:spPr>
          <a:xfrm>
            <a:off x="712188" y="3371952"/>
            <a:ext cx="10767626" cy="3482976"/>
          </a:xfrm>
          <a:prstGeom prst="round2SameRect">
            <a:avLst>
              <a:gd name="adj1" fmla="val 5926"/>
              <a:gd name="adj2" fmla="val 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p:cNvSpPr>
            <a:spLocks noGrp="1"/>
          </p:cNvSpPr>
          <p:nvPr>
            <p:ph type="title"/>
          </p:nvPr>
        </p:nvSpPr>
        <p:spPr>
          <a:xfrm>
            <a:off x="678629" y="396899"/>
            <a:ext cx="10334626" cy="456343"/>
          </a:xfrm>
        </p:spPr>
        <p:txBody>
          <a:bodyPr/>
          <a:lstStyle/>
          <a:p>
            <a:r>
              <a:rPr lang="en-US" sz="2000"/>
              <a:t>SOC Support Offering for a USA Based Billing Solution Provider</a:t>
            </a:r>
          </a:p>
        </p:txBody>
      </p:sp>
      <p:grpSp>
        <p:nvGrpSpPr>
          <p:cNvPr id="11" name="Group 10"/>
          <p:cNvGrpSpPr/>
          <p:nvPr/>
        </p:nvGrpSpPr>
        <p:grpSpPr>
          <a:xfrm>
            <a:off x="407963" y="1178309"/>
            <a:ext cx="3569031" cy="2131280"/>
            <a:chOff x="790768" y="1845557"/>
            <a:chExt cx="5158681" cy="2810331"/>
          </a:xfrm>
        </p:grpSpPr>
        <p:grpSp>
          <p:nvGrpSpPr>
            <p:cNvPr id="3" name="Group 2">
              <a:extLst>
                <a:ext uri="{FF2B5EF4-FFF2-40B4-BE49-F238E27FC236}">
                  <a16:creationId xmlns:a16="http://schemas.microsoft.com/office/drawing/2014/main" id="{40DAFC85-4818-4482-88CF-94B528C345A3}"/>
                </a:ext>
              </a:extLst>
            </p:cNvPr>
            <p:cNvGrpSpPr/>
            <p:nvPr/>
          </p:nvGrpSpPr>
          <p:grpSpPr>
            <a:xfrm>
              <a:off x="790768" y="1932856"/>
              <a:ext cx="5158681" cy="2723032"/>
              <a:chOff x="4349750" y="2705101"/>
              <a:chExt cx="4417014" cy="2331540"/>
            </a:xfrm>
          </p:grpSpPr>
          <p:sp>
            <p:nvSpPr>
              <p:cNvPr id="4" name="Freeform 6">
                <a:extLst>
                  <a:ext uri="{FF2B5EF4-FFF2-40B4-BE49-F238E27FC236}">
                    <a16:creationId xmlns:a16="http://schemas.microsoft.com/office/drawing/2014/main" id="{7A792D7E-5CD3-47FF-A416-1D1456320B37}"/>
                  </a:ext>
                </a:extLst>
              </p:cNvPr>
              <p:cNvSpPr>
                <a:spLocks/>
              </p:cNvSpPr>
              <p:nvPr/>
            </p:nvSpPr>
            <p:spPr bwMode="auto">
              <a:xfrm>
                <a:off x="4525963" y="2719388"/>
                <a:ext cx="495300" cy="698500"/>
              </a:xfrm>
              <a:custGeom>
                <a:avLst/>
                <a:gdLst>
                  <a:gd name="T0" fmla="*/ 312 w 312"/>
                  <a:gd name="T1" fmla="*/ 38 h 440"/>
                  <a:gd name="T2" fmla="*/ 0 w 312"/>
                  <a:gd name="T3" fmla="*/ 0 h 440"/>
                  <a:gd name="T4" fmla="*/ 124 w 312"/>
                  <a:gd name="T5" fmla="*/ 440 h 440"/>
                  <a:gd name="T6" fmla="*/ 293 w 312"/>
                  <a:gd name="T7" fmla="*/ 307 h 440"/>
                  <a:gd name="T8" fmla="*/ 312 w 312"/>
                  <a:gd name="T9" fmla="*/ 38 h 440"/>
                </a:gdLst>
                <a:ahLst/>
                <a:cxnLst>
                  <a:cxn ang="0">
                    <a:pos x="T0" y="T1"/>
                  </a:cxn>
                  <a:cxn ang="0">
                    <a:pos x="T2" y="T3"/>
                  </a:cxn>
                  <a:cxn ang="0">
                    <a:pos x="T4" y="T5"/>
                  </a:cxn>
                  <a:cxn ang="0">
                    <a:pos x="T6" y="T7"/>
                  </a:cxn>
                  <a:cxn ang="0">
                    <a:pos x="T8" y="T9"/>
                  </a:cxn>
                </a:cxnLst>
                <a:rect l="0" t="0" r="r" b="b"/>
                <a:pathLst>
                  <a:path w="312" h="440">
                    <a:moveTo>
                      <a:pt x="312" y="38"/>
                    </a:moveTo>
                    <a:lnTo>
                      <a:pt x="0" y="0"/>
                    </a:lnTo>
                    <a:lnTo>
                      <a:pt x="124" y="440"/>
                    </a:lnTo>
                    <a:lnTo>
                      <a:pt x="293" y="307"/>
                    </a:lnTo>
                    <a:lnTo>
                      <a:pt x="312" y="38"/>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 name="Freeform 7">
                <a:extLst>
                  <a:ext uri="{FF2B5EF4-FFF2-40B4-BE49-F238E27FC236}">
                    <a16:creationId xmlns:a16="http://schemas.microsoft.com/office/drawing/2014/main" id="{0B172320-5970-409E-AC36-20AA0C0761FB}"/>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 name="T8" fmla="*/ 0 w 606"/>
                  <a:gd name="T9" fmla="*/ 259 h 965"/>
                </a:gdLst>
                <a:ahLst/>
                <a:cxnLst>
                  <a:cxn ang="0">
                    <a:pos x="T0" y="T1"/>
                  </a:cxn>
                  <a:cxn ang="0">
                    <a:pos x="T2" y="T3"/>
                  </a:cxn>
                  <a:cxn ang="0">
                    <a:pos x="T4" y="T5"/>
                  </a:cxn>
                  <a:cxn ang="0">
                    <a:pos x="T6" y="T7"/>
                  </a:cxn>
                  <a:cxn ang="0">
                    <a:pos x="T8" y="T9"/>
                  </a:cxn>
                </a:cxnLst>
                <a:rect l="0" t="0" r="r" b="b"/>
                <a:pathLst>
                  <a:path w="606" h="965">
                    <a:moveTo>
                      <a:pt x="0" y="259"/>
                    </a:moveTo>
                    <a:lnTo>
                      <a:pt x="423" y="0"/>
                    </a:lnTo>
                    <a:lnTo>
                      <a:pt x="606" y="727"/>
                    </a:lnTo>
                    <a:lnTo>
                      <a:pt x="230" y="965"/>
                    </a:lnTo>
                    <a:lnTo>
                      <a:pt x="0" y="259"/>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6" name="Freeform 8">
                <a:extLst>
                  <a:ext uri="{FF2B5EF4-FFF2-40B4-BE49-F238E27FC236}">
                    <a16:creationId xmlns:a16="http://schemas.microsoft.com/office/drawing/2014/main" id="{AD033240-C1B8-491A-A42F-CE92C7B857EF}"/>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Lst>
                <a:ahLst/>
                <a:cxnLst>
                  <a:cxn ang="0">
                    <a:pos x="T0" y="T1"/>
                  </a:cxn>
                  <a:cxn ang="0">
                    <a:pos x="T2" y="T3"/>
                  </a:cxn>
                  <a:cxn ang="0">
                    <a:pos x="T4" y="T5"/>
                  </a:cxn>
                  <a:cxn ang="0">
                    <a:pos x="T6" y="T7"/>
                  </a:cxn>
                </a:cxnLst>
                <a:rect l="0" t="0" r="r" b="b"/>
                <a:pathLst>
                  <a:path w="606" h="965">
                    <a:moveTo>
                      <a:pt x="0" y="259"/>
                    </a:moveTo>
                    <a:lnTo>
                      <a:pt x="423" y="0"/>
                    </a:lnTo>
                    <a:lnTo>
                      <a:pt x="606" y="727"/>
                    </a:lnTo>
                    <a:lnTo>
                      <a:pt x="230" y="9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7" name="Freeform 9">
                <a:extLst>
                  <a:ext uri="{FF2B5EF4-FFF2-40B4-BE49-F238E27FC236}">
                    <a16:creationId xmlns:a16="http://schemas.microsoft.com/office/drawing/2014/main" id="{CF9B586F-B6F0-4672-BD10-26E233D3A39B}"/>
                  </a:ext>
                </a:extLst>
              </p:cNvPr>
              <p:cNvSpPr>
                <a:spLocks/>
              </p:cNvSpPr>
              <p:nvPr/>
            </p:nvSpPr>
            <p:spPr bwMode="auto">
              <a:xfrm>
                <a:off x="4349750" y="2705101"/>
                <a:ext cx="4417014" cy="2331540"/>
              </a:xfrm>
              <a:custGeom>
                <a:avLst/>
                <a:gdLst>
                  <a:gd name="T0" fmla="*/ 0 w 2341"/>
                  <a:gd name="T1" fmla="*/ 306 h 1033"/>
                  <a:gd name="T2" fmla="*/ 230 w 2341"/>
                  <a:gd name="T3" fmla="*/ 1012 h 1033"/>
                  <a:gd name="T4" fmla="*/ 2086 w 2341"/>
                  <a:gd name="T5" fmla="*/ 1033 h 1033"/>
                  <a:gd name="T6" fmla="*/ 2341 w 2341"/>
                  <a:gd name="T7" fmla="*/ 0 h 1033"/>
                  <a:gd name="T8" fmla="*/ 0 w 2341"/>
                  <a:gd name="T9" fmla="*/ 306 h 1033"/>
                  <a:gd name="connsiteX0" fmla="*/ 0 w 10000"/>
                  <a:gd name="connsiteY0" fmla="*/ 2962 h 10000"/>
                  <a:gd name="connsiteX1" fmla="*/ 831 w 10000"/>
                  <a:gd name="connsiteY1" fmla="*/ 9768 h 10000"/>
                  <a:gd name="connsiteX2" fmla="*/ 8911 w 10000"/>
                  <a:gd name="connsiteY2" fmla="*/ 10000 h 10000"/>
                  <a:gd name="connsiteX3" fmla="*/ 10000 w 10000"/>
                  <a:gd name="connsiteY3" fmla="*/ 0 h 10000"/>
                  <a:gd name="connsiteX4" fmla="*/ 0 w 10000"/>
                  <a:gd name="connsiteY4" fmla="*/ 296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2962"/>
                    </a:moveTo>
                    <a:lnTo>
                      <a:pt x="831" y="9768"/>
                    </a:lnTo>
                    <a:lnTo>
                      <a:pt x="8911" y="10000"/>
                    </a:lnTo>
                    <a:lnTo>
                      <a:pt x="10000" y="0"/>
                    </a:lnTo>
                    <a:lnTo>
                      <a:pt x="0" y="296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8" name="Rectangle 7"/>
            <p:cNvSpPr/>
            <p:nvPr/>
          </p:nvSpPr>
          <p:spPr>
            <a:xfrm>
              <a:off x="1163384" y="2875564"/>
              <a:ext cx="4367544" cy="1095762"/>
            </a:xfrm>
            <a:prstGeom prst="rect">
              <a:avLst/>
            </a:prstGeom>
          </p:spPr>
          <p:txBody>
            <a:bodyPr wrap="square">
              <a:spAutoFit/>
            </a:bodyPr>
            <a:lstStyle/>
            <a:p>
              <a:pPr>
                <a:buClr>
                  <a:srgbClr val="7030A0"/>
                </a:buClr>
                <a:defRPr/>
              </a:pPr>
              <a:r>
                <a:rPr lang="en-US" sz="1200" b="1">
                  <a:solidFill>
                    <a:schemeClr val="bg2"/>
                  </a:solidFill>
                  <a:latin typeface="Calibri" panose="020F0502020204030204" pitchFamily="34" charset="0"/>
                  <a:cs typeface="Calibri" panose="020F0502020204030204" pitchFamily="34" charset="0"/>
                </a:rPr>
                <a:t>Our customer offers cloud-based monetization platform removes billing bottlenecks to allow companies to quickly launch and evolve their offerings</a:t>
              </a:r>
              <a:endParaRPr lang="en-US" sz="1200">
                <a:solidFill>
                  <a:schemeClr val="bg2"/>
                </a:solidFill>
                <a:latin typeface="Calibri" panose="020F0502020204030204" pitchFamily="34" charset="0"/>
                <a:cs typeface="Calibri" panose="020F0502020204030204" pitchFamily="34" charset="0"/>
              </a:endParaRPr>
            </a:p>
          </p:txBody>
        </p:sp>
        <p:sp>
          <p:nvSpPr>
            <p:cNvPr id="9" name="Rectangle 8"/>
            <p:cNvSpPr/>
            <p:nvPr/>
          </p:nvSpPr>
          <p:spPr>
            <a:xfrm rot="21229639">
              <a:off x="1640747" y="1845557"/>
              <a:ext cx="1583031" cy="477150"/>
            </a:xfrm>
            <a:prstGeom prst="rect">
              <a:avLst/>
            </a:prstGeom>
          </p:spPr>
          <p:txBody>
            <a:bodyPr wrap="none">
              <a:spAutoFit/>
            </a:bodyPr>
            <a:lstStyle/>
            <a:p>
              <a:r>
                <a:rPr lang="en-US" sz="1467" b="1">
                  <a:solidFill>
                    <a:schemeClr val="accent2">
                      <a:lumMod val="75000"/>
                    </a:schemeClr>
                  </a:solidFill>
                  <a:latin typeface="+mj-lt"/>
                  <a:cs typeface="Calibri" pitchFamily="34" charset="0"/>
                </a:rPr>
                <a:t>Customer: </a:t>
              </a:r>
              <a:endParaRPr lang="en-US" sz="1467">
                <a:solidFill>
                  <a:schemeClr val="accent2">
                    <a:lumMod val="75000"/>
                  </a:schemeClr>
                </a:solidFill>
                <a:latin typeface="+mj-lt"/>
              </a:endParaRPr>
            </a:p>
          </p:txBody>
        </p:sp>
      </p:grpSp>
      <p:grpSp>
        <p:nvGrpSpPr>
          <p:cNvPr id="12" name="Group 11"/>
          <p:cNvGrpSpPr/>
          <p:nvPr/>
        </p:nvGrpSpPr>
        <p:grpSpPr>
          <a:xfrm>
            <a:off x="4393326" y="1410038"/>
            <a:ext cx="3442655" cy="1367113"/>
            <a:chOff x="790768" y="1797431"/>
            <a:chExt cx="5163982" cy="2050669"/>
          </a:xfrm>
        </p:grpSpPr>
        <p:grpSp>
          <p:nvGrpSpPr>
            <p:cNvPr id="13" name="Group 12">
              <a:extLst>
                <a:ext uri="{FF2B5EF4-FFF2-40B4-BE49-F238E27FC236}">
                  <a16:creationId xmlns:a16="http://schemas.microsoft.com/office/drawing/2014/main" id="{40DAFC85-4818-4482-88CF-94B528C345A3}"/>
                </a:ext>
              </a:extLst>
            </p:cNvPr>
            <p:cNvGrpSpPr/>
            <p:nvPr/>
          </p:nvGrpSpPr>
          <p:grpSpPr>
            <a:xfrm>
              <a:off x="790768" y="1932856"/>
              <a:ext cx="5163982" cy="1915244"/>
              <a:chOff x="4349750" y="2705101"/>
              <a:chExt cx="4421553" cy="1639888"/>
            </a:xfrm>
          </p:grpSpPr>
          <p:sp>
            <p:nvSpPr>
              <p:cNvPr id="16" name="Freeform 6">
                <a:extLst>
                  <a:ext uri="{FF2B5EF4-FFF2-40B4-BE49-F238E27FC236}">
                    <a16:creationId xmlns:a16="http://schemas.microsoft.com/office/drawing/2014/main" id="{7A792D7E-5CD3-47FF-A416-1D1456320B37}"/>
                  </a:ext>
                </a:extLst>
              </p:cNvPr>
              <p:cNvSpPr>
                <a:spLocks/>
              </p:cNvSpPr>
              <p:nvPr/>
            </p:nvSpPr>
            <p:spPr bwMode="auto">
              <a:xfrm>
                <a:off x="4525963" y="2719388"/>
                <a:ext cx="495300" cy="698500"/>
              </a:xfrm>
              <a:custGeom>
                <a:avLst/>
                <a:gdLst>
                  <a:gd name="T0" fmla="*/ 312 w 312"/>
                  <a:gd name="T1" fmla="*/ 38 h 440"/>
                  <a:gd name="T2" fmla="*/ 0 w 312"/>
                  <a:gd name="T3" fmla="*/ 0 h 440"/>
                  <a:gd name="T4" fmla="*/ 124 w 312"/>
                  <a:gd name="T5" fmla="*/ 440 h 440"/>
                  <a:gd name="T6" fmla="*/ 293 w 312"/>
                  <a:gd name="T7" fmla="*/ 307 h 440"/>
                  <a:gd name="T8" fmla="*/ 312 w 312"/>
                  <a:gd name="T9" fmla="*/ 38 h 440"/>
                </a:gdLst>
                <a:ahLst/>
                <a:cxnLst>
                  <a:cxn ang="0">
                    <a:pos x="T0" y="T1"/>
                  </a:cxn>
                  <a:cxn ang="0">
                    <a:pos x="T2" y="T3"/>
                  </a:cxn>
                  <a:cxn ang="0">
                    <a:pos x="T4" y="T5"/>
                  </a:cxn>
                  <a:cxn ang="0">
                    <a:pos x="T6" y="T7"/>
                  </a:cxn>
                  <a:cxn ang="0">
                    <a:pos x="T8" y="T9"/>
                  </a:cxn>
                </a:cxnLst>
                <a:rect l="0" t="0" r="r" b="b"/>
                <a:pathLst>
                  <a:path w="312" h="440">
                    <a:moveTo>
                      <a:pt x="312" y="38"/>
                    </a:moveTo>
                    <a:lnTo>
                      <a:pt x="0" y="0"/>
                    </a:lnTo>
                    <a:lnTo>
                      <a:pt x="124" y="440"/>
                    </a:lnTo>
                    <a:lnTo>
                      <a:pt x="293" y="307"/>
                    </a:lnTo>
                    <a:lnTo>
                      <a:pt x="312" y="38"/>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7" name="Freeform 7">
                <a:extLst>
                  <a:ext uri="{FF2B5EF4-FFF2-40B4-BE49-F238E27FC236}">
                    <a16:creationId xmlns:a16="http://schemas.microsoft.com/office/drawing/2014/main" id="{0B172320-5970-409E-AC36-20AA0C0761FB}"/>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 name="T8" fmla="*/ 0 w 606"/>
                  <a:gd name="T9" fmla="*/ 259 h 965"/>
                </a:gdLst>
                <a:ahLst/>
                <a:cxnLst>
                  <a:cxn ang="0">
                    <a:pos x="T0" y="T1"/>
                  </a:cxn>
                  <a:cxn ang="0">
                    <a:pos x="T2" y="T3"/>
                  </a:cxn>
                  <a:cxn ang="0">
                    <a:pos x="T4" y="T5"/>
                  </a:cxn>
                  <a:cxn ang="0">
                    <a:pos x="T6" y="T7"/>
                  </a:cxn>
                  <a:cxn ang="0">
                    <a:pos x="T8" y="T9"/>
                  </a:cxn>
                </a:cxnLst>
                <a:rect l="0" t="0" r="r" b="b"/>
                <a:pathLst>
                  <a:path w="606" h="965">
                    <a:moveTo>
                      <a:pt x="0" y="259"/>
                    </a:moveTo>
                    <a:lnTo>
                      <a:pt x="423" y="0"/>
                    </a:lnTo>
                    <a:lnTo>
                      <a:pt x="606" y="727"/>
                    </a:lnTo>
                    <a:lnTo>
                      <a:pt x="230" y="965"/>
                    </a:lnTo>
                    <a:lnTo>
                      <a:pt x="0" y="259"/>
                    </a:ln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8" name="Freeform 8">
                <a:extLst>
                  <a:ext uri="{FF2B5EF4-FFF2-40B4-BE49-F238E27FC236}">
                    <a16:creationId xmlns:a16="http://schemas.microsoft.com/office/drawing/2014/main" id="{AD033240-C1B8-491A-A42F-CE92C7B857EF}"/>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Lst>
                <a:ahLst/>
                <a:cxnLst>
                  <a:cxn ang="0">
                    <a:pos x="T0" y="T1"/>
                  </a:cxn>
                  <a:cxn ang="0">
                    <a:pos x="T2" y="T3"/>
                  </a:cxn>
                  <a:cxn ang="0">
                    <a:pos x="T4" y="T5"/>
                  </a:cxn>
                  <a:cxn ang="0">
                    <a:pos x="T6" y="T7"/>
                  </a:cxn>
                </a:cxnLst>
                <a:rect l="0" t="0" r="r" b="b"/>
                <a:pathLst>
                  <a:path w="606" h="965">
                    <a:moveTo>
                      <a:pt x="0" y="259"/>
                    </a:moveTo>
                    <a:lnTo>
                      <a:pt x="423" y="0"/>
                    </a:lnTo>
                    <a:lnTo>
                      <a:pt x="606" y="727"/>
                    </a:lnTo>
                    <a:lnTo>
                      <a:pt x="230" y="9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9" name="Freeform 9">
                <a:extLst>
                  <a:ext uri="{FF2B5EF4-FFF2-40B4-BE49-F238E27FC236}">
                    <a16:creationId xmlns:a16="http://schemas.microsoft.com/office/drawing/2014/main" id="{CF9B586F-B6F0-4672-BD10-26E233D3A39B}"/>
                  </a:ext>
                </a:extLst>
              </p:cNvPr>
              <p:cNvSpPr>
                <a:spLocks/>
              </p:cNvSpPr>
              <p:nvPr/>
            </p:nvSpPr>
            <p:spPr bwMode="auto">
              <a:xfrm>
                <a:off x="4349750" y="2705101"/>
                <a:ext cx="4421553" cy="1639888"/>
              </a:xfrm>
              <a:custGeom>
                <a:avLst/>
                <a:gdLst>
                  <a:gd name="T0" fmla="*/ 0 w 2341"/>
                  <a:gd name="T1" fmla="*/ 306 h 1033"/>
                  <a:gd name="T2" fmla="*/ 230 w 2341"/>
                  <a:gd name="T3" fmla="*/ 1012 h 1033"/>
                  <a:gd name="T4" fmla="*/ 2086 w 2341"/>
                  <a:gd name="T5" fmla="*/ 1033 h 1033"/>
                  <a:gd name="T6" fmla="*/ 2341 w 2341"/>
                  <a:gd name="T7" fmla="*/ 0 h 1033"/>
                  <a:gd name="T8" fmla="*/ 0 w 2341"/>
                  <a:gd name="T9" fmla="*/ 306 h 1033"/>
                  <a:gd name="connsiteX0" fmla="*/ 0 w 10000"/>
                  <a:gd name="connsiteY0" fmla="*/ 2962 h 10000"/>
                  <a:gd name="connsiteX1" fmla="*/ 831 w 10000"/>
                  <a:gd name="connsiteY1" fmla="*/ 9768 h 10000"/>
                  <a:gd name="connsiteX2" fmla="*/ 8911 w 10000"/>
                  <a:gd name="connsiteY2" fmla="*/ 10000 h 10000"/>
                  <a:gd name="connsiteX3" fmla="*/ 10000 w 10000"/>
                  <a:gd name="connsiteY3" fmla="*/ 0 h 10000"/>
                  <a:gd name="connsiteX4" fmla="*/ 0 w 10000"/>
                  <a:gd name="connsiteY4" fmla="*/ 296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2962"/>
                    </a:moveTo>
                    <a:lnTo>
                      <a:pt x="831" y="9768"/>
                    </a:lnTo>
                    <a:lnTo>
                      <a:pt x="8911" y="10000"/>
                    </a:lnTo>
                    <a:lnTo>
                      <a:pt x="10000" y="0"/>
                    </a:lnTo>
                    <a:lnTo>
                      <a:pt x="0" y="296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14" name="Rectangle 13"/>
            <p:cNvSpPr/>
            <p:nvPr/>
          </p:nvSpPr>
          <p:spPr>
            <a:xfrm>
              <a:off x="1536935" y="2815011"/>
              <a:ext cx="3587515" cy="446181"/>
            </a:xfrm>
            <a:prstGeom prst="rect">
              <a:avLst/>
            </a:prstGeom>
          </p:spPr>
          <p:txBody>
            <a:bodyPr wrap="square">
              <a:spAutoFit/>
            </a:bodyPr>
            <a:lstStyle/>
            <a:p>
              <a:pPr>
                <a:buClr>
                  <a:srgbClr val="7030A0"/>
                </a:buClr>
                <a:defRPr/>
              </a:pPr>
              <a:r>
                <a:rPr lang="en-US" sz="1333" b="1">
                  <a:solidFill>
                    <a:schemeClr val="bg2"/>
                  </a:solidFill>
                  <a:latin typeface="+mj-lt"/>
                  <a:cs typeface="Calibri" pitchFamily="34" charset="0"/>
                </a:rPr>
                <a:t>Billing Solution Provider (ISV)</a:t>
              </a:r>
            </a:p>
          </p:txBody>
        </p:sp>
        <p:sp>
          <p:nvSpPr>
            <p:cNvPr id="15" name="Rectangle 14"/>
            <p:cNvSpPr/>
            <p:nvPr/>
          </p:nvSpPr>
          <p:spPr>
            <a:xfrm rot="21229639">
              <a:off x="1716181" y="1797431"/>
              <a:ext cx="2234265" cy="477150"/>
            </a:xfrm>
            <a:prstGeom prst="rect">
              <a:avLst/>
            </a:prstGeom>
          </p:spPr>
          <p:txBody>
            <a:bodyPr wrap="none">
              <a:spAutoFit/>
            </a:bodyPr>
            <a:lstStyle/>
            <a:p>
              <a:r>
                <a:rPr lang="en-US" sz="1467" b="1">
                  <a:solidFill>
                    <a:schemeClr val="accent5"/>
                  </a:solidFill>
                  <a:latin typeface="+mj-lt"/>
                  <a:cs typeface="Calibri" pitchFamily="34" charset="0"/>
                </a:rPr>
                <a:t>Business Model: </a:t>
              </a:r>
              <a:endParaRPr lang="en-US" sz="1467">
                <a:solidFill>
                  <a:schemeClr val="accent5"/>
                </a:solidFill>
                <a:latin typeface="+mj-lt"/>
              </a:endParaRPr>
            </a:p>
          </p:txBody>
        </p:sp>
      </p:grpSp>
      <p:grpSp>
        <p:nvGrpSpPr>
          <p:cNvPr id="20" name="Group 19"/>
          <p:cNvGrpSpPr/>
          <p:nvPr/>
        </p:nvGrpSpPr>
        <p:grpSpPr>
          <a:xfrm>
            <a:off x="8248779" y="1442122"/>
            <a:ext cx="3442655" cy="1335029"/>
            <a:chOff x="790768" y="1845557"/>
            <a:chExt cx="5163982" cy="2002543"/>
          </a:xfrm>
        </p:grpSpPr>
        <p:grpSp>
          <p:nvGrpSpPr>
            <p:cNvPr id="21" name="Group 20">
              <a:extLst>
                <a:ext uri="{FF2B5EF4-FFF2-40B4-BE49-F238E27FC236}">
                  <a16:creationId xmlns:a16="http://schemas.microsoft.com/office/drawing/2014/main" id="{40DAFC85-4818-4482-88CF-94B528C345A3}"/>
                </a:ext>
              </a:extLst>
            </p:cNvPr>
            <p:cNvGrpSpPr/>
            <p:nvPr/>
          </p:nvGrpSpPr>
          <p:grpSpPr>
            <a:xfrm>
              <a:off x="790768" y="1932856"/>
              <a:ext cx="5163982" cy="1915244"/>
              <a:chOff x="4349750" y="2705101"/>
              <a:chExt cx="4421553" cy="1639888"/>
            </a:xfrm>
          </p:grpSpPr>
          <p:sp>
            <p:nvSpPr>
              <p:cNvPr id="24" name="Freeform 6">
                <a:extLst>
                  <a:ext uri="{FF2B5EF4-FFF2-40B4-BE49-F238E27FC236}">
                    <a16:creationId xmlns:a16="http://schemas.microsoft.com/office/drawing/2014/main" id="{7A792D7E-5CD3-47FF-A416-1D1456320B37}"/>
                  </a:ext>
                </a:extLst>
              </p:cNvPr>
              <p:cNvSpPr>
                <a:spLocks/>
              </p:cNvSpPr>
              <p:nvPr/>
            </p:nvSpPr>
            <p:spPr bwMode="auto">
              <a:xfrm>
                <a:off x="4525963" y="2719388"/>
                <a:ext cx="495300" cy="698500"/>
              </a:xfrm>
              <a:custGeom>
                <a:avLst/>
                <a:gdLst>
                  <a:gd name="T0" fmla="*/ 312 w 312"/>
                  <a:gd name="T1" fmla="*/ 38 h 440"/>
                  <a:gd name="T2" fmla="*/ 0 w 312"/>
                  <a:gd name="T3" fmla="*/ 0 h 440"/>
                  <a:gd name="T4" fmla="*/ 124 w 312"/>
                  <a:gd name="T5" fmla="*/ 440 h 440"/>
                  <a:gd name="T6" fmla="*/ 293 w 312"/>
                  <a:gd name="T7" fmla="*/ 307 h 440"/>
                  <a:gd name="T8" fmla="*/ 312 w 312"/>
                  <a:gd name="T9" fmla="*/ 38 h 440"/>
                </a:gdLst>
                <a:ahLst/>
                <a:cxnLst>
                  <a:cxn ang="0">
                    <a:pos x="T0" y="T1"/>
                  </a:cxn>
                  <a:cxn ang="0">
                    <a:pos x="T2" y="T3"/>
                  </a:cxn>
                  <a:cxn ang="0">
                    <a:pos x="T4" y="T5"/>
                  </a:cxn>
                  <a:cxn ang="0">
                    <a:pos x="T6" y="T7"/>
                  </a:cxn>
                  <a:cxn ang="0">
                    <a:pos x="T8" y="T9"/>
                  </a:cxn>
                </a:cxnLst>
                <a:rect l="0" t="0" r="r" b="b"/>
                <a:pathLst>
                  <a:path w="312" h="440">
                    <a:moveTo>
                      <a:pt x="312" y="38"/>
                    </a:moveTo>
                    <a:lnTo>
                      <a:pt x="0" y="0"/>
                    </a:lnTo>
                    <a:lnTo>
                      <a:pt x="124" y="440"/>
                    </a:lnTo>
                    <a:lnTo>
                      <a:pt x="293" y="307"/>
                    </a:lnTo>
                    <a:lnTo>
                      <a:pt x="312" y="38"/>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25" name="Freeform 7">
                <a:extLst>
                  <a:ext uri="{FF2B5EF4-FFF2-40B4-BE49-F238E27FC236}">
                    <a16:creationId xmlns:a16="http://schemas.microsoft.com/office/drawing/2014/main" id="{0B172320-5970-409E-AC36-20AA0C0761FB}"/>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 name="T8" fmla="*/ 0 w 606"/>
                  <a:gd name="T9" fmla="*/ 259 h 965"/>
                </a:gdLst>
                <a:ahLst/>
                <a:cxnLst>
                  <a:cxn ang="0">
                    <a:pos x="T0" y="T1"/>
                  </a:cxn>
                  <a:cxn ang="0">
                    <a:pos x="T2" y="T3"/>
                  </a:cxn>
                  <a:cxn ang="0">
                    <a:pos x="T4" y="T5"/>
                  </a:cxn>
                  <a:cxn ang="0">
                    <a:pos x="T6" y="T7"/>
                  </a:cxn>
                  <a:cxn ang="0">
                    <a:pos x="T8" y="T9"/>
                  </a:cxn>
                </a:cxnLst>
                <a:rect l="0" t="0" r="r" b="b"/>
                <a:pathLst>
                  <a:path w="606" h="965">
                    <a:moveTo>
                      <a:pt x="0" y="259"/>
                    </a:moveTo>
                    <a:lnTo>
                      <a:pt x="423" y="0"/>
                    </a:lnTo>
                    <a:lnTo>
                      <a:pt x="606" y="727"/>
                    </a:lnTo>
                    <a:lnTo>
                      <a:pt x="230" y="965"/>
                    </a:lnTo>
                    <a:lnTo>
                      <a:pt x="0" y="259"/>
                    </a:lnTo>
                    <a:close/>
                  </a:path>
                </a:pathLst>
              </a:custGeom>
              <a:solidFill>
                <a:schemeClr val="accent3">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26" name="Freeform 8">
                <a:extLst>
                  <a:ext uri="{FF2B5EF4-FFF2-40B4-BE49-F238E27FC236}">
                    <a16:creationId xmlns:a16="http://schemas.microsoft.com/office/drawing/2014/main" id="{AD033240-C1B8-491A-A42F-CE92C7B857EF}"/>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Lst>
                <a:ahLst/>
                <a:cxnLst>
                  <a:cxn ang="0">
                    <a:pos x="T0" y="T1"/>
                  </a:cxn>
                  <a:cxn ang="0">
                    <a:pos x="T2" y="T3"/>
                  </a:cxn>
                  <a:cxn ang="0">
                    <a:pos x="T4" y="T5"/>
                  </a:cxn>
                  <a:cxn ang="0">
                    <a:pos x="T6" y="T7"/>
                  </a:cxn>
                </a:cxnLst>
                <a:rect l="0" t="0" r="r" b="b"/>
                <a:pathLst>
                  <a:path w="606" h="965">
                    <a:moveTo>
                      <a:pt x="0" y="259"/>
                    </a:moveTo>
                    <a:lnTo>
                      <a:pt x="423" y="0"/>
                    </a:lnTo>
                    <a:lnTo>
                      <a:pt x="606" y="727"/>
                    </a:lnTo>
                    <a:lnTo>
                      <a:pt x="230" y="9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27" name="Freeform 9">
                <a:extLst>
                  <a:ext uri="{FF2B5EF4-FFF2-40B4-BE49-F238E27FC236}">
                    <a16:creationId xmlns:a16="http://schemas.microsoft.com/office/drawing/2014/main" id="{CF9B586F-B6F0-4672-BD10-26E233D3A39B}"/>
                  </a:ext>
                </a:extLst>
              </p:cNvPr>
              <p:cNvSpPr>
                <a:spLocks/>
              </p:cNvSpPr>
              <p:nvPr/>
            </p:nvSpPr>
            <p:spPr bwMode="auto">
              <a:xfrm>
                <a:off x="4349750" y="2705101"/>
                <a:ext cx="4421553" cy="1639888"/>
              </a:xfrm>
              <a:custGeom>
                <a:avLst/>
                <a:gdLst>
                  <a:gd name="T0" fmla="*/ 0 w 2341"/>
                  <a:gd name="T1" fmla="*/ 306 h 1033"/>
                  <a:gd name="T2" fmla="*/ 230 w 2341"/>
                  <a:gd name="T3" fmla="*/ 1012 h 1033"/>
                  <a:gd name="T4" fmla="*/ 2086 w 2341"/>
                  <a:gd name="T5" fmla="*/ 1033 h 1033"/>
                  <a:gd name="T6" fmla="*/ 2341 w 2341"/>
                  <a:gd name="T7" fmla="*/ 0 h 1033"/>
                  <a:gd name="T8" fmla="*/ 0 w 2341"/>
                  <a:gd name="T9" fmla="*/ 306 h 1033"/>
                  <a:gd name="connsiteX0" fmla="*/ 0 w 10000"/>
                  <a:gd name="connsiteY0" fmla="*/ 2962 h 10000"/>
                  <a:gd name="connsiteX1" fmla="*/ 831 w 10000"/>
                  <a:gd name="connsiteY1" fmla="*/ 9768 h 10000"/>
                  <a:gd name="connsiteX2" fmla="*/ 8911 w 10000"/>
                  <a:gd name="connsiteY2" fmla="*/ 10000 h 10000"/>
                  <a:gd name="connsiteX3" fmla="*/ 10000 w 10000"/>
                  <a:gd name="connsiteY3" fmla="*/ 0 h 10000"/>
                  <a:gd name="connsiteX4" fmla="*/ 0 w 10000"/>
                  <a:gd name="connsiteY4" fmla="*/ 296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2962"/>
                    </a:moveTo>
                    <a:lnTo>
                      <a:pt x="831" y="9768"/>
                    </a:lnTo>
                    <a:lnTo>
                      <a:pt x="8911" y="10000"/>
                    </a:lnTo>
                    <a:lnTo>
                      <a:pt x="10000" y="0"/>
                    </a:lnTo>
                    <a:lnTo>
                      <a:pt x="0" y="296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22" name="Rectangle 21"/>
            <p:cNvSpPr/>
            <p:nvPr/>
          </p:nvSpPr>
          <p:spPr>
            <a:xfrm>
              <a:off x="1536935" y="2863137"/>
              <a:ext cx="3587515" cy="446181"/>
            </a:xfrm>
            <a:prstGeom prst="rect">
              <a:avLst/>
            </a:prstGeom>
          </p:spPr>
          <p:txBody>
            <a:bodyPr wrap="square">
              <a:spAutoFit/>
            </a:bodyPr>
            <a:lstStyle/>
            <a:p>
              <a:pPr>
                <a:buClr>
                  <a:srgbClr val="7030A0"/>
                </a:buClr>
                <a:defRPr/>
              </a:pPr>
              <a:r>
                <a:rPr lang="en-US" sz="1333">
                  <a:solidFill>
                    <a:schemeClr val="bg2"/>
                  </a:solidFill>
                  <a:latin typeface="+mj-lt"/>
                  <a:cs typeface="Calibri" pitchFamily="34" charset="0"/>
                </a:rPr>
                <a:t>USD 30 Million and above</a:t>
              </a:r>
            </a:p>
          </p:txBody>
        </p:sp>
        <p:sp>
          <p:nvSpPr>
            <p:cNvPr id="23" name="Rectangle 22"/>
            <p:cNvSpPr/>
            <p:nvPr/>
          </p:nvSpPr>
          <p:spPr>
            <a:xfrm rot="21229639">
              <a:off x="1717885" y="1845557"/>
              <a:ext cx="1428757" cy="477150"/>
            </a:xfrm>
            <a:prstGeom prst="rect">
              <a:avLst/>
            </a:prstGeom>
          </p:spPr>
          <p:txBody>
            <a:bodyPr wrap="none">
              <a:spAutoFit/>
            </a:bodyPr>
            <a:lstStyle/>
            <a:p>
              <a:r>
                <a:rPr lang="en-US" sz="1467" b="1">
                  <a:solidFill>
                    <a:schemeClr val="accent3"/>
                  </a:solidFill>
                  <a:latin typeface="+mj-lt"/>
                  <a:cs typeface="Calibri" pitchFamily="34" charset="0"/>
                </a:rPr>
                <a:t>Revenue :</a:t>
              </a:r>
              <a:endParaRPr lang="en-US" sz="1467">
                <a:solidFill>
                  <a:schemeClr val="accent3"/>
                </a:solidFill>
                <a:latin typeface="+mj-lt"/>
              </a:endParaRPr>
            </a:p>
          </p:txBody>
        </p:sp>
      </p:grpSp>
      <p:sp>
        <p:nvSpPr>
          <p:cNvPr id="30" name="Rectangle 29"/>
          <p:cNvSpPr/>
          <p:nvPr/>
        </p:nvSpPr>
        <p:spPr>
          <a:xfrm>
            <a:off x="1824308" y="3947189"/>
            <a:ext cx="8580690" cy="2336800"/>
          </a:xfrm>
          <a:prstGeom prst="rect">
            <a:avLst/>
          </a:prstGeom>
          <a:solidFill>
            <a:schemeClr val="bg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510" indent="-19051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No centralized monitoring for security operations. </a:t>
            </a:r>
          </a:p>
          <a:p>
            <a:pPr marL="190510" indent="-19051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Rules and policies were defined in each individual security tools like firewall, endpoint security, Proxy, email gateway etc.</a:t>
            </a:r>
          </a:p>
          <a:p>
            <a:pPr marL="190510" indent="-19051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Handle / track the immense volume of alerts triggered in each individual tools.  </a:t>
            </a:r>
          </a:p>
          <a:p>
            <a:pPr marL="190510" indent="-19051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Issues in complaints to various Security standards.</a:t>
            </a:r>
          </a:p>
          <a:p>
            <a:pPr marL="190510" lvl="0" indent="-19051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Striving to  defend sensitive data of the customer, enforce compliance  and to prevent security breaches / attacks</a:t>
            </a:r>
            <a:endParaRPr lang="en-IN" sz="1200">
              <a:solidFill>
                <a:schemeClr val="tx1"/>
              </a:solidFill>
              <a:cs typeface="Calibri" pitchFamily="34" charset="0"/>
            </a:endParaRPr>
          </a:p>
          <a:p>
            <a:pPr marL="190510" indent="-19051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 Needed a team to implement SIEM and other tools and leveraging machine learning and advanced analytics.</a:t>
            </a:r>
            <a:endParaRPr lang="en-IN" sz="1200">
              <a:solidFill>
                <a:schemeClr val="tx1"/>
              </a:solidFill>
              <a:cs typeface="Calibri" pitchFamily="34" charset="0"/>
            </a:endParaRPr>
          </a:p>
          <a:p>
            <a:pPr marL="190510" indent="-190510">
              <a:spcBef>
                <a:spcPts val="400"/>
              </a:spcBef>
              <a:spcAft>
                <a:spcPts val="400"/>
              </a:spcAft>
              <a:buClr>
                <a:srgbClr val="7030A0"/>
              </a:buClr>
              <a:buFont typeface="Arial" pitchFamily="34" charset="0"/>
              <a:buChar char="•"/>
              <a:defRPr/>
            </a:pPr>
            <a:endParaRPr lang="en-US" sz="1200">
              <a:solidFill>
                <a:schemeClr val="tx1"/>
              </a:solidFill>
              <a:cs typeface="Calibri" pitchFamily="34" charset="0"/>
            </a:endParaRPr>
          </a:p>
        </p:txBody>
      </p:sp>
      <p:sp>
        <p:nvSpPr>
          <p:cNvPr id="36" name="Rounded Rectangle 35"/>
          <p:cNvSpPr/>
          <p:nvPr/>
        </p:nvSpPr>
        <p:spPr>
          <a:xfrm>
            <a:off x="4463614" y="3309428"/>
            <a:ext cx="3264774" cy="40640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a:solidFill>
                  <a:schemeClr val="bg2"/>
                </a:solidFill>
                <a:latin typeface="+mj-lt"/>
              </a:rPr>
              <a:t>Challenges</a:t>
            </a:r>
            <a:endParaRPr lang="en-US" sz="2133">
              <a:solidFill>
                <a:schemeClr val="bg2"/>
              </a:solidFill>
              <a:latin typeface="+mj-lt"/>
            </a:endParaRPr>
          </a:p>
        </p:txBody>
      </p:sp>
      <p:grpSp>
        <p:nvGrpSpPr>
          <p:cNvPr id="42" name="Google Shape;5338;p64"/>
          <p:cNvGrpSpPr/>
          <p:nvPr/>
        </p:nvGrpSpPr>
        <p:grpSpPr>
          <a:xfrm>
            <a:off x="11161502" y="1698162"/>
            <a:ext cx="256518" cy="254065"/>
            <a:chOff x="-59889100" y="2671925"/>
            <a:chExt cx="319000" cy="315950"/>
          </a:xfrm>
          <a:solidFill>
            <a:schemeClr val="bg2"/>
          </a:solidFill>
        </p:grpSpPr>
        <p:sp>
          <p:nvSpPr>
            <p:cNvPr id="43" name="Google Shape;5339;p64"/>
            <p:cNvSpPr/>
            <p:nvPr/>
          </p:nvSpPr>
          <p:spPr>
            <a:xfrm>
              <a:off x="-59889100" y="2672000"/>
              <a:ext cx="149675" cy="256025"/>
            </a:xfrm>
            <a:custGeom>
              <a:avLst/>
              <a:gdLst/>
              <a:ahLst/>
              <a:cxnLst/>
              <a:rect l="l" t="t" r="r" b="b"/>
              <a:pathLst>
                <a:path w="5987" h="10241" extrusionOk="0">
                  <a:moveTo>
                    <a:pt x="5073" y="946"/>
                  </a:moveTo>
                  <a:lnTo>
                    <a:pt x="5073" y="2647"/>
                  </a:lnTo>
                  <a:lnTo>
                    <a:pt x="5104" y="2647"/>
                  </a:lnTo>
                  <a:cubicBezTo>
                    <a:pt x="3623" y="3151"/>
                    <a:pt x="2489" y="4569"/>
                    <a:pt x="2489" y="6302"/>
                  </a:cubicBezTo>
                  <a:cubicBezTo>
                    <a:pt x="2489" y="6900"/>
                    <a:pt x="2647" y="7499"/>
                    <a:pt x="2867" y="8034"/>
                  </a:cubicBezTo>
                  <a:lnTo>
                    <a:pt x="1639" y="9263"/>
                  </a:lnTo>
                  <a:cubicBezTo>
                    <a:pt x="1103" y="8381"/>
                    <a:pt x="788" y="7373"/>
                    <a:pt x="788" y="6302"/>
                  </a:cubicBezTo>
                  <a:cubicBezTo>
                    <a:pt x="788" y="3750"/>
                    <a:pt x="2584" y="1513"/>
                    <a:pt x="5073" y="946"/>
                  </a:cubicBezTo>
                  <a:close/>
                  <a:moveTo>
                    <a:pt x="5482" y="1"/>
                  </a:moveTo>
                  <a:cubicBezTo>
                    <a:pt x="2395" y="442"/>
                    <a:pt x="0" y="3088"/>
                    <a:pt x="0" y="6270"/>
                  </a:cubicBezTo>
                  <a:cubicBezTo>
                    <a:pt x="0" y="7688"/>
                    <a:pt x="441" y="8979"/>
                    <a:pt x="1292" y="10082"/>
                  </a:cubicBezTo>
                  <a:cubicBezTo>
                    <a:pt x="1377" y="10184"/>
                    <a:pt x="1500" y="10241"/>
                    <a:pt x="1624" y="10241"/>
                  </a:cubicBezTo>
                  <a:cubicBezTo>
                    <a:pt x="1729" y="10241"/>
                    <a:pt x="1835" y="10200"/>
                    <a:pt x="1922" y="10114"/>
                  </a:cubicBezTo>
                  <a:lnTo>
                    <a:pt x="3718" y="8349"/>
                  </a:lnTo>
                  <a:cubicBezTo>
                    <a:pt x="3812" y="8223"/>
                    <a:pt x="3844" y="8003"/>
                    <a:pt x="3781" y="7845"/>
                  </a:cubicBezTo>
                  <a:cubicBezTo>
                    <a:pt x="3497" y="7373"/>
                    <a:pt x="3340" y="6806"/>
                    <a:pt x="3340" y="6270"/>
                  </a:cubicBezTo>
                  <a:cubicBezTo>
                    <a:pt x="3340" y="4884"/>
                    <a:pt x="4285" y="3655"/>
                    <a:pt x="5671" y="3309"/>
                  </a:cubicBezTo>
                  <a:cubicBezTo>
                    <a:pt x="5860" y="3277"/>
                    <a:pt x="5986" y="3120"/>
                    <a:pt x="5986" y="2899"/>
                  </a:cubicBezTo>
                  <a:lnTo>
                    <a:pt x="5986" y="379"/>
                  </a:lnTo>
                  <a:cubicBezTo>
                    <a:pt x="5955" y="190"/>
                    <a:pt x="5703" y="1"/>
                    <a:pt x="5482" y="1"/>
                  </a:cubicBezTo>
                  <a:close/>
                </a:path>
              </a:pathLst>
            </a:custGeom>
            <a:grpFill/>
            <a:ln>
              <a:noFill/>
            </a:ln>
          </p:spPr>
          <p:txBody>
            <a:bodyPr spcFirstLastPara="1" wrap="square" lIns="60950" tIns="60950" rIns="60950" bIns="60950" anchor="ctr" anchorCtr="0">
              <a:noAutofit/>
            </a:bodyPr>
            <a:lstStyle/>
            <a:p>
              <a:endParaRPr sz="1200"/>
            </a:p>
          </p:txBody>
        </p:sp>
        <p:sp>
          <p:nvSpPr>
            <p:cNvPr id="44" name="Google Shape;5340;p64"/>
            <p:cNvSpPr/>
            <p:nvPr/>
          </p:nvSpPr>
          <p:spPr>
            <a:xfrm>
              <a:off x="-59830825" y="2892525"/>
              <a:ext cx="201650" cy="95350"/>
            </a:xfrm>
            <a:custGeom>
              <a:avLst/>
              <a:gdLst/>
              <a:ahLst/>
              <a:cxnLst/>
              <a:rect l="l" t="t" r="r" b="b"/>
              <a:pathLst>
                <a:path w="8066" h="3814" extrusionOk="0">
                  <a:moveTo>
                    <a:pt x="5735" y="946"/>
                  </a:moveTo>
                  <a:lnTo>
                    <a:pt x="6963" y="2175"/>
                  </a:lnTo>
                  <a:cubicBezTo>
                    <a:pt x="6113" y="2710"/>
                    <a:pt x="5073" y="2994"/>
                    <a:pt x="4065" y="2994"/>
                  </a:cubicBezTo>
                  <a:cubicBezTo>
                    <a:pt x="3025" y="2994"/>
                    <a:pt x="2017" y="2710"/>
                    <a:pt x="1135" y="2175"/>
                  </a:cubicBezTo>
                  <a:lnTo>
                    <a:pt x="2364" y="946"/>
                  </a:lnTo>
                  <a:cubicBezTo>
                    <a:pt x="2868" y="1198"/>
                    <a:pt x="3466" y="1356"/>
                    <a:pt x="4065" y="1356"/>
                  </a:cubicBezTo>
                  <a:cubicBezTo>
                    <a:pt x="4600" y="1356"/>
                    <a:pt x="5199" y="1198"/>
                    <a:pt x="5735" y="946"/>
                  </a:cubicBezTo>
                  <a:close/>
                  <a:moveTo>
                    <a:pt x="5758" y="1"/>
                  </a:moveTo>
                  <a:cubicBezTo>
                    <a:pt x="5693" y="1"/>
                    <a:pt x="5630" y="11"/>
                    <a:pt x="5577" y="32"/>
                  </a:cubicBezTo>
                  <a:cubicBezTo>
                    <a:pt x="5105" y="316"/>
                    <a:pt x="4569" y="474"/>
                    <a:pt x="4002" y="474"/>
                  </a:cubicBezTo>
                  <a:cubicBezTo>
                    <a:pt x="3956" y="476"/>
                    <a:pt x="3911" y="478"/>
                    <a:pt x="3865" y="478"/>
                  </a:cubicBezTo>
                  <a:cubicBezTo>
                    <a:pt x="3376" y="478"/>
                    <a:pt x="2890" y="326"/>
                    <a:pt x="2458" y="95"/>
                  </a:cubicBezTo>
                  <a:cubicBezTo>
                    <a:pt x="2389" y="54"/>
                    <a:pt x="2315" y="31"/>
                    <a:pt x="2239" y="31"/>
                  </a:cubicBezTo>
                  <a:cubicBezTo>
                    <a:pt x="2142" y="31"/>
                    <a:pt x="2043" y="70"/>
                    <a:pt x="1954" y="158"/>
                  </a:cubicBezTo>
                  <a:lnTo>
                    <a:pt x="190" y="1923"/>
                  </a:lnTo>
                  <a:cubicBezTo>
                    <a:pt x="1" y="2143"/>
                    <a:pt x="32" y="2395"/>
                    <a:pt x="221" y="2553"/>
                  </a:cubicBezTo>
                  <a:cubicBezTo>
                    <a:pt x="1324" y="3403"/>
                    <a:pt x="2616" y="3813"/>
                    <a:pt x="4002" y="3813"/>
                  </a:cubicBezTo>
                  <a:cubicBezTo>
                    <a:pt x="5388" y="3813"/>
                    <a:pt x="6711" y="3403"/>
                    <a:pt x="7814" y="2521"/>
                  </a:cubicBezTo>
                  <a:cubicBezTo>
                    <a:pt x="8035" y="2364"/>
                    <a:pt x="8066" y="2080"/>
                    <a:pt x="7877" y="1891"/>
                  </a:cubicBezTo>
                  <a:lnTo>
                    <a:pt x="6113" y="127"/>
                  </a:lnTo>
                  <a:cubicBezTo>
                    <a:pt x="6029" y="43"/>
                    <a:pt x="5889" y="1"/>
                    <a:pt x="5758" y="1"/>
                  </a:cubicBezTo>
                  <a:close/>
                </a:path>
              </a:pathLst>
            </a:custGeom>
            <a:grpFill/>
            <a:ln>
              <a:noFill/>
            </a:ln>
          </p:spPr>
          <p:txBody>
            <a:bodyPr spcFirstLastPara="1" wrap="square" lIns="60950" tIns="60950" rIns="60950" bIns="60950" anchor="ctr" anchorCtr="0">
              <a:noAutofit/>
            </a:bodyPr>
            <a:lstStyle/>
            <a:p>
              <a:endParaRPr sz="1200"/>
            </a:p>
          </p:txBody>
        </p:sp>
        <p:sp>
          <p:nvSpPr>
            <p:cNvPr id="45" name="Google Shape;5341;p64"/>
            <p:cNvSpPr/>
            <p:nvPr/>
          </p:nvSpPr>
          <p:spPr>
            <a:xfrm>
              <a:off x="-59719775" y="2671925"/>
              <a:ext cx="149675" cy="256425"/>
            </a:xfrm>
            <a:custGeom>
              <a:avLst/>
              <a:gdLst/>
              <a:ahLst/>
              <a:cxnLst/>
              <a:rect l="l" t="t" r="r" b="b"/>
              <a:pathLst>
                <a:path w="5987" h="10257" extrusionOk="0">
                  <a:moveTo>
                    <a:pt x="820" y="917"/>
                  </a:moveTo>
                  <a:cubicBezTo>
                    <a:pt x="3309" y="1453"/>
                    <a:pt x="5105" y="3690"/>
                    <a:pt x="5105" y="6273"/>
                  </a:cubicBezTo>
                  <a:cubicBezTo>
                    <a:pt x="5073" y="7344"/>
                    <a:pt x="4790" y="8352"/>
                    <a:pt x="4254" y="9235"/>
                  </a:cubicBezTo>
                  <a:lnTo>
                    <a:pt x="3025" y="8006"/>
                  </a:lnTo>
                  <a:cubicBezTo>
                    <a:pt x="3309" y="7502"/>
                    <a:pt x="3435" y="6903"/>
                    <a:pt x="3435" y="6305"/>
                  </a:cubicBezTo>
                  <a:cubicBezTo>
                    <a:pt x="3435" y="4572"/>
                    <a:pt x="2332" y="3154"/>
                    <a:pt x="820" y="2650"/>
                  </a:cubicBezTo>
                  <a:lnTo>
                    <a:pt x="820" y="917"/>
                  </a:lnTo>
                  <a:close/>
                  <a:moveTo>
                    <a:pt x="419" y="0"/>
                  </a:moveTo>
                  <a:cubicBezTo>
                    <a:pt x="190" y="0"/>
                    <a:pt x="1" y="180"/>
                    <a:pt x="1" y="413"/>
                  </a:cubicBezTo>
                  <a:lnTo>
                    <a:pt x="1" y="2934"/>
                  </a:lnTo>
                  <a:cubicBezTo>
                    <a:pt x="1" y="3123"/>
                    <a:pt x="127" y="3280"/>
                    <a:pt x="316" y="3312"/>
                  </a:cubicBezTo>
                  <a:cubicBezTo>
                    <a:pt x="1639" y="3658"/>
                    <a:pt x="2647" y="4855"/>
                    <a:pt x="2647" y="6273"/>
                  </a:cubicBezTo>
                  <a:cubicBezTo>
                    <a:pt x="2647" y="6809"/>
                    <a:pt x="2490" y="7376"/>
                    <a:pt x="2206" y="7848"/>
                  </a:cubicBezTo>
                  <a:cubicBezTo>
                    <a:pt x="2080" y="8006"/>
                    <a:pt x="2112" y="8195"/>
                    <a:pt x="2269" y="8352"/>
                  </a:cubicBezTo>
                  <a:lnTo>
                    <a:pt x="4065" y="10117"/>
                  </a:lnTo>
                  <a:cubicBezTo>
                    <a:pt x="4149" y="10214"/>
                    <a:pt x="4251" y="10257"/>
                    <a:pt x="4353" y="10257"/>
                  </a:cubicBezTo>
                  <a:cubicBezTo>
                    <a:pt x="4481" y="10257"/>
                    <a:pt x="4608" y="10190"/>
                    <a:pt x="4695" y="10085"/>
                  </a:cubicBezTo>
                  <a:cubicBezTo>
                    <a:pt x="5514" y="8982"/>
                    <a:pt x="5987" y="7659"/>
                    <a:pt x="5987" y="6273"/>
                  </a:cubicBezTo>
                  <a:cubicBezTo>
                    <a:pt x="5892" y="3123"/>
                    <a:pt x="3529" y="445"/>
                    <a:pt x="474" y="4"/>
                  </a:cubicBezTo>
                  <a:cubicBezTo>
                    <a:pt x="455" y="1"/>
                    <a:pt x="437" y="0"/>
                    <a:pt x="419" y="0"/>
                  </a:cubicBezTo>
                  <a:close/>
                </a:path>
              </a:pathLst>
            </a:custGeom>
            <a:grpFill/>
            <a:ln>
              <a:noFill/>
            </a:ln>
          </p:spPr>
          <p:txBody>
            <a:bodyPr spcFirstLastPara="1" wrap="square" lIns="60950" tIns="60950" rIns="60950" bIns="60950" anchor="ctr" anchorCtr="0">
              <a:noAutofit/>
            </a:bodyPr>
            <a:lstStyle/>
            <a:p>
              <a:endParaRPr sz="1200"/>
            </a:p>
          </p:txBody>
        </p:sp>
        <p:sp>
          <p:nvSpPr>
            <p:cNvPr id="46" name="Google Shape;5342;p64"/>
            <p:cNvSpPr/>
            <p:nvPr/>
          </p:nvSpPr>
          <p:spPr>
            <a:xfrm>
              <a:off x="-59762300" y="2757075"/>
              <a:ext cx="63025" cy="145725"/>
            </a:xfrm>
            <a:custGeom>
              <a:avLst/>
              <a:gdLst/>
              <a:ahLst/>
              <a:cxnLst/>
              <a:rect l="l" t="t" r="r" b="b"/>
              <a:pathLst>
                <a:path w="2521" h="5829" extrusionOk="0">
                  <a:moveTo>
                    <a:pt x="1261" y="0"/>
                  </a:moveTo>
                  <a:cubicBezTo>
                    <a:pt x="1040" y="0"/>
                    <a:pt x="820" y="189"/>
                    <a:pt x="820" y="378"/>
                  </a:cubicBezTo>
                  <a:lnTo>
                    <a:pt x="820" y="662"/>
                  </a:lnTo>
                  <a:cubicBezTo>
                    <a:pt x="347" y="819"/>
                    <a:pt x="1" y="1292"/>
                    <a:pt x="1" y="1827"/>
                  </a:cubicBezTo>
                  <a:cubicBezTo>
                    <a:pt x="1" y="2521"/>
                    <a:pt x="568" y="2899"/>
                    <a:pt x="977" y="3214"/>
                  </a:cubicBezTo>
                  <a:cubicBezTo>
                    <a:pt x="1292" y="3466"/>
                    <a:pt x="1670" y="3686"/>
                    <a:pt x="1670" y="3938"/>
                  </a:cubicBezTo>
                  <a:cubicBezTo>
                    <a:pt x="1670" y="4159"/>
                    <a:pt x="1450" y="4348"/>
                    <a:pt x="1261" y="4348"/>
                  </a:cubicBezTo>
                  <a:cubicBezTo>
                    <a:pt x="1072" y="4348"/>
                    <a:pt x="820" y="4159"/>
                    <a:pt x="820" y="3938"/>
                  </a:cubicBezTo>
                  <a:cubicBezTo>
                    <a:pt x="820" y="3686"/>
                    <a:pt x="631" y="3497"/>
                    <a:pt x="442" y="3497"/>
                  </a:cubicBezTo>
                  <a:cubicBezTo>
                    <a:pt x="253" y="3497"/>
                    <a:pt x="32" y="3686"/>
                    <a:pt x="32" y="3938"/>
                  </a:cubicBezTo>
                  <a:cubicBezTo>
                    <a:pt x="32" y="4474"/>
                    <a:pt x="410" y="4915"/>
                    <a:pt x="883" y="5104"/>
                  </a:cubicBezTo>
                  <a:lnTo>
                    <a:pt x="883" y="5387"/>
                  </a:lnTo>
                  <a:cubicBezTo>
                    <a:pt x="883" y="5608"/>
                    <a:pt x="1072" y="5829"/>
                    <a:pt x="1292" y="5829"/>
                  </a:cubicBezTo>
                  <a:cubicBezTo>
                    <a:pt x="1544" y="5829"/>
                    <a:pt x="1702" y="5608"/>
                    <a:pt x="1702" y="5387"/>
                  </a:cubicBezTo>
                  <a:lnTo>
                    <a:pt x="1702" y="5104"/>
                  </a:lnTo>
                  <a:cubicBezTo>
                    <a:pt x="2175" y="4946"/>
                    <a:pt x="2521" y="4474"/>
                    <a:pt x="2521" y="3938"/>
                  </a:cubicBezTo>
                  <a:cubicBezTo>
                    <a:pt x="2521" y="3245"/>
                    <a:pt x="1985" y="2867"/>
                    <a:pt x="1544" y="2552"/>
                  </a:cubicBezTo>
                  <a:cubicBezTo>
                    <a:pt x="1229" y="2300"/>
                    <a:pt x="883" y="2079"/>
                    <a:pt x="883" y="1827"/>
                  </a:cubicBezTo>
                  <a:cubicBezTo>
                    <a:pt x="883" y="1607"/>
                    <a:pt x="1072" y="1418"/>
                    <a:pt x="1292" y="1418"/>
                  </a:cubicBezTo>
                  <a:cubicBezTo>
                    <a:pt x="1544" y="1418"/>
                    <a:pt x="1702" y="1607"/>
                    <a:pt x="1702" y="1827"/>
                  </a:cubicBezTo>
                  <a:cubicBezTo>
                    <a:pt x="1702" y="2079"/>
                    <a:pt x="1891" y="2268"/>
                    <a:pt x="2143" y="2268"/>
                  </a:cubicBezTo>
                  <a:cubicBezTo>
                    <a:pt x="2364" y="2268"/>
                    <a:pt x="2521" y="2079"/>
                    <a:pt x="2521" y="1827"/>
                  </a:cubicBezTo>
                  <a:cubicBezTo>
                    <a:pt x="2521" y="1292"/>
                    <a:pt x="2175" y="851"/>
                    <a:pt x="1702" y="662"/>
                  </a:cubicBezTo>
                  <a:lnTo>
                    <a:pt x="1702" y="378"/>
                  </a:lnTo>
                  <a:cubicBezTo>
                    <a:pt x="1702" y="189"/>
                    <a:pt x="1513" y="0"/>
                    <a:pt x="1261" y="0"/>
                  </a:cubicBezTo>
                  <a:close/>
                </a:path>
              </a:pathLst>
            </a:custGeom>
            <a:grpFill/>
            <a:ln>
              <a:noFill/>
            </a:ln>
          </p:spPr>
          <p:txBody>
            <a:bodyPr spcFirstLastPara="1" wrap="square" lIns="60950" tIns="60950" rIns="60950" bIns="60950" anchor="ctr" anchorCtr="0">
              <a:noAutofit/>
            </a:bodyPr>
            <a:lstStyle/>
            <a:p>
              <a:endParaRPr sz="1200"/>
            </a:p>
          </p:txBody>
        </p:sp>
      </p:grpSp>
      <p:grpSp>
        <p:nvGrpSpPr>
          <p:cNvPr id="47" name="Google Shape;5228;p64"/>
          <p:cNvGrpSpPr/>
          <p:nvPr/>
        </p:nvGrpSpPr>
        <p:grpSpPr>
          <a:xfrm>
            <a:off x="3470671" y="1639069"/>
            <a:ext cx="256518" cy="255131"/>
            <a:chOff x="-64401400" y="1914475"/>
            <a:chExt cx="319000" cy="317275"/>
          </a:xfrm>
          <a:solidFill>
            <a:schemeClr val="bg2"/>
          </a:solidFill>
        </p:grpSpPr>
        <p:sp>
          <p:nvSpPr>
            <p:cNvPr id="48" name="Google Shape;5229;p64"/>
            <p:cNvSpPr/>
            <p:nvPr/>
          </p:nvSpPr>
          <p:spPr>
            <a:xfrm>
              <a:off x="-64401400" y="1914475"/>
              <a:ext cx="319000" cy="317275"/>
            </a:xfrm>
            <a:custGeom>
              <a:avLst/>
              <a:gdLst/>
              <a:ahLst/>
              <a:cxnLst/>
              <a:rect l="l" t="t" r="r" b="b"/>
              <a:pathLst>
                <a:path w="12760" h="12691" extrusionOk="0">
                  <a:moveTo>
                    <a:pt x="4726" y="1317"/>
                  </a:moveTo>
                  <a:lnTo>
                    <a:pt x="4726" y="2703"/>
                  </a:lnTo>
                  <a:cubicBezTo>
                    <a:pt x="4663" y="2735"/>
                    <a:pt x="4600" y="2829"/>
                    <a:pt x="4569" y="2861"/>
                  </a:cubicBezTo>
                  <a:lnTo>
                    <a:pt x="4065" y="3554"/>
                  </a:lnTo>
                  <a:cubicBezTo>
                    <a:pt x="3970" y="3176"/>
                    <a:pt x="3907" y="2703"/>
                    <a:pt x="3907" y="2388"/>
                  </a:cubicBezTo>
                  <a:cubicBezTo>
                    <a:pt x="3876" y="1947"/>
                    <a:pt x="3970" y="1632"/>
                    <a:pt x="4222" y="1475"/>
                  </a:cubicBezTo>
                  <a:cubicBezTo>
                    <a:pt x="4348" y="1349"/>
                    <a:pt x="4537" y="1317"/>
                    <a:pt x="4726" y="1317"/>
                  </a:cubicBezTo>
                  <a:close/>
                  <a:moveTo>
                    <a:pt x="7046" y="813"/>
                  </a:moveTo>
                  <a:cubicBezTo>
                    <a:pt x="7507" y="813"/>
                    <a:pt x="7937" y="916"/>
                    <a:pt x="8286" y="1128"/>
                  </a:cubicBezTo>
                  <a:cubicBezTo>
                    <a:pt x="8759" y="1412"/>
                    <a:pt x="8979" y="1821"/>
                    <a:pt x="8948" y="2420"/>
                  </a:cubicBezTo>
                  <a:cubicBezTo>
                    <a:pt x="8948" y="2703"/>
                    <a:pt x="8853" y="3113"/>
                    <a:pt x="8790" y="3554"/>
                  </a:cubicBezTo>
                  <a:lnTo>
                    <a:pt x="8286" y="2861"/>
                  </a:lnTo>
                  <a:cubicBezTo>
                    <a:pt x="8066" y="2609"/>
                    <a:pt x="7814" y="2451"/>
                    <a:pt x="7499" y="2451"/>
                  </a:cubicBezTo>
                  <a:lnTo>
                    <a:pt x="5514" y="2451"/>
                  </a:lnTo>
                  <a:lnTo>
                    <a:pt x="5514" y="1160"/>
                  </a:lnTo>
                  <a:cubicBezTo>
                    <a:pt x="6020" y="931"/>
                    <a:pt x="6551" y="813"/>
                    <a:pt x="7046" y="813"/>
                  </a:cubicBezTo>
                  <a:close/>
                  <a:moveTo>
                    <a:pt x="7530" y="3334"/>
                  </a:moveTo>
                  <a:cubicBezTo>
                    <a:pt x="7562" y="3334"/>
                    <a:pt x="7593" y="3365"/>
                    <a:pt x="7656" y="3365"/>
                  </a:cubicBezTo>
                  <a:lnTo>
                    <a:pt x="8601" y="4657"/>
                  </a:lnTo>
                  <a:cubicBezTo>
                    <a:pt x="8444" y="5917"/>
                    <a:pt x="7688" y="7177"/>
                    <a:pt x="6427" y="7177"/>
                  </a:cubicBezTo>
                  <a:cubicBezTo>
                    <a:pt x="5167" y="7177"/>
                    <a:pt x="4411" y="5980"/>
                    <a:pt x="4254" y="4657"/>
                  </a:cubicBezTo>
                  <a:lnTo>
                    <a:pt x="5199" y="3365"/>
                  </a:lnTo>
                  <a:cubicBezTo>
                    <a:pt x="5230" y="3334"/>
                    <a:pt x="5293" y="3334"/>
                    <a:pt x="5325" y="3334"/>
                  </a:cubicBezTo>
                  <a:close/>
                  <a:moveTo>
                    <a:pt x="5199" y="7681"/>
                  </a:moveTo>
                  <a:cubicBezTo>
                    <a:pt x="5608" y="7902"/>
                    <a:pt x="5986" y="8028"/>
                    <a:pt x="6427" y="8028"/>
                  </a:cubicBezTo>
                  <a:cubicBezTo>
                    <a:pt x="6869" y="8028"/>
                    <a:pt x="7310" y="7902"/>
                    <a:pt x="7688" y="7713"/>
                  </a:cubicBezTo>
                  <a:lnTo>
                    <a:pt x="7688" y="7807"/>
                  </a:lnTo>
                  <a:cubicBezTo>
                    <a:pt x="7688" y="8028"/>
                    <a:pt x="7719" y="8185"/>
                    <a:pt x="7814" y="8343"/>
                  </a:cubicBezTo>
                  <a:lnTo>
                    <a:pt x="6427" y="9634"/>
                  </a:lnTo>
                  <a:lnTo>
                    <a:pt x="5073" y="8280"/>
                  </a:lnTo>
                  <a:cubicBezTo>
                    <a:pt x="5167" y="8122"/>
                    <a:pt x="5199" y="7965"/>
                    <a:pt x="5199" y="7776"/>
                  </a:cubicBezTo>
                  <a:lnTo>
                    <a:pt x="5199" y="7681"/>
                  </a:lnTo>
                  <a:close/>
                  <a:moveTo>
                    <a:pt x="4537" y="8878"/>
                  </a:moveTo>
                  <a:lnTo>
                    <a:pt x="5829" y="10170"/>
                  </a:lnTo>
                  <a:lnTo>
                    <a:pt x="5230" y="10769"/>
                  </a:lnTo>
                  <a:lnTo>
                    <a:pt x="4065" y="9036"/>
                  </a:lnTo>
                  <a:cubicBezTo>
                    <a:pt x="4222" y="9036"/>
                    <a:pt x="4380" y="9004"/>
                    <a:pt x="4537" y="8878"/>
                  </a:cubicBezTo>
                  <a:close/>
                  <a:moveTo>
                    <a:pt x="8318" y="8878"/>
                  </a:moveTo>
                  <a:cubicBezTo>
                    <a:pt x="8475" y="8973"/>
                    <a:pt x="8633" y="9036"/>
                    <a:pt x="8790" y="9036"/>
                  </a:cubicBezTo>
                  <a:lnTo>
                    <a:pt x="7593" y="10769"/>
                  </a:lnTo>
                  <a:lnTo>
                    <a:pt x="7026" y="10170"/>
                  </a:lnTo>
                  <a:lnTo>
                    <a:pt x="8318" y="8878"/>
                  </a:lnTo>
                  <a:close/>
                  <a:moveTo>
                    <a:pt x="10460" y="9067"/>
                  </a:moveTo>
                  <a:cubicBezTo>
                    <a:pt x="11279" y="9067"/>
                    <a:pt x="11941" y="9760"/>
                    <a:pt x="11941" y="10580"/>
                  </a:cubicBezTo>
                  <a:lnTo>
                    <a:pt x="11941" y="11840"/>
                  </a:lnTo>
                  <a:lnTo>
                    <a:pt x="7814" y="11840"/>
                  </a:lnTo>
                  <a:cubicBezTo>
                    <a:pt x="7908" y="11808"/>
                    <a:pt x="8003" y="11745"/>
                    <a:pt x="8034" y="11682"/>
                  </a:cubicBezTo>
                  <a:lnTo>
                    <a:pt x="9798" y="9067"/>
                  </a:lnTo>
                  <a:close/>
                  <a:moveTo>
                    <a:pt x="3088" y="9067"/>
                  </a:moveTo>
                  <a:lnTo>
                    <a:pt x="4852" y="11651"/>
                  </a:lnTo>
                  <a:cubicBezTo>
                    <a:pt x="4915" y="11745"/>
                    <a:pt x="5041" y="11808"/>
                    <a:pt x="5167" y="11840"/>
                  </a:cubicBezTo>
                  <a:lnTo>
                    <a:pt x="5199" y="11840"/>
                  </a:lnTo>
                  <a:cubicBezTo>
                    <a:pt x="5325" y="11840"/>
                    <a:pt x="5419" y="11808"/>
                    <a:pt x="5482" y="11714"/>
                  </a:cubicBezTo>
                  <a:lnTo>
                    <a:pt x="6427" y="10769"/>
                  </a:lnTo>
                  <a:lnTo>
                    <a:pt x="7404" y="11745"/>
                  </a:lnTo>
                  <a:cubicBezTo>
                    <a:pt x="7436" y="11777"/>
                    <a:pt x="7530" y="11840"/>
                    <a:pt x="7593" y="11871"/>
                  </a:cubicBezTo>
                  <a:lnTo>
                    <a:pt x="914" y="11871"/>
                  </a:lnTo>
                  <a:lnTo>
                    <a:pt x="914" y="11840"/>
                  </a:lnTo>
                  <a:lnTo>
                    <a:pt x="914" y="10580"/>
                  </a:lnTo>
                  <a:cubicBezTo>
                    <a:pt x="914" y="9760"/>
                    <a:pt x="1576" y="9067"/>
                    <a:pt x="2395" y="9067"/>
                  </a:cubicBezTo>
                  <a:close/>
                  <a:moveTo>
                    <a:pt x="7043" y="1"/>
                  </a:moveTo>
                  <a:cubicBezTo>
                    <a:pt x="6380" y="1"/>
                    <a:pt x="5673" y="166"/>
                    <a:pt x="5010" y="498"/>
                  </a:cubicBezTo>
                  <a:cubicBezTo>
                    <a:pt x="4898" y="477"/>
                    <a:pt x="4788" y="467"/>
                    <a:pt x="4680" y="467"/>
                  </a:cubicBezTo>
                  <a:cubicBezTo>
                    <a:pt x="4300" y="467"/>
                    <a:pt x="3942" y="592"/>
                    <a:pt x="3624" y="813"/>
                  </a:cubicBezTo>
                  <a:cubicBezTo>
                    <a:pt x="3308" y="1034"/>
                    <a:pt x="2962" y="1506"/>
                    <a:pt x="2962" y="2388"/>
                  </a:cubicBezTo>
                  <a:cubicBezTo>
                    <a:pt x="2962" y="3144"/>
                    <a:pt x="3277" y="4405"/>
                    <a:pt x="3340" y="4625"/>
                  </a:cubicBezTo>
                  <a:cubicBezTo>
                    <a:pt x="3466" y="5570"/>
                    <a:pt x="3781" y="6389"/>
                    <a:pt x="4285" y="6988"/>
                  </a:cubicBezTo>
                  <a:lnTo>
                    <a:pt x="4285" y="7744"/>
                  </a:lnTo>
                  <a:cubicBezTo>
                    <a:pt x="4285" y="8028"/>
                    <a:pt x="4065" y="8248"/>
                    <a:pt x="3781" y="8248"/>
                  </a:cubicBezTo>
                  <a:lnTo>
                    <a:pt x="2332" y="8248"/>
                  </a:lnTo>
                  <a:cubicBezTo>
                    <a:pt x="1072" y="8248"/>
                    <a:pt x="0" y="9288"/>
                    <a:pt x="0" y="10580"/>
                  </a:cubicBezTo>
                  <a:lnTo>
                    <a:pt x="0" y="12281"/>
                  </a:lnTo>
                  <a:cubicBezTo>
                    <a:pt x="0" y="12501"/>
                    <a:pt x="189" y="12690"/>
                    <a:pt x="410" y="12690"/>
                  </a:cubicBezTo>
                  <a:lnTo>
                    <a:pt x="12256" y="12690"/>
                  </a:lnTo>
                  <a:cubicBezTo>
                    <a:pt x="12508" y="12690"/>
                    <a:pt x="12697" y="12501"/>
                    <a:pt x="12697" y="12281"/>
                  </a:cubicBezTo>
                  <a:lnTo>
                    <a:pt x="12697" y="10580"/>
                  </a:lnTo>
                  <a:cubicBezTo>
                    <a:pt x="12760" y="9319"/>
                    <a:pt x="11689" y="8248"/>
                    <a:pt x="10429" y="8248"/>
                  </a:cubicBezTo>
                  <a:lnTo>
                    <a:pt x="8979" y="8248"/>
                  </a:lnTo>
                  <a:cubicBezTo>
                    <a:pt x="8696" y="8248"/>
                    <a:pt x="8475" y="8028"/>
                    <a:pt x="8475" y="7744"/>
                  </a:cubicBezTo>
                  <a:lnTo>
                    <a:pt x="8475" y="6957"/>
                  </a:lnTo>
                  <a:cubicBezTo>
                    <a:pt x="8979" y="6358"/>
                    <a:pt x="9294" y="5539"/>
                    <a:pt x="9389" y="4625"/>
                  </a:cubicBezTo>
                  <a:cubicBezTo>
                    <a:pt x="9546" y="4121"/>
                    <a:pt x="9735" y="3050"/>
                    <a:pt x="9767" y="2420"/>
                  </a:cubicBezTo>
                  <a:cubicBezTo>
                    <a:pt x="9767" y="1538"/>
                    <a:pt x="9420" y="845"/>
                    <a:pt x="8664" y="404"/>
                  </a:cubicBezTo>
                  <a:cubicBezTo>
                    <a:pt x="8202" y="135"/>
                    <a:pt x="7640" y="1"/>
                    <a:pt x="7043" y="1"/>
                  </a:cubicBezTo>
                  <a:close/>
                </a:path>
              </a:pathLst>
            </a:custGeom>
            <a:grpFill/>
            <a:ln>
              <a:noFill/>
            </a:ln>
          </p:spPr>
          <p:txBody>
            <a:bodyPr spcFirstLastPara="1" wrap="square" lIns="60950" tIns="60950" rIns="60950" bIns="60950" anchor="ctr" anchorCtr="0">
              <a:noAutofit/>
            </a:bodyPr>
            <a:lstStyle/>
            <a:p>
              <a:endParaRPr sz="1200"/>
            </a:p>
          </p:txBody>
        </p:sp>
        <p:sp>
          <p:nvSpPr>
            <p:cNvPr id="49" name="Google Shape;5230;p64"/>
            <p:cNvSpPr/>
            <p:nvPr/>
          </p:nvSpPr>
          <p:spPr>
            <a:xfrm>
              <a:off x="-64172200" y="2175800"/>
              <a:ext cx="48850" cy="22075"/>
            </a:xfrm>
            <a:custGeom>
              <a:avLst/>
              <a:gdLst/>
              <a:ahLst/>
              <a:cxnLst/>
              <a:rect l="l" t="t" r="r" b="b"/>
              <a:pathLst>
                <a:path w="1954" h="883" extrusionOk="0">
                  <a:moveTo>
                    <a:pt x="410" y="1"/>
                  </a:moveTo>
                  <a:cubicBezTo>
                    <a:pt x="158" y="1"/>
                    <a:pt x="0" y="190"/>
                    <a:pt x="0" y="442"/>
                  </a:cubicBezTo>
                  <a:cubicBezTo>
                    <a:pt x="0" y="662"/>
                    <a:pt x="221" y="883"/>
                    <a:pt x="410" y="883"/>
                  </a:cubicBezTo>
                  <a:lnTo>
                    <a:pt x="1513" y="883"/>
                  </a:lnTo>
                  <a:cubicBezTo>
                    <a:pt x="1765" y="883"/>
                    <a:pt x="1891" y="662"/>
                    <a:pt x="1891" y="442"/>
                  </a:cubicBezTo>
                  <a:cubicBezTo>
                    <a:pt x="1954" y="190"/>
                    <a:pt x="1733" y="1"/>
                    <a:pt x="1513" y="1"/>
                  </a:cubicBezTo>
                  <a:close/>
                </a:path>
              </a:pathLst>
            </a:custGeom>
            <a:grpFill/>
            <a:ln>
              <a:noFill/>
            </a:ln>
          </p:spPr>
          <p:txBody>
            <a:bodyPr spcFirstLastPara="1" wrap="square" lIns="60950" tIns="60950" rIns="60950" bIns="60950" anchor="ctr" anchorCtr="0">
              <a:noAutofit/>
            </a:bodyPr>
            <a:lstStyle/>
            <a:p>
              <a:endParaRPr sz="1200"/>
            </a:p>
          </p:txBody>
        </p:sp>
        <p:sp>
          <p:nvSpPr>
            <p:cNvPr id="50" name="Google Shape;5231;p64"/>
            <p:cNvSpPr/>
            <p:nvPr/>
          </p:nvSpPr>
          <p:spPr>
            <a:xfrm>
              <a:off x="-64212375" y="2210450"/>
              <a:ext cx="5525" cy="25"/>
            </a:xfrm>
            <a:custGeom>
              <a:avLst/>
              <a:gdLst/>
              <a:ahLst/>
              <a:cxnLst/>
              <a:rect l="l" t="t" r="r" b="b"/>
              <a:pathLst>
                <a:path w="221" h="1" extrusionOk="0">
                  <a:moveTo>
                    <a:pt x="1" y="1"/>
                  </a:moveTo>
                  <a:lnTo>
                    <a:pt x="221" y="1"/>
                  </a:lnTo>
                </a:path>
              </a:pathLst>
            </a:custGeom>
            <a:grpFill/>
            <a:ln>
              <a:noFill/>
            </a:ln>
          </p:spPr>
          <p:txBody>
            <a:bodyPr spcFirstLastPara="1" wrap="square" lIns="60950" tIns="60950" rIns="60950" bIns="60950" anchor="ctr" anchorCtr="0">
              <a:noAutofit/>
            </a:bodyPr>
            <a:lstStyle/>
            <a:p>
              <a:endParaRPr sz="1200"/>
            </a:p>
          </p:txBody>
        </p:sp>
      </p:grpSp>
      <p:grpSp>
        <p:nvGrpSpPr>
          <p:cNvPr id="51" name="Google Shape;5211;p64"/>
          <p:cNvGrpSpPr/>
          <p:nvPr/>
        </p:nvGrpSpPr>
        <p:grpSpPr>
          <a:xfrm>
            <a:off x="7361009" y="1659718"/>
            <a:ext cx="254628" cy="250206"/>
            <a:chOff x="-60988625" y="2310475"/>
            <a:chExt cx="316650" cy="311150"/>
          </a:xfrm>
          <a:solidFill>
            <a:schemeClr val="bg2"/>
          </a:solidFill>
        </p:grpSpPr>
        <p:sp>
          <p:nvSpPr>
            <p:cNvPr id="52" name="Google Shape;5212;p64"/>
            <p:cNvSpPr/>
            <p:nvPr/>
          </p:nvSpPr>
          <p:spPr>
            <a:xfrm>
              <a:off x="-60988625" y="2310475"/>
              <a:ext cx="311125" cy="311150"/>
            </a:xfrm>
            <a:custGeom>
              <a:avLst/>
              <a:gdLst/>
              <a:ahLst/>
              <a:cxnLst/>
              <a:rect l="l" t="t" r="r" b="b"/>
              <a:pathLst>
                <a:path w="12445" h="12446" extrusionOk="0">
                  <a:moveTo>
                    <a:pt x="7877" y="883"/>
                  </a:moveTo>
                  <a:cubicBezTo>
                    <a:pt x="8097" y="883"/>
                    <a:pt x="8318" y="1072"/>
                    <a:pt x="8318" y="1324"/>
                  </a:cubicBezTo>
                  <a:lnTo>
                    <a:pt x="8318" y="10398"/>
                  </a:lnTo>
                  <a:cubicBezTo>
                    <a:pt x="8318" y="10870"/>
                    <a:pt x="8444" y="11311"/>
                    <a:pt x="8727" y="11626"/>
                  </a:cubicBezTo>
                  <a:lnTo>
                    <a:pt x="2111" y="11626"/>
                  </a:lnTo>
                  <a:cubicBezTo>
                    <a:pt x="1450" y="11626"/>
                    <a:pt x="851" y="11091"/>
                    <a:pt x="851" y="10398"/>
                  </a:cubicBezTo>
                  <a:lnTo>
                    <a:pt x="851" y="1324"/>
                  </a:lnTo>
                  <a:lnTo>
                    <a:pt x="820" y="1324"/>
                  </a:lnTo>
                  <a:cubicBezTo>
                    <a:pt x="820" y="1072"/>
                    <a:pt x="1009" y="883"/>
                    <a:pt x="1261" y="883"/>
                  </a:cubicBezTo>
                  <a:close/>
                  <a:moveTo>
                    <a:pt x="11500" y="10807"/>
                  </a:moveTo>
                  <a:cubicBezTo>
                    <a:pt x="11342" y="11280"/>
                    <a:pt x="10870" y="11626"/>
                    <a:pt x="10303" y="11626"/>
                  </a:cubicBezTo>
                  <a:cubicBezTo>
                    <a:pt x="9767" y="11626"/>
                    <a:pt x="9326" y="11280"/>
                    <a:pt x="9137" y="10807"/>
                  </a:cubicBezTo>
                  <a:close/>
                  <a:moveTo>
                    <a:pt x="1261" y="1"/>
                  </a:moveTo>
                  <a:cubicBezTo>
                    <a:pt x="568" y="1"/>
                    <a:pt x="32" y="568"/>
                    <a:pt x="32" y="1230"/>
                  </a:cubicBezTo>
                  <a:lnTo>
                    <a:pt x="32" y="10334"/>
                  </a:lnTo>
                  <a:cubicBezTo>
                    <a:pt x="0" y="11563"/>
                    <a:pt x="946" y="12445"/>
                    <a:pt x="2080" y="12445"/>
                  </a:cubicBezTo>
                  <a:lnTo>
                    <a:pt x="10334" y="12445"/>
                  </a:lnTo>
                  <a:cubicBezTo>
                    <a:pt x="11500" y="12445"/>
                    <a:pt x="12445" y="11500"/>
                    <a:pt x="12445" y="10366"/>
                  </a:cubicBezTo>
                  <a:cubicBezTo>
                    <a:pt x="12445" y="10145"/>
                    <a:pt x="12224" y="9925"/>
                    <a:pt x="12004" y="9925"/>
                  </a:cubicBezTo>
                  <a:lnTo>
                    <a:pt x="9074" y="9925"/>
                  </a:lnTo>
                  <a:lnTo>
                    <a:pt x="9074" y="1230"/>
                  </a:lnTo>
                  <a:cubicBezTo>
                    <a:pt x="9074" y="568"/>
                    <a:pt x="8538" y="1"/>
                    <a:pt x="7877" y="1"/>
                  </a:cubicBezTo>
                  <a:close/>
                </a:path>
              </a:pathLst>
            </a:custGeom>
            <a:grpFill/>
            <a:ln>
              <a:noFill/>
            </a:ln>
          </p:spPr>
          <p:txBody>
            <a:bodyPr spcFirstLastPara="1" wrap="square" lIns="60950" tIns="60950" rIns="60950" bIns="60950" anchor="ctr" anchorCtr="0">
              <a:noAutofit/>
            </a:bodyPr>
            <a:lstStyle/>
            <a:p>
              <a:endParaRPr sz="1200"/>
            </a:p>
          </p:txBody>
        </p:sp>
        <p:sp>
          <p:nvSpPr>
            <p:cNvPr id="53" name="Google Shape;5213;p64"/>
            <p:cNvSpPr/>
            <p:nvPr/>
          </p:nvSpPr>
          <p:spPr>
            <a:xfrm>
              <a:off x="-60947675" y="2353025"/>
              <a:ext cx="145725" cy="20500"/>
            </a:xfrm>
            <a:custGeom>
              <a:avLst/>
              <a:gdLst/>
              <a:ahLst/>
              <a:cxnLst/>
              <a:rect l="l" t="t" r="r" b="b"/>
              <a:pathLst>
                <a:path w="5829" h="820" extrusionOk="0">
                  <a:moveTo>
                    <a:pt x="442" y="0"/>
                  </a:moveTo>
                  <a:cubicBezTo>
                    <a:pt x="190" y="0"/>
                    <a:pt x="1" y="189"/>
                    <a:pt x="1" y="441"/>
                  </a:cubicBezTo>
                  <a:cubicBezTo>
                    <a:pt x="1" y="630"/>
                    <a:pt x="190" y="819"/>
                    <a:pt x="442" y="819"/>
                  </a:cubicBezTo>
                  <a:lnTo>
                    <a:pt x="5388" y="819"/>
                  </a:lnTo>
                  <a:cubicBezTo>
                    <a:pt x="5640" y="819"/>
                    <a:pt x="5829" y="630"/>
                    <a:pt x="5829" y="441"/>
                  </a:cubicBezTo>
                  <a:cubicBezTo>
                    <a:pt x="5829" y="189"/>
                    <a:pt x="5640" y="0"/>
                    <a:pt x="5388" y="0"/>
                  </a:cubicBezTo>
                  <a:close/>
                </a:path>
              </a:pathLst>
            </a:custGeom>
            <a:grpFill/>
            <a:ln>
              <a:noFill/>
            </a:ln>
          </p:spPr>
          <p:txBody>
            <a:bodyPr spcFirstLastPara="1" wrap="square" lIns="60950" tIns="60950" rIns="60950" bIns="60950" anchor="ctr" anchorCtr="0">
              <a:noAutofit/>
            </a:bodyPr>
            <a:lstStyle/>
            <a:p>
              <a:endParaRPr sz="1200"/>
            </a:p>
          </p:txBody>
        </p:sp>
        <p:sp>
          <p:nvSpPr>
            <p:cNvPr id="54" name="Google Shape;5214;p64"/>
            <p:cNvSpPr/>
            <p:nvPr/>
          </p:nvSpPr>
          <p:spPr>
            <a:xfrm>
              <a:off x="-60947675" y="2415250"/>
              <a:ext cx="145725" cy="20500"/>
            </a:xfrm>
            <a:custGeom>
              <a:avLst/>
              <a:gdLst/>
              <a:ahLst/>
              <a:cxnLst/>
              <a:rect l="l" t="t" r="r" b="b"/>
              <a:pathLst>
                <a:path w="5829" h="820" extrusionOk="0">
                  <a:moveTo>
                    <a:pt x="442" y="0"/>
                  </a:moveTo>
                  <a:cubicBezTo>
                    <a:pt x="190" y="0"/>
                    <a:pt x="1" y="189"/>
                    <a:pt x="1" y="378"/>
                  </a:cubicBezTo>
                  <a:cubicBezTo>
                    <a:pt x="1" y="630"/>
                    <a:pt x="190" y="819"/>
                    <a:pt x="442" y="819"/>
                  </a:cubicBezTo>
                  <a:lnTo>
                    <a:pt x="5388" y="819"/>
                  </a:lnTo>
                  <a:cubicBezTo>
                    <a:pt x="5640" y="819"/>
                    <a:pt x="5829" y="630"/>
                    <a:pt x="5829" y="378"/>
                  </a:cubicBezTo>
                  <a:cubicBezTo>
                    <a:pt x="5829" y="158"/>
                    <a:pt x="5640" y="0"/>
                    <a:pt x="5388" y="0"/>
                  </a:cubicBezTo>
                  <a:close/>
                </a:path>
              </a:pathLst>
            </a:custGeom>
            <a:grpFill/>
            <a:ln>
              <a:noFill/>
            </a:ln>
          </p:spPr>
          <p:txBody>
            <a:bodyPr spcFirstLastPara="1" wrap="square" lIns="60950" tIns="60950" rIns="60950" bIns="60950" anchor="ctr" anchorCtr="0">
              <a:noAutofit/>
            </a:bodyPr>
            <a:lstStyle/>
            <a:p>
              <a:endParaRPr sz="1200"/>
            </a:p>
          </p:txBody>
        </p:sp>
        <p:sp>
          <p:nvSpPr>
            <p:cNvPr id="55" name="Google Shape;5215;p64"/>
            <p:cNvSpPr/>
            <p:nvPr/>
          </p:nvSpPr>
          <p:spPr>
            <a:xfrm>
              <a:off x="-60947675" y="2475875"/>
              <a:ext cx="145725" cy="22100"/>
            </a:xfrm>
            <a:custGeom>
              <a:avLst/>
              <a:gdLst/>
              <a:ahLst/>
              <a:cxnLst/>
              <a:rect l="l" t="t" r="r" b="b"/>
              <a:pathLst>
                <a:path w="5829" h="884" extrusionOk="0">
                  <a:moveTo>
                    <a:pt x="442" y="1"/>
                  </a:moveTo>
                  <a:cubicBezTo>
                    <a:pt x="190" y="1"/>
                    <a:pt x="1" y="221"/>
                    <a:pt x="1" y="442"/>
                  </a:cubicBezTo>
                  <a:cubicBezTo>
                    <a:pt x="1" y="694"/>
                    <a:pt x="190" y="883"/>
                    <a:pt x="442" y="883"/>
                  </a:cubicBezTo>
                  <a:lnTo>
                    <a:pt x="5388" y="883"/>
                  </a:lnTo>
                  <a:cubicBezTo>
                    <a:pt x="5640" y="883"/>
                    <a:pt x="5829" y="694"/>
                    <a:pt x="5829" y="442"/>
                  </a:cubicBezTo>
                  <a:cubicBezTo>
                    <a:pt x="5829" y="221"/>
                    <a:pt x="5640" y="1"/>
                    <a:pt x="5388" y="1"/>
                  </a:cubicBezTo>
                  <a:close/>
                </a:path>
              </a:pathLst>
            </a:custGeom>
            <a:grpFill/>
            <a:ln>
              <a:noFill/>
            </a:ln>
          </p:spPr>
          <p:txBody>
            <a:bodyPr spcFirstLastPara="1" wrap="square" lIns="60950" tIns="60950" rIns="60950" bIns="60950" anchor="ctr" anchorCtr="0">
              <a:noAutofit/>
            </a:bodyPr>
            <a:lstStyle/>
            <a:p>
              <a:endParaRPr sz="1200"/>
            </a:p>
          </p:txBody>
        </p:sp>
        <p:sp>
          <p:nvSpPr>
            <p:cNvPr id="56" name="Google Shape;5216;p64"/>
            <p:cNvSpPr/>
            <p:nvPr/>
          </p:nvSpPr>
          <p:spPr>
            <a:xfrm>
              <a:off x="-60947675" y="2538100"/>
              <a:ext cx="145725" cy="22075"/>
            </a:xfrm>
            <a:custGeom>
              <a:avLst/>
              <a:gdLst/>
              <a:ahLst/>
              <a:cxnLst/>
              <a:rect l="l" t="t" r="r" b="b"/>
              <a:pathLst>
                <a:path w="5829" h="883" extrusionOk="0">
                  <a:moveTo>
                    <a:pt x="442" y="1"/>
                  </a:moveTo>
                  <a:cubicBezTo>
                    <a:pt x="190" y="1"/>
                    <a:pt x="1" y="190"/>
                    <a:pt x="1" y="442"/>
                  </a:cubicBezTo>
                  <a:cubicBezTo>
                    <a:pt x="1" y="662"/>
                    <a:pt x="190" y="883"/>
                    <a:pt x="442" y="883"/>
                  </a:cubicBezTo>
                  <a:lnTo>
                    <a:pt x="5388" y="883"/>
                  </a:lnTo>
                  <a:cubicBezTo>
                    <a:pt x="5640" y="883"/>
                    <a:pt x="5829" y="662"/>
                    <a:pt x="5829" y="442"/>
                  </a:cubicBezTo>
                  <a:cubicBezTo>
                    <a:pt x="5829" y="190"/>
                    <a:pt x="5640" y="1"/>
                    <a:pt x="5388" y="1"/>
                  </a:cubicBezTo>
                  <a:close/>
                </a:path>
              </a:pathLst>
            </a:custGeom>
            <a:grpFill/>
            <a:ln>
              <a:noFill/>
            </a:ln>
          </p:spPr>
          <p:txBody>
            <a:bodyPr spcFirstLastPara="1" wrap="square" lIns="60950" tIns="60950" rIns="60950" bIns="60950" anchor="ctr" anchorCtr="0">
              <a:noAutofit/>
            </a:bodyPr>
            <a:lstStyle/>
            <a:p>
              <a:endParaRPr sz="1200"/>
            </a:p>
          </p:txBody>
        </p:sp>
        <p:sp>
          <p:nvSpPr>
            <p:cNvPr id="57" name="Google Shape;5217;p64"/>
            <p:cNvSpPr/>
            <p:nvPr/>
          </p:nvSpPr>
          <p:spPr>
            <a:xfrm>
              <a:off x="-60740525" y="2312050"/>
              <a:ext cx="68550" cy="233950"/>
            </a:xfrm>
            <a:custGeom>
              <a:avLst/>
              <a:gdLst/>
              <a:ahLst/>
              <a:cxnLst/>
              <a:rect l="l" t="t" r="r" b="b"/>
              <a:pathLst>
                <a:path w="2742" h="9358" extrusionOk="0">
                  <a:moveTo>
                    <a:pt x="1796" y="789"/>
                  </a:moveTo>
                  <a:cubicBezTo>
                    <a:pt x="1891" y="789"/>
                    <a:pt x="1922" y="852"/>
                    <a:pt x="1922" y="946"/>
                  </a:cubicBezTo>
                  <a:lnTo>
                    <a:pt x="1922" y="1639"/>
                  </a:lnTo>
                  <a:lnTo>
                    <a:pt x="820" y="1639"/>
                  </a:lnTo>
                  <a:lnTo>
                    <a:pt x="820" y="946"/>
                  </a:lnTo>
                  <a:cubicBezTo>
                    <a:pt x="820" y="852"/>
                    <a:pt x="883" y="789"/>
                    <a:pt x="977" y="789"/>
                  </a:cubicBezTo>
                  <a:close/>
                  <a:moveTo>
                    <a:pt x="1922" y="2458"/>
                  </a:moveTo>
                  <a:lnTo>
                    <a:pt x="1922" y="6617"/>
                  </a:lnTo>
                  <a:lnTo>
                    <a:pt x="820" y="6617"/>
                  </a:lnTo>
                  <a:lnTo>
                    <a:pt x="820" y="2458"/>
                  </a:lnTo>
                  <a:close/>
                  <a:moveTo>
                    <a:pt x="1639" y="7436"/>
                  </a:moveTo>
                  <a:lnTo>
                    <a:pt x="1355" y="8035"/>
                  </a:lnTo>
                  <a:lnTo>
                    <a:pt x="1040" y="7436"/>
                  </a:lnTo>
                  <a:close/>
                  <a:moveTo>
                    <a:pt x="977" y="1"/>
                  </a:moveTo>
                  <a:cubicBezTo>
                    <a:pt x="410" y="1"/>
                    <a:pt x="1" y="410"/>
                    <a:pt x="1" y="946"/>
                  </a:cubicBezTo>
                  <a:lnTo>
                    <a:pt x="1" y="6995"/>
                  </a:lnTo>
                  <a:cubicBezTo>
                    <a:pt x="1" y="7090"/>
                    <a:pt x="1" y="7121"/>
                    <a:pt x="32" y="7184"/>
                  </a:cubicBezTo>
                  <a:lnTo>
                    <a:pt x="1009" y="9137"/>
                  </a:lnTo>
                  <a:cubicBezTo>
                    <a:pt x="1103" y="9295"/>
                    <a:pt x="1198" y="9358"/>
                    <a:pt x="1355" y="9358"/>
                  </a:cubicBezTo>
                  <a:cubicBezTo>
                    <a:pt x="1513" y="9358"/>
                    <a:pt x="1670" y="9295"/>
                    <a:pt x="1733" y="9137"/>
                  </a:cubicBezTo>
                  <a:lnTo>
                    <a:pt x="2678" y="7184"/>
                  </a:lnTo>
                  <a:cubicBezTo>
                    <a:pt x="2710" y="7153"/>
                    <a:pt x="2710" y="7090"/>
                    <a:pt x="2710" y="6995"/>
                  </a:cubicBezTo>
                  <a:lnTo>
                    <a:pt x="2710" y="946"/>
                  </a:lnTo>
                  <a:cubicBezTo>
                    <a:pt x="2741" y="410"/>
                    <a:pt x="2300" y="1"/>
                    <a:pt x="1796" y="1"/>
                  </a:cubicBezTo>
                  <a:close/>
                </a:path>
              </a:pathLst>
            </a:custGeom>
            <a:grpFill/>
            <a:ln>
              <a:noFill/>
            </a:ln>
          </p:spPr>
          <p:txBody>
            <a:bodyPr spcFirstLastPara="1" wrap="square" lIns="60950" tIns="60950" rIns="60950" bIns="60950" anchor="ctr" anchorCtr="0">
              <a:noAutofit/>
            </a:bodyPr>
            <a:lstStyle/>
            <a:p>
              <a:endParaRPr sz="1200"/>
            </a:p>
          </p:txBody>
        </p:sp>
      </p:grpSp>
    </p:spTree>
    <p:extLst>
      <p:ext uri="{BB962C8B-B14F-4D97-AF65-F5344CB8AC3E}">
        <p14:creationId xmlns:p14="http://schemas.microsoft.com/office/powerpoint/2010/main" val="8449886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ools and Technology</a:t>
            </a:r>
          </a:p>
        </p:txBody>
      </p:sp>
      <p:graphicFrame>
        <p:nvGraphicFramePr>
          <p:cNvPr id="3" name="Table 2"/>
          <p:cNvGraphicFramePr>
            <a:graphicFrameLocks noGrp="1"/>
          </p:cNvGraphicFramePr>
          <p:nvPr>
            <p:extLst>
              <p:ext uri="{D42A27DB-BD31-4B8C-83A1-F6EECF244321}">
                <p14:modId xmlns:p14="http://schemas.microsoft.com/office/powerpoint/2010/main" val="2072865276"/>
              </p:ext>
            </p:extLst>
          </p:nvPr>
        </p:nvGraphicFramePr>
        <p:xfrm>
          <a:off x="1308357" y="1301676"/>
          <a:ext cx="6576998" cy="3151989"/>
        </p:xfrm>
        <a:graphic>
          <a:graphicData uri="http://schemas.openxmlformats.org/drawingml/2006/table">
            <a:tbl>
              <a:tblPr>
                <a:tableStyleId>{5940675A-B579-460E-94D1-54222C63F5DA}</a:tableStyleId>
              </a:tblPr>
              <a:tblGrid>
                <a:gridCol w="2756074">
                  <a:extLst>
                    <a:ext uri="{9D8B030D-6E8A-4147-A177-3AD203B41FA5}">
                      <a16:colId xmlns:a16="http://schemas.microsoft.com/office/drawing/2014/main" val="2196337714"/>
                    </a:ext>
                  </a:extLst>
                </a:gridCol>
                <a:gridCol w="3820924">
                  <a:extLst>
                    <a:ext uri="{9D8B030D-6E8A-4147-A177-3AD203B41FA5}">
                      <a16:colId xmlns:a16="http://schemas.microsoft.com/office/drawing/2014/main" val="1347746331"/>
                    </a:ext>
                  </a:extLst>
                </a:gridCol>
              </a:tblGrid>
              <a:tr h="341662">
                <a:tc>
                  <a:txBody>
                    <a:bodyPr/>
                    <a:lstStyle/>
                    <a:p>
                      <a:pPr algn="ctr"/>
                      <a:r>
                        <a:rPr lang="en-IN" sz="1400" b="1">
                          <a:solidFill>
                            <a:schemeClr val="bg1"/>
                          </a:solidFill>
                        </a:rPr>
                        <a:t>Technology</a:t>
                      </a:r>
                    </a:p>
                  </a:txBody>
                  <a:tcPr marL="41889" marR="41889" marT="20945" marB="20945" anchor="ctr">
                    <a:solidFill>
                      <a:srgbClr val="7030A0"/>
                    </a:solidFill>
                  </a:tcPr>
                </a:tc>
                <a:tc>
                  <a:txBody>
                    <a:bodyPr/>
                    <a:lstStyle/>
                    <a:p>
                      <a:pPr algn="ctr"/>
                      <a:r>
                        <a:rPr lang="en-IN" sz="1400" b="1">
                          <a:solidFill>
                            <a:schemeClr val="bg1"/>
                          </a:solidFill>
                        </a:rPr>
                        <a:t>Tools</a:t>
                      </a:r>
                    </a:p>
                  </a:txBody>
                  <a:tcPr marL="41889" marR="41889" marT="20945" marB="20945" anchor="ctr">
                    <a:solidFill>
                      <a:srgbClr val="7030A0"/>
                    </a:solidFill>
                  </a:tcPr>
                </a:tc>
                <a:extLst>
                  <a:ext uri="{0D108BD9-81ED-4DB2-BD59-A6C34878D82A}">
                    <a16:rowId xmlns:a16="http://schemas.microsoft.com/office/drawing/2014/main" val="745076295"/>
                  </a:ext>
                </a:extLst>
              </a:tr>
              <a:tr h="755869">
                <a:tc>
                  <a:txBody>
                    <a:bodyPr/>
                    <a:lstStyle/>
                    <a:p>
                      <a:pPr algn="ctr"/>
                      <a:r>
                        <a:rPr lang="en-IN" sz="1400"/>
                        <a:t>SIEM</a:t>
                      </a:r>
                    </a:p>
                  </a:txBody>
                  <a:tcPr marL="41889" marR="41889" marT="20945" marB="20945" anchor="ctr"/>
                </a:tc>
                <a:tc>
                  <a:txBody>
                    <a:bodyPr/>
                    <a:lstStyle/>
                    <a:p>
                      <a:pPr algn="ctr"/>
                      <a:r>
                        <a:rPr lang="en-IN" sz="1400"/>
                        <a:t>LogRhythm and Splunk(log retention)</a:t>
                      </a:r>
                    </a:p>
                  </a:txBody>
                  <a:tcPr marL="41889" marR="41889" marT="20945" marB="20945" anchor="ctr"/>
                </a:tc>
                <a:extLst>
                  <a:ext uri="{0D108BD9-81ED-4DB2-BD59-A6C34878D82A}">
                    <a16:rowId xmlns:a16="http://schemas.microsoft.com/office/drawing/2014/main" val="1620823867"/>
                  </a:ext>
                </a:extLst>
              </a:tr>
              <a:tr h="432863">
                <a:tc>
                  <a:txBody>
                    <a:bodyPr/>
                    <a:lstStyle/>
                    <a:p>
                      <a:pPr algn="ctr"/>
                      <a:r>
                        <a:rPr lang="en-IN" sz="1400">
                          <a:solidFill>
                            <a:schemeClr val="tx1"/>
                          </a:solidFill>
                        </a:rPr>
                        <a:t>Endpoint</a:t>
                      </a:r>
                    </a:p>
                  </a:txBody>
                  <a:tcPr marL="41889" marR="41889" marT="20945" marB="20945" anchor="ctr"/>
                </a:tc>
                <a:tc>
                  <a:txBody>
                    <a:bodyPr/>
                    <a:lstStyle/>
                    <a:p>
                      <a:pPr algn="ctr"/>
                      <a:r>
                        <a:rPr lang="en-IN" sz="1400"/>
                        <a:t>ESET </a:t>
                      </a:r>
                    </a:p>
                  </a:txBody>
                  <a:tcPr marL="41889" marR="41889" marT="20945" marB="20945" anchor="ctr"/>
                </a:tc>
                <a:extLst>
                  <a:ext uri="{0D108BD9-81ED-4DB2-BD59-A6C34878D82A}">
                    <a16:rowId xmlns:a16="http://schemas.microsoft.com/office/drawing/2014/main" val="1637536225"/>
                  </a:ext>
                </a:extLst>
              </a:tr>
              <a:tr h="755869">
                <a:tc>
                  <a:txBody>
                    <a:bodyPr/>
                    <a:lstStyle/>
                    <a:p>
                      <a:pPr algn="ctr"/>
                      <a:r>
                        <a:rPr lang="en-IN" sz="1400"/>
                        <a:t>Vulnerability Management</a:t>
                      </a:r>
                    </a:p>
                  </a:txBody>
                  <a:tcPr marL="41889" marR="41889" marT="20945" marB="20945" anchor="ctr"/>
                </a:tc>
                <a:tc>
                  <a:txBody>
                    <a:bodyPr/>
                    <a:lstStyle/>
                    <a:p>
                      <a:pPr algn="ctr"/>
                      <a:r>
                        <a:rPr lang="en-IN" sz="1400"/>
                        <a:t>Trustwave</a:t>
                      </a:r>
                    </a:p>
                  </a:txBody>
                  <a:tcPr marL="41889" marR="41889" marT="20945" marB="20945" anchor="ctr"/>
                </a:tc>
                <a:extLst>
                  <a:ext uri="{0D108BD9-81ED-4DB2-BD59-A6C34878D82A}">
                    <a16:rowId xmlns:a16="http://schemas.microsoft.com/office/drawing/2014/main" val="3141049863"/>
                  </a:ext>
                </a:extLst>
              </a:tr>
              <a:tr h="432863">
                <a:tc>
                  <a:txBody>
                    <a:bodyPr/>
                    <a:lstStyle/>
                    <a:p>
                      <a:pPr algn="ctr"/>
                      <a:r>
                        <a:rPr lang="en-IN" sz="1400"/>
                        <a:t>Firewall</a:t>
                      </a:r>
                    </a:p>
                  </a:txBody>
                  <a:tcPr marL="41889" marR="41889" marT="20945" marB="20945" anchor="ctr"/>
                </a:tc>
                <a:tc>
                  <a:txBody>
                    <a:bodyPr/>
                    <a:lstStyle/>
                    <a:p>
                      <a:pPr algn="ctr"/>
                      <a:r>
                        <a:rPr lang="en-IN" sz="1400"/>
                        <a:t>PaloAlto </a:t>
                      </a:r>
                    </a:p>
                  </a:txBody>
                  <a:tcPr marL="41889" marR="41889" marT="20945" marB="20945" anchor="ctr"/>
                </a:tc>
                <a:extLst>
                  <a:ext uri="{0D108BD9-81ED-4DB2-BD59-A6C34878D82A}">
                    <a16:rowId xmlns:a16="http://schemas.microsoft.com/office/drawing/2014/main" val="1557173233"/>
                  </a:ext>
                </a:extLst>
              </a:tr>
              <a:tr h="432863">
                <a:tc>
                  <a:txBody>
                    <a:bodyPr/>
                    <a:lstStyle/>
                    <a:p>
                      <a:pPr algn="ctr"/>
                      <a:r>
                        <a:rPr lang="en-IN" sz="1400"/>
                        <a:t>Ticketing Tool</a:t>
                      </a:r>
                    </a:p>
                  </a:txBody>
                  <a:tcPr marL="41889" marR="41889" marT="20945" marB="20945" anchor="ctr"/>
                </a:tc>
                <a:tc>
                  <a:txBody>
                    <a:bodyPr/>
                    <a:lstStyle/>
                    <a:p>
                      <a:pPr algn="ctr"/>
                      <a:r>
                        <a:rPr lang="en-IN" sz="1400"/>
                        <a:t>JIRA</a:t>
                      </a:r>
                    </a:p>
                  </a:txBody>
                  <a:tcPr marL="41889" marR="41889" marT="20945" marB="20945" anchor="ctr"/>
                </a:tc>
                <a:extLst>
                  <a:ext uri="{0D108BD9-81ED-4DB2-BD59-A6C34878D82A}">
                    <a16:rowId xmlns:a16="http://schemas.microsoft.com/office/drawing/2014/main" val="3786172822"/>
                  </a:ext>
                </a:extLst>
              </a:tr>
            </a:tbl>
          </a:graphicData>
        </a:graphic>
      </p:graphicFrame>
    </p:spTree>
    <p:extLst>
      <p:ext uri="{BB962C8B-B14F-4D97-AF65-F5344CB8AC3E}">
        <p14:creationId xmlns:p14="http://schemas.microsoft.com/office/powerpoint/2010/main" val="3291726870"/>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enefits</a:t>
            </a:r>
          </a:p>
        </p:txBody>
      </p:sp>
      <p:sp>
        <p:nvSpPr>
          <p:cNvPr id="3" name="Trapezoid 2"/>
          <p:cNvSpPr/>
          <p:nvPr/>
        </p:nvSpPr>
        <p:spPr>
          <a:xfrm>
            <a:off x="609599" y="1270172"/>
            <a:ext cx="4999047" cy="1451582"/>
          </a:xfrm>
          <a:prstGeom prst="trapezoid">
            <a:avLst>
              <a:gd name="adj" fmla="val 6978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rapezoid 3"/>
          <p:cNvSpPr/>
          <p:nvPr/>
        </p:nvSpPr>
        <p:spPr>
          <a:xfrm>
            <a:off x="6422445" y="1270172"/>
            <a:ext cx="4999047" cy="1451582"/>
          </a:xfrm>
          <a:prstGeom prst="trapezoid">
            <a:avLst>
              <a:gd name="adj" fmla="val 697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Same Side Corner Rectangle 4"/>
          <p:cNvSpPr/>
          <p:nvPr/>
        </p:nvSpPr>
        <p:spPr>
          <a:xfrm>
            <a:off x="609599" y="1425556"/>
            <a:ext cx="4999047" cy="1131517"/>
          </a:xfrm>
          <a:prstGeom prst="round2SameRect">
            <a:avLst/>
          </a:prstGeom>
          <a:solidFill>
            <a:schemeClr val="bg2"/>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a:solidFill>
                  <a:schemeClr val="tx1"/>
                </a:solidFill>
                <a:cs typeface="Arial"/>
              </a:rPr>
              <a:t>Handing more than 2000+ incidents per month </a:t>
            </a:r>
          </a:p>
        </p:txBody>
      </p:sp>
      <p:sp>
        <p:nvSpPr>
          <p:cNvPr id="6" name="Round Same Side Corner Rectangle 5"/>
          <p:cNvSpPr/>
          <p:nvPr/>
        </p:nvSpPr>
        <p:spPr>
          <a:xfrm>
            <a:off x="6422444" y="1425556"/>
            <a:ext cx="4999047" cy="1131517"/>
          </a:xfrm>
          <a:prstGeom prst="round2SameRect">
            <a:avLst/>
          </a:prstGeom>
          <a:solidFill>
            <a:schemeClr val="bg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a:solidFill>
                  <a:schemeClr val="tx1"/>
                </a:solidFill>
                <a:cs typeface="Arial"/>
              </a:rPr>
              <a:t>Identified the false positive alerts and fine-tuned the rules and reduced it to 3%</a:t>
            </a:r>
          </a:p>
        </p:txBody>
      </p:sp>
      <p:sp>
        <p:nvSpPr>
          <p:cNvPr id="7" name="Trapezoid 6"/>
          <p:cNvSpPr/>
          <p:nvPr/>
        </p:nvSpPr>
        <p:spPr>
          <a:xfrm>
            <a:off x="609599" y="2949057"/>
            <a:ext cx="4999047" cy="1451582"/>
          </a:xfrm>
          <a:prstGeom prst="trapezoid">
            <a:avLst>
              <a:gd name="adj" fmla="val 6978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apezoid 7"/>
          <p:cNvSpPr/>
          <p:nvPr/>
        </p:nvSpPr>
        <p:spPr>
          <a:xfrm>
            <a:off x="6422445" y="2949057"/>
            <a:ext cx="4999047" cy="1451582"/>
          </a:xfrm>
          <a:prstGeom prst="trapezoid">
            <a:avLst>
              <a:gd name="adj" fmla="val 6978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ame Side Corner Rectangle 8"/>
          <p:cNvSpPr/>
          <p:nvPr/>
        </p:nvSpPr>
        <p:spPr>
          <a:xfrm>
            <a:off x="609599" y="3104442"/>
            <a:ext cx="4999047" cy="1131517"/>
          </a:xfrm>
          <a:prstGeom prst="round2SameRect">
            <a:avLst/>
          </a:prstGeom>
          <a:solidFill>
            <a:schemeClr val="bg2"/>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a:solidFill>
                  <a:schemeClr val="tx1"/>
                </a:solidFill>
                <a:cs typeface="Arial"/>
              </a:rPr>
              <a:t>Helped  to concentrate more on real events and to understand the pattern</a:t>
            </a:r>
          </a:p>
        </p:txBody>
      </p:sp>
      <p:sp>
        <p:nvSpPr>
          <p:cNvPr id="10" name="Round Same Side Corner Rectangle 9"/>
          <p:cNvSpPr/>
          <p:nvPr/>
        </p:nvSpPr>
        <p:spPr>
          <a:xfrm>
            <a:off x="6422444" y="3104442"/>
            <a:ext cx="4999047" cy="1131517"/>
          </a:xfrm>
          <a:prstGeom prst="round2SameRect">
            <a:avLst/>
          </a:prstGeom>
          <a:solidFill>
            <a:schemeClr val="bg2"/>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a:solidFill>
                  <a:schemeClr val="tx1"/>
                </a:solidFill>
                <a:cs typeface="Arial"/>
              </a:rPr>
              <a:t>30-40% decrease of security incidents &amp; resources </a:t>
            </a:r>
          </a:p>
        </p:txBody>
      </p:sp>
      <p:sp>
        <p:nvSpPr>
          <p:cNvPr id="11" name="Trapezoid 10"/>
          <p:cNvSpPr/>
          <p:nvPr/>
        </p:nvSpPr>
        <p:spPr>
          <a:xfrm>
            <a:off x="3535677" y="4832338"/>
            <a:ext cx="4999047" cy="1451582"/>
          </a:xfrm>
          <a:prstGeom prst="trapezoid">
            <a:avLst>
              <a:gd name="adj" fmla="val 6978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Same Side Corner Rectangle 12"/>
          <p:cNvSpPr/>
          <p:nvPr/>
        </p:nvSpPr>
        <p:spPr>
          <a:xfrm>
            <a:off x="3535677" y="4987723"/>
            <a:ext cx="4999047" cy="1131517"/>
          </a:xfrm>
          <a:prstGeom prst="round2SameRect">
            <a:avLst/>
          </a:prstGeom>
          <a:solidFill>
            <a:schemeClr val="bg2"/>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a:solidFill>
                  <a:schemeClr val="tx1"/>
                </a:solidFill>
                <a:cs typeface="Arial"/>
              </a:rPr>
              <a:t>False Positive alerts were tweaked, and the percentage came down to 3%</a:t>
            </a:r>
          </a:p>
        </p:txBody>
      </p:sp>
    </p:spTree>
    <p:extLst>
      <p:ext uri="{BB962C8B-B14F-4D97-AF65-F5344CB8AC3E}">
        <p14:creationId xmlns:p14="http://schemas.microsoft.com/office/powerpoint/2010/main" val="2704525966"/>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56A20-4743-4DE2-BF55-06BB80A8D3ED}"/>
              </a:ext>
            </a:extLst>
          </p:cNvPr>
          <p:cNvSpPr>
            <a:spLocks noGrp="1"/>
          </p:cNvSpPr>
          <p:nvPr>
            <p:ph type="title"/>
          </p:nvPr>
        </p:nvSpPr>
        <p:spPr>
          <a:xfrm>
            <a:off x="4250267" y="2589432"/>
            <a:ext cx="4584814" cy="1172372"/>
          </a:xfrm>
        </p:spPr>
        <p:txBody>
          <a:bodyPr/>
          <a:lstStyle/>
          <a:p>
            <a:r>
              <a:rPr lang="en-GB"/>
              <a:t>Performance Monitoring</a:t>
            </a:r>
          </a:p>
        </p:txBody>
      </p:sp>
    </p:spTree>
    <p:extLst>
      <p:ext uri="{BB962C8B-B14F-4D97-AF65-F5344CB8AC3E}">
        <p14:creationId xmlns:p14="http://schemas.microsoft.com/office/powerpoint/2010/main" val="595540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ounded Rectangle 92"/>
          <p:cNvSpPr/>
          <p:nvPr/>
        </p:nvSpPr>
        <p:spPr>
          <a:xfrm>
            <a:off x="1201566" y="1293443"/>
            <a:ext cx="2156235" cy="5109315"/>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Rounded Rectangle 7"/>
          <p:cNvSpPr/>
          <p:nvPr/>
        </p:nvSpPr>
        <p:spPr>
          <a:xfrm>
            <a:off x="1384301" y="1117600"/>
            <a:ext cx="2156235" cy="5461000"/>
          </a:xfrm>
          <a:prstGeom prst="roundRect">
            <a:avLst/>
          </a:prstGeom>
          <a:solidFill>
            <a:schemeClr val="bg2"/>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6">
            <a:extLst>
              <a:ext uri="{FF2B5EF4-FFF2-40B4-BE49-F238E27FC236}">
                <a16:creationId xmlns:a16="http://schemas.microsoft.com/office/drawing/2014/main" id="{0E54C19F-5E07-4E9E-9FA9-1B892720BFBE}"/>
              </a:ext>
            </a:extLst>
          </p:cNvPr>
          <p:cNvSpPr>
            <a:spLocks noGrp="1"/>
          </p:cNvSpPr>
          <p:nvPr>
            <p:ph type="title"/>
          </p:nvPr>
        </p:nvSpPr>
        <p:spPr/>
        <p:txBody>
          <a:bodyPr/>
          <a:lstStyle/>
          <a:p>
            <a:r>
              <a:rPr lang="pl-PL"/>
              <a:t>Agenda</a:t>
            </a:r>
            <a:endParaRPr lang="en-GB"/>
          </a:p>
        </p:txBody>
      </p:sp>
      <p:sp>
        <p:nvSpPr>
          <p:cNvPr id="19" name="Rounded Rectangle 87">
            <a:extLst>
              <a:ext uri="{FF2B5EF4-FFF2-40B4-BE49-F238E27FC236}">
                <a16:creationId xmlns:a16="http://schemas.microsoft.com/office/drawing/2014/main" id="{749D6C62-4627-437D-A2B0-1DF63C5A466D}"/>
              </a:ext>
            </a:extLst>
          </p:cNvPr>
          <p:cNvSpPr>
            <a:spLocks noChangeArrowheads="1"/>
          </p:cNvSpPr>
          <p:nvPr/>
        </p:nvSpPr>
        <p:spPr bwMode="auto">
          <a:xfrm>
            <a:off x="3319701" y="2842573"/>
            <a:ext cx="7881699" cy="429317"/>
          </a:xfrm>
          <a:prstGeom prst="roundRect">
            <a:avLst>
              <a:gd name="adj" fmla="val 50000"/>
            </a:avLst>
          </a:prstGeom>
          <a:noFill/>
          <a:ln w="3175">
            <a:solidFill>
              <a:srgbClr val="2450A3"/>
            </a:solidFill>
            <a:round/>
            <a:headEnd/>
            <a:tailEnd/>
          </a:ln>
          <a:extLst>
            <a:ext uri="{909E8E84-426E-40DD-AFC4-6F175D3DCCD1}">
              <a14:hiddenFill xmlns:a14="http://schemas.microsoft.com/office/drawing/2010/main">
                <a:solidFill>
                  <a:srgbClr val="FFFFFF"/>
                </a:solidFill>
              </a14:hiddenFill>
            </a:ext>
          </a:extLst>
        </p:spPr>
        <p:txBody>
          <a:bodyPr lIns="45720" tIns="22860" rIns="45720" bIns="22860" anchor="ctr"/>
          <a:lstStyle>
            <a:lvl1pPr>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5pPr>
            <a:lvl6pPr marL="25146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6pPr>
            <a:lvl7pPr marL="29718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7pPr>
            <a:lvl8pPr marL="34290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8pPr>
            <a:lvl9pPr marL="38862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9pPr>
          </a:lstStyle>
          <a:p>
            <a:pPr eaLnBrk="1" hangingPunct="1"/>
            <a:endParaRPr lang="en-US" altLang="en-US" sz="600">
              <a:solidFill>
                <a:srgbClr val="4D4F53"/>
              </a:solidFill>
              <a:sym typeface="Arial" panose="020B0604020202020204" pitchFamily="34" charset="0"/>
            </a:endParaRPr>
          </a:p>
        </p:txBody>
      </p:sp>
      <p:sp>
        <p:nvSpPr>
          <p:cNvPr id="28" name="Rectangle 154">
            <a:extLst>
              <a:ext uri="{FF2B5EF4-FFF2-40B4-BE49-F238E27FC236}">
                <a16:creationId xmlns:a16="http://schemas.microsoft.com/office/drawing/2014/main" id="{EB4EB3BC-2126-4CD9-AF6F-5E68E08DC76F}"/>
              </a:ext>
            </a:extLst>
          </p:cNvPr>
          <p:cNvSpPr>
            <a:spLocks noChangeArrowheads="1"/>
          </p:cNvSpPr>
          <p:nvPr/>
        </p:nvSpPr>
        <p:spPr bwMode="auto">
          <a:xfrm>
            <a:off x="4139249" y="2918238"/>
            <a:ext cx="3234219"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tIns="22860" rIns="45720" bIns="22860" anchor="ctr">
            <a:spAutoFit/>
          </a:bodyPr>
          <a:lstStyle>
            <a:lvl1pPr marL="342900" indent="-3429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1pPr>
            <a:lvl2pPr>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5pPr>
            <a:lvl6pPr marL="25146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6pPr>
            <a:lvl7pPr marL="29718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7pPr>
            <a:lvl8pPr marL="34290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8pPr>
            <a:lvl9pPr marL="38862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9pPr>
          </a:lstStyle>
          <a:p>
            <a:pPr marL="0" lvl="1">
              <a:lnSpc>
                <a:spcPct val="90000"/>
              </a:lnSpc>
              <a:buClr>
                <a:srgbClr val="E63A3A"/>
              </a:buClr>
            </a:pPr>
            <a:r>
              <a:rPr lang="en-IN" sz="1800" b="1">
                <a:ea typeface="SimSun"/>
                <a:cs typeface="Arial"/>
              </a:rPr>
              <a:t>Security Operations Support</a:t>
            </a:r>
          </a:p>
        </p:txBody>
      </p:sp>
      <p:grpSp>
        <p:nvGrpSpPr>
          <p:cNvPr id="36" name="Group 35">
            <a:extLst>
              <a:ext uri="{FF2B5EF4-FFF2-40B4-BE49-F238E27FC236}">
                <a16:creationId xmlns:a16="http://schemas.microsoft.com/office/drawing/2014/main" id="{935F9335-8E5E-457E-A7F5-FE619893B5C4}"/>
              </a:ext>
            </a:extLst>
          </p:cNvPr>
          <p:cNvGrpSpPr/>
          <p:nvPr/>
        </p:nvGrpSpPr>
        <p:grpSpPr>
          <a:xfrm flipH="1">
            <a:off x="3242144" y="2767578"/>
            <a:ext cx="596783" cy="596783"/>
            <a:chOff x="9724966" y="1990112"/>
            <a:chExt cx="1019234" cy="1019234"/>
          </a:xfrm>
        </p:grpSpPr>
        <p:sp>
          <p:nvSpPr>
            <p:cNvPr id="55" name="Oval 54">
              <a:extLst>
                <a:ext uri="{FF2B5EF4-FFF2-40B4-BE49-F238E27FC236}">
                  <a16:creationId xmlns:a16="http://schemas.microsoft.com/office/drawing/2014/main" id="{13080C13-AD3D-4F03-AA7D-5E6F5B32C21E}"/>
                </a:ext>
              </a:extLst>
            </p:cNvPr>
            <p:cNvSpPr/>
            <p:nvPr/>
          </p:nvSpPr>
          <p:spPr>
            <a:xfrm>
              <a:off x="9724966" y="1990112"/>
              <a:ext cx="1019234" cy="1019234"/>
            </a:xfrm>
            <a:prstGeom prst="ellipse">
              <a:avLst/>
            </a:prstGeom>
            <a:solidFill>
              <a:schemeClr val="accent3"/>
            </a:solidFill>
            <a:ln>
              <a:noFill/>
            </a:ln>
            <a:effectLst>
              <a:outerShdw blurRad="571500" dist="266700" dir="5400000" sx="85000" sy="85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r>
                <a:rPr lang="en-US" sz="1867" b="1">
                  <a:solidFill>
                    <a:schemeClr val="bg2"/>
                  </a:solidFill>
                  <a:latin typeface="+mj-lt"/>
                  <a:cs typeface="Arial" panose="020B0604020202020204" pitchFamily="34" charset="0"/>
                </a:rPr>
                <a:t>1</a:t>
              </a:r>
            </a:p>
          </p:txBody>
        </p:sp>
        <p:sp>
          <p:nvSpPr>
            <p:cNvPr id="56" name="Arc 55">
              <a:extLst>
                <a:ext uri="{FF2B5EF4-FFF2-40B4-BE49-F238E27FC236}">
                  <a16:creationId xmlns:a16="http://schemas.microsoft.com/office/drawing/2014/main" id="{B79BD50F-025F-4D24-BEBE-0F83CC07788A}"/>
                </a:ext>
              </a:extLst>
            </p:cNvPr>
            <p:cNvSpPr/>
            <p:nvPr/>
          </p:nvSpPr>
          <p:spPr>
            <a:xfrm rot="9566664">
              <a:off x="9827727" y="2092873"/>
              <a:ext cx="813712" cy="813712"/>
            </a:xfrm>
            <a:prstGeom prst="arc">
              <a:avLst>
                <a:gd name="adj1" fmla="val 2629329"/>
                <a:gd name="adj2" fmla="val 0"/>
              </a:avLst>
            </a:prstGeom>
            <a:ln w="19050" cap="rnd">
              <a:solidFill>
                <a:schemeClr val="bg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550">
                <a:solidFill>
                  <a:srgbClr val="3A5BE0"/>
                </a:solidFill>
              </a:endParaRPr>
            </a:p>
          </p:txBody>
        </p:sp>
      </p:grpSp>
      <p:sp>
        <p:nvSpPr>
          <p:cNvPr id="58" name="Rounded Rectangle 87">
            <a:extLst>
              <a:ext uri="{FF2B5EF4-FFF2-40B4-BE49-F238E27FC236}">
                <a16:creationId xmlns:a16="http://schemas.microsoft.com/office/drawing/2014/main" id="{749D6C62-4627-437D-A2B0-1DF63C5A466D}"/>
              </a:ext>
            </a:extLst>
          </p:cNvPr>
          <p:cNvSpPr>
            <a:spLocks noChangeArrowheads="1"/>
          </p:cNvSpPr>
          <p:nvPr/>
        </p:nvSpPr>
        <p:spPr bwMode="auto">
          <a:xfrm>
            <a:off x="3319701" y="3608689"/>
            <a:ext cx="7881699" cy="429317"/>
          </a:xfrm>
          <a:prstGeom prst="roundRect">
            <a:avLst>
              <a:gd name="adj" fmla="val 50000"/>
            </a:avLst>
          </a:prstGeom>
          <a:noFill/>
          <a:ln w="317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lIns="45720" tIns="22860" rIns="45720" bIns="22860" anchor="ctr"/>
          <a:lstStyle>
            <a:lvl1pPr>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5pPr>
            <a:lvl6pPr marL="25146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6pPr>
            <a:lvl7pPr marL="29718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7pPr>
            <a:lvl8pPr marL="34290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8pPr>
            <a:lvl9pPr marL="38862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9pPr>
          </a:lstStyle>
          <a:p>
            <a:pPr eaLnBrk="1" hangingPunct="1"/>
            <a:endParaRPr lang="en-US" altLang="en-US" sz="600">
              <a:solidFill>
                <a:srgbClr val="4D4F53"/>
              </a:solidFill>
              <a:sym typeface="Arial" panose="020B0604020202020204" pitchFamily="34" charset="0"/>
            </a:endParaRPr>
          </a:p>
        </p:txBody>
      </p:sp>
      <p:sp>
        <p:nvSpPr>
          <p:cNvPr id="59" name="Rectangle 154">
            <a:extLst>
              <a:ext uri="{FF2B5EF4-FFF2-40B4-BE49-F238E27FC236}">
                <a16:creationId xmlns:a16="http://schemas.microsoft.com/office/drawing/2014/main" id="{EB4EB3BC-2126-4CD9-AF6F-5E68E08DC76F}"/>
              </a:ext>
            </a:extLst>
          </p:cNvPr>
          <p:cNvSpPr>
            <a:spLocks noChangeArrowheads="1"/>
          </p:cNvSpPr>
          <p:nvPr/>
        </p:nvSpPr>
        <p:spPr bwMode="auto">
          <a:xfrm>
            <a:off x="4139250" y="3684354"/>
            <a:ext cx="2977738"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tIns="22860" rIns="45720" bIns="22860" anchor="ctr">
            <a:spAutoFit/>
          </a:bodyPr>
          <a:lstStyle>
            <a:lvl1pPr marL="342900" indent="-3429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1pPr>
            <a:lvl2pPr>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5pPr>
            <a:lvl6pPr marL="25146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6pPr>
            <a:lvl7pPr marL="29718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7pPr>
            <a:lvl8pPr marL="34290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8pPr>
            <a:lvl9pPr marL="38862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9pPr>
          </a:lstStyle>
          <a:p>
            <a:pPr marL="0" lvl="1">
              <a:lnSpc>
                <a:spcPct val="90000"/>
              </a:lnSpc>
              <a:buClr>
                <a:srgbClr val="E63A3A"/>
              </a:buClr>
            </a:pPr>
            <a:r>
              <a:rPr lang="en-IN" sz="1800" b="1">
                <a:ea typeface="SimSun"/>
                <a:cs typeface="Arial"/>
              </a:rPr>
              <a:t>Performance Management</a:t>
            </a:r>
            <a:endParaRPr lang="en-IN" sz="1733" b="1">
              <a:latin typeface="+mj-lt"/>
              <a:ea typeface="SimSun"/>
              <a:cs typeface="Arial"/>
            </a:endParaRPr>
          </a:p>
        </p:txBody>
      </p:sp>
      <p:grpSp>
        <p:nvGrpSpPr>
          <p:cNvPr id="60" name="Group 59">
            <a:extLst>
              <a:ext uri="{FF2B5EF4-FFF2-40B4-BE49-F238E27FC236}">
                <a16:creationId xmlns:a16="http://schemas.microsoft.com/office/drawing/2014/main" id="{935F9335-8E5E-457E-A7F5-FE619893B5C4}"/>
              </a:ext>
            </a:extLst>
          </p:cNvPr>
          <p:cNvGrpSpPr/>
          <p:nvPr/>
        </p:nvGrpSpPr>
        <p:grpSpPr>
          <a:xfrm flipH="1">
            <a:off x="3242144" y="3533694"/>
            <a:ext cx="596783" cy="596783"/>
            <a:chOff x="9724966" y="1990112"/>
            <a:chExt cx="1019234" cy="1019234"/>
          </a:xfrm>
        </p:grpSpPr>
        <p:sp>
          <p:nvSpPr>
            <p:cNvPr id="61" name="Oval 60">
              <a:extLst>
                <a:ext uri="{FF2B5EF4-FFF2-40B4-BE49-F238E27FC236}">
                  <a16:creationId xmlns:a16="http://schemas.microsoft.com/office/drawing/2014/main" id="{13080C13-AD3D-4F03-AA7D-5E6F5B32C21E}"/>
                </a:ext>
              </a:extLst>
            </p:cNvPr>
            <p:cNvSpPr/>
            <p:nvPr/>
          </p:nvSpPr>
          <p:spPr>
            <a:xfrm>
              <a:off x="9724966" y="1990112"/>
              <a:ext cx="1019234" cy="1019234"/>
            </a:xfrm>
            <a:prstGeom prst="ellipse">
              <a:avLst/>
            </a:prstGeom>
            <a:solidFill>
              <a:schemeClr val="accent2"/>
            </a:solidFill>
            <a:ln>
              <a:noFill/>
            </a:ln>
            <a:effectLst>
              <a:outerShdw blurRad="571500" dist="266700" dir="5400000" sx="85000" sy="85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r>
                <a:rPr lang="en-US" sz="1867" b="1">
                  <a:solidFill>
                    <a:schemeClr val="bg2"/>
                  </a:solidFill>
                  <a:latin typeface="+mj-lt"/>
                  <a:cs typeface="Arial" panose="020B0604020202020204" pitchFamily="34" charset="0"/>
                </a:rPr>
                <a:t>2</a:t>
              </a:r>
            </a:p>
          </p:txBody>
        </p:sp>
        <p:sp>
          <p:nvSpPr>
            <p:cNvPr id="62" name="Arc 61">
              <a:extLst>
                <a:ext uri="{FF2B5EF4-FFF2-40B4-BE49-F238E27FC236}">
                  <a16:creationId xmlns:a16="http://schemas.microsoft.com/office/drawing/2014/main" id="{B79BD50F-025F-4D24-BEBE-0F83CC07788A}"/>
                </a:ext>
              </a:extLst>
            </p:cNvPr>
            <p:cNvSpPr/>
            <p:nvPr/>
          </p:nvSpPr>
          <p:spPr>
            <a:xfrm rot="9566664">
              <a:off x="9827727" y="2092873"/>
              <a:ext cx="813712" cy="813712"/>
            </a:xfrm>
            <a:prstGeom prst="arc">
              <a:avLst>
                <a:gd name="adj1" fmla="val 2629329"/>
                <a:gd name="adj2" fmla="val 0"/>
              </a:avLst>
            </a:prstGeom>
            <a:ln w="19050" cap="rnd">
              <a:solidFill>
                <a:schemeClr val="bg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550">
                <a:solidFill>
                  <a:srgbClr val="3A5BE0"/>
                </a:solidFill>
              </a:endParaRPr>
            </a:p>
          </p:txBody>
        </p:sp>
      </p:grpSp>
      <p:sp>
        <p:nvSpPr>
          <p:cNvPr id="64" name="Rounded Rectangle 87">
            <a:extLst>
              <a:ext uri="{FF2B5EF4-FFF2-40B4-BE49-F238E27FC236}">
                <a16:creationId xmlns:a16="http://schemas.microsoft.com/office/drawing/2014/main" id="{749D6C62-4627-437D-A2B0-1DF63C5A466D}"/>
              </a:ext>
            </a:extLst>
          </p:cNvPr>
          <p:cNvSpPr>
            <a:spLocks noChangeArrowheads="1"/>
          </p:cNvSpPr>
          <p:nvPr/>
        </p:nvSpPr>
        <p:spPr bwMode="auto">
          <a:xfrm>
            <a:off x="3319701" y="4374805"/>
            <a:ext cx="7881699" cy="429317"/>
          </a:xfrm>
          <a:prstGeom prst="roundRect">
            <a:avLst>
              <a:gd name="adj" fmla="val 50000"/>
            </a:avLst>
          </a:prstGeom>
          <a:noFill/>
          <a:ln w="3175">
            <a:solidFill>
              <a:schemeClr val="accent5"/>
            </a:solidFill>
            <a:round/>
            <a:headEnd/>
            <a:tailEnd/>
          </a:ln>
          <a:extLst>
            <a:ext uri="{909E8E84-426E-40DD-AFC4-6F175D3DCCD1}">
              <a14:hiddenFill xmlns:a14="http://schemas.microsoft.com/office/drawing/2010/main">
                <a:solidFill>
                  <a:srgbClr val="FFFFFF"/>
                </a:solidFill>
              </a14:hiddenFill>
            </a:ext>
          </a:extLst>
        </p:spPr>
        <p:txBody>
          <a:bodyPr lIns="45720" tIns="22860" rIns="45720" bIns="22860" anchor="ctr"/>
          <a:lstStyle>
            <a:lvl1pPr>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1pPr>
            <a:lvl2pPr marL="742950" indent="-28575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5pPr>
            <a:lvl6pPr marL="25146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6pPr>
            <a:lvl7pPr marL="29718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7pPr>
            <a:lvl8pPr marL="34290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8pPr>
            <a:lvl9pPr marL="38862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9pPr>
          </a:lstStyle>
          <a:p>
            <a:pPr eaLnBrk="1" hangingPunct="1"/>
            <a:endParaRPr lang="en-US" altLang="en-US" sz="600">
              <a:solidFill>
                <a:srgbClr val="4D4F53"/>
              </a:solidFill>
              <a:sym typeface="Arial" panose="020B0604020202020204" pitchFamily="34" charset="0"/>
            </a:endParaRPr>
          </a:p>
        </p:txBody>
      </p:sp>
      <p:grpSp>
        <p:nvGrpSpPr>
          <p:cNvPr id="66" name="Group 65">
            <a:extLst>
              <a:ext uri="{FF2B5EF4-FFF2-40B4-BE49-F238E27FC236}">
                <a16:creationId xmlns:a16="http://schemas.microsoft.com/office/drawing/2014/main" id="{935F9335-8E5E-457E-A7F5-FE619893B5C4}"/>
              </a:ext>
            </a:extLst>
          </p:cNvPr>
          <p:cNvGrpSpPr/>
          <p:nvPr/>
        </p:nvGrpSpPr>
        <p:grpSpPr>
          <a:xfrm flipH="1">
            <a:off x="3242144" y="4299810"/>
            <a:ext cx="596783" cy="596783"/>
            <a:chOff x="9724966" y="1990112"/>
            <a:chExt cx="1019234" cy="1019234"/>
          </a:xfrm>
        </p:grpSpPr>
        <p:sp>
          <p:nvSpPr>
            <p:cNvPr id="67" name="Oval 66">
              <a:extLst>
                <a:ext uri="{FF2B5EF4-FFF2-40B4-BE49-F238E27FC236}">
                  <a16:creationId xmlns:a16="http://schemas.microsoft.com/office/drawing/2014/main" id="{13080C13-AD3D-4F03-AA7D-5E6F5B32C21E}"/>
                </a:ext>
              </a:extLst>
            </p:cNvPr>
            <p:cNvSpPr/>
            <p:nvPr/>
          </p:nvSpPr>
          <p:spPr>
            <a:xfrm>
              <a:off x="9724966" y="1990112"/>
              <a:ext cx="1019234" cy="1019234"/>
            </a:xfrm>
            <a:prstGeom prst="ellipse">
              <a:avLst/>
            </a:prstGeom>
            <a:solidFill>
              <a:schemeClr val="accent5"/>
            </a:solidFill>
            <a:ln>
              <a:noFill/>
            </a:ln>
            <a:effectLst>
              <a:outerShdw blurRad="571500" dist="266700" dir="5400000" sx="85000" sy="85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r>
                <a:rPr lang="en-US" sz="1867" b="1">
                  <a:solidFill>
                    <a:schemeClr val="bg2"/>
                  </a:solidFill>
                  <a:latin typeface="+mj-lt"/>
                  <a:cs typeface="Arial" panose="020B0604020202020204" pitchFamily="34" charset="0"/>
                </a:rPr>
                <a:t>3</a:t>
              </a:r>
            </a:p>
          </p:txBody>
        </p:sp>
        <p:sp>
          <p:nvSpPr>
            <p:cNvPr id="68" name="Arc 67">
              <a:extLst>
                <a:ext uri="{FF2B5EF4-FFF2-40B4-BE49-F238E27FC236}">
                  <a16:creationId xmlns:a16="http://schemas.microsoft.com/office/drawing/2014/main" id="{B79BD50F-025F-4D24-BEBE-0F83CC07788A}"/>
                </a:ext>
              </a:extLst>
            </p:cNvPr>
            <p:cNvSpPr/>
            <p:nvPr/>
          </p:nvSpPr>
          <p:spPr>
            <a:xfrm rot="9566664">
              <a:off x="9827727" y="2092873"/>
              <a:ext cx="813712" cy="813712"/>
            </a:xfrm>
            <a:prstGeom prst="arc">
              <a:avLst>
                <a:gd name="adj1" fmla="val 2629329"/>
                <a:gd name="adj2" fmla="val 0"/>
              </a:avLst>
            </a:prstGeom>
            <a:ln w="19050" cap="rnd">
              <a:solidFill>
                <a:schemeClr val="bg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550">
                <a:solidFill>
                  <a:srgbClr val="3A5BE0"/>
                </a:solidFill>
              </a:endParaRPr>
            </a:p>
          </p:txBody>
        </p:sp>
      </p:grpSp>
      <p:grpSp>
        <p:nvGrpSpPr>
          <p:cNvPr id="94" name="Google Shape;8676;p72"/>
          <p:cNvGrpSpPr/>
          <p:nvPr/>
        </p:nvGrpSpPr>
        <p:grpSpPr>
          <a:xfrm>
            <a:off x="1888382" y="3387685"/>
            <a:ext cx="933234" cy="920831"/>
            <a:chOff x="-6713450" y="2397900"/>
            <a:chExt cx="295375" cy="291450"/>
          </a:xfrm>
          <a:solidFill>
            <a:schemeClr val="accent1"/>
          </a:solidFill>
        </p:grpSpPr>
        <p:sp>
          <p:nvSpPr>
            <p:cNvPr id="95" name="Google Shape;8677;p72"/>
            <p:cNvSpPr/>
            <p:nvPr/>
          </p:nvSpPr>
          <p:spPr>
            <a:xfrm>
              <a:off x="-6628400" y="2465650"/>
              <a:ext cx="69350" cy="17350"/>
            </a:xfrm>
            <a:custGeom>
              <a:avLst/>
              <a:gdLst/>
              <a:ahLst/>
              <a:cxnLst/>
              <a:rect l="l" t="t" r="r" b="b"/>
              <a:pathLst>
                <a:path w="2774" h="694" extrusionOk="0">
                  <a:moveTo>
                    <a:pt x="379" y="0"/>
                  </a:moveTo>
                  <a:cubicBezTo>
                    <a:pt x="158" y="0"/>
                    <a:pt x="1" y="158"/>
                    <a:pt x="1" y="347"/>
                  </a:cubicBezTo>
                  <a:cubicBezTo>
                    <a:pt x="1" y="536"/>
                    <a:pt x="158" y="693"/>
                    <a:pt x="379" y="693"/>
                  </a:cubicBezTo>
                  <a:lnTo>
                    <a:pt x="2427" y="693"/>
                  </a:lnTo>
                  <a:cubicBezTo>
                    <a:pt x="2616" y="693"/>
                    <a:pt x="2773" y="536"/>
                    <a:pt x="2773" y="347"/>
                  </a:cubicBezTo>
                  <a:cubicBezTo>
                    <a:pt x="2773" y="158"/>
                    <a:pt x="2616" y="0"/>
                    <a:pt x="2427" y="0"/>
                  </a:cubicBezTo>
                  <a:close/>
                </a:path>
              </a:pathLst>
            </a:custGeom>
            <a:grpFill/>
            <a:ln>
              <a:noFill/>
            </a:ln>
          </p:spPr>
          <p:txBody>
            <a:bodyPr spcFirstLastPara="1" wrap="square" lIns="60950" tIns="60950" rIns="60950" bIns="60950" anchor="ctr" anchorCtr="0">
              <a:noAutofit/>
            </a:bodyPr>
            <a:lstStyle/>
            <a:p>
              <a:endParaRPr sz="1200"/>
            </a:p>
          </p:txBody>
        </p:sp>
        <p:sp>
          <p:nvSpPr>
            <p:cNvPr id="96" name="Google Shape;8678;p72"/>
            <p:cNvSpPr/>
            <p:nvPr/>
          </p:nvSpPr>
          <p:spPr>
            <a:xfrm>
              <a:off x="-6713450" y="2397900"/>
              <a:ext cx="295375" cy="291450"/>
            </a:xfrm>
            <a:custGeom>
              <a:avLst/>
              <a:gdLst/>
              <a:ahLst/>
              <a:cxnLst/>
              <a:rect l="l" t="t" r="r" b="b"/>
              <a:pathLst>
                <a:path w="11815" h="11658" extrusionOk="0">
                  <a:moveTo>
                    <a:pt x="2048" y="1167"/>
                  </a:moveTo>
                  <a:lnTo>
                    <a:pt x="2048" y="2017"/>
                  </a:lnTo>
                  <a:lnTo>
                    <a:pt x="1166" y="2017"/>
                  </a:lnTo>
                  <a:lnTo>
                    <a:pt x="2048" y="1167"/>
                  </a:lnTo>
                  <a:close/>
                  <a:moveTo>
                    <a:pt x="10330" y="2773"/>
                  </a:moveTo>
                  <a:cubicBezTo>
                    <a:pt x="10507" y="2773"/>
                    <a:pt x="10680" y="2836"/>
                    <a:pt x="10806" y="2962"/>
                  </a:cubicBezTo>
                  <a:cubicBezTo>
                    <a:pt x="11058" y="3246"/>
                    <a:pt x="11058" y="3687"/>
                    <a:pt x="10775" y="3908"/>
                  </a:cubicBezTo>
                  <a:lnTo>
                    <a:pt x="10176" y="4506"/>
                  </a:lnTo>
                  <a:lnTo>
                    <a:pt x="9231" y="3561"/>
                  </a:lnTo>
                  <a:lnTo>
                    <a:pt x="9830" y="2962"/>
                  </a:lnTo>
                  <a:cubicBezTo>
                    <a:pt x="9972" y="2836"/>
                    <a:pt x="10153" y="2773"/>
                    <a:pt x="10330" y="2773"/>
                  </a:cubicBezTo>
                  <a:close/>
                  <a:moveTo>
                    <a:pt x="8727" y="4034"/>
                  </a:moveTo>
                  <a:lnTo>
                    <a:pt x="9672" y="4979"/>
                  </a:lnTo>
                  <a:cubicBezTo>
                    <a:pt x="8538" y="6207"/>
                    <a:pt x="7026" y="7688"/>
                    <a:pt x="5892" y="8854"/>
                  </a:cubicBezTo>
                  <a:lnTo>
                    <a:pt x="4915" y="7846"/>
                  </a:lnTo>
                  <a:lnTo>
                    <a:pt x="8727" y="4034"/>
                  </a:lnTo>
                  <a:close/>
                  <a:moveTo>
                    <a:pt x="4600" y="8539"/>
                  </a:moveTo>
                  <a:lnTo>
                    <a:pt x="5230" y="9169"/>
                  </a:lnTo>
                  <a:lnTo>
                    <a:pt x="4285" y="9421"/>
                  </a:lnTo>
                  <a:cubicBezTo>
                    <a:pt x="4348" y="9232"/>
                    <a:pt x="4505" y="8728"/>
                    <a:pt x="4600" y="8539"/>
                  </a:cubicBezTo>
                  <a:close/>
                  <a:moveTo>
                    <a:pt x="7908" y="694"/>
                  </a:moveTo>
                  <a:cubicBezTo>
                    <a:pt x="8097" y="694"/>
                    <a:pt x="8255" y="852"/>
                    <a:pt x="8255" y="1041"/>
                  </a:cubicBezTo>
                  <a:lnTo>
                    <a:pt x="8255" y="3592"/>
                  </a:lnTo>
                  <a:lnTo>
                    <a:pt x="7467" y="4380"/>
                  </a:lnTo>
                  <a:cubicBezTo>
                    <a:pt x="7435" y="4286"/>
                    <a:pt x="7309" y="4160"/>
                    <a:pt x="7152" y="4160"/>
                  </a:cubicBezTo>
                  <a:lnTo>
                    <a:pt x="1733" y="4160"/>
                  </a:lnTo>
                  <a:cubicBezTo>
                    <a:pt x="1512" y="4160"/>
                    <a:pt x="1386" y="4317"/>
                    <a:pt x="1386" y="4506"/>
                  </a:cubicBezTo>
                  <a:cubicBezTo>
                    <a:pt x="1386" y="4695"/>
                    <a:pt x="1512" y="4853"/>
                    <a:pt x="1733" y="4853"/>
                  </a:cubicBezTo>
                  <a:lnTo>
                    <a:pt x="6994" y="4853"/>
                  </a:lnTo>
                  <a:lnTo>
                    <a:pt x="6333" y="5546"/>
                  </a:lnTo>
                  <a:lnTo>
                    <a:pt x="1733" y="5546"/>
                  </a:lnTo>
                  <a:cubicBezTo>
                    <a:pt x="1512" y="5546"/>
                    <a:pt x="1355" y="5703"/>
                    <a:pt x="1355" y="5892"/>
                  </a:cubicBezTo>
                  <a:cubicBezTo>
                    <a:pt x="1355" y="6081"/>
                    <a:pt x="1512" y="6239"/>
                    <a:pt x="1733" y="6239"/>
                  </a:cubicBezTo>
                  <a:lnTo>
                    <a:pt x="5608" y="6239"/>
                  </a:lnTo>
                  <a:lnTo>
                    <a:pt x="4947" y="6901"/>
                  </a:lnTo>
                  <a:lnTo>
                    <a:pt x="1733" y="6901"/>
                  </a:lnTo>
                  <a:cubicBezTo>
                    <a:pt x="1512" y="6901"/>
                    <a:pt x="1355" y="7058"/>
                    <a:pt x="1355" y="7279"/>
                  </a:cubicBezTo>
                  <a:cubicBezTo>
                    <a:pt x="1355" y="7468"/>
                    <a:pt x="1512" y="7625"/>
                    <a:pt x="1733" y="7625"/>
                  </a:cubicBezTo>
                  <a:lnTo>
                    <a:pt x="4285" y="7625"/>
                  </a:lnTo>
                  <a:cubicBezTo>
                    <a:pt x="4190" y="7688"/>
                    <a:pt x="4159" y="7751"/>
                    <a:pt x="4127" y="7814"/>
                  </a:cubicBezTo>
                  <a:lnTo>
                    <a:pt x="3970" y="8287"/>
                  </a:lnTo>
                  <a:lnTo>
                    <a:pt x="1733" y="8287"/>
                  </a:lnTo>
                  <a:cubicBezTo>
                    <a:pt x="1512" y="8287"/>
                    <a:pt x="1355" y="8444"/>
                    <a:pt x="1355" y="8633"/>
                  </a:cubicBezTo>
                  <a:cubicBezTo>
                    <a:pt x="1355" y="8854"/>
                    <a:pt x="1512" y="9011"/>
                    <a:pt x="1733" y="9011"/>
                  </a:cubicBezTo>
                  <a:lnTo>
                    <a:pt x="3718" y="9011"/>
                  </a:lnTo>
                  <a:lnTo>
                    <a:pt x="3466" y="9893"/>
                  </a:lnTo>
                  <a:cubicBezTo>
                    <a:pt x="3385" y="10136"/>
                    <a:pt x="3557" y="10355"/>
                    <a:pt x="3766" y="10355"/>
                  </a:cubicBezTo>
                  <a:cubicBezTo>
                    <a:pt x="3802" y="10355"/>
                    <a:pt x="3839" y="10348"/>
                    <a:pt x="3875" y="10335"/>
                  </a:cubicBezTo>
                  <a:lnTo>
                    <a:pt x="6018" y="9704"/>
                  </a:lnTo>
                  <a:cubicBezTo>
                    <a:pt x="6049" y="9704"/>
                    <a:pt x="6144" y="9673"/>
                    <a:pt x="6175" y="9641"/>
                  </a:cubicBezTo>
                  <a:lnTo>
                    <a:pt x="8286" y="7499"/>
                  </a:lnTo>
                  <a:lnTo>
                    <a:pt x="8286" y="10681"/>
                  </a:lnTo>
                  <a:cubicBezTo>
                    <a:pt x="8255" y="10839"/>
                    <a:pt x="8097" y="10996"/>
                    <a:pt x="7908" y="10996"/>
                  </a:cubicBezTo>
                  <a:lnTo>
                    <a:pt x="1040" y="10996"/>
                  </a:lnTo>
                  <a:cubicBezTo>
                    <a:pt x="851" y="10996"/>
                    <a:pt x="693" y="10839"/>
                    <a:pt x="693" y="10650"/>
                  </a:cubicBezTo>
                  <a:lnTo>
                    <a:pt x="693" y="2742"/>
                  </a:lnTo>
                  <a:lnTo>
                    <a:pt x="2395" y="2742"/>
                  </a:lnTo>
                  <a:cubicBezTo>
                    <a:pt x="2584" y="2742"/>
                    <a:pt x="2741" y="2584"/>
                    <a:pt x="2741" y="2395"/>
                  </a:cubicBezTo>
                  <a:lnTo>
                    <a:pt x="2741" y="694"/>
                  </a:lnTo>
                  <a:close/>
                  <a:moveTo>
                    <a:pt x="2363" y="1"/>
                  </a:moveTo>
                  <a:cubicBezTo>
                    <a:pt x="2237" y="1"/>
                    <a:pt x="2143" y="64"/>
                    <a:pt x="2111" y="127"/>
                  </a:cubicBezTo>
                  <a:lnTo>
                    <a:pt x="158" y="2112"/>
                  </a:lnTo>
                  <a:cubicBezTo>
                    <a:pt x="63" y="2175"/>
                    <a:pt x="0" y="2269"/>
                    <a:pt x="0" y="2364"/>
                  </a:cubicBezTo>
                  <a:lnTo>
                    <a:pt x="0" y="10650"/>
                  </a:lnTo>
                  <a:cubicBezTo>
                    <a:pt x="0" y="11217"/>
                    <a:pt x="473" y="11658"/>
                    <a:pt x="1008" y="11658"/>
                  </a:cubicBezTo>
                  <a:lnTo>
                    <a:pt x="7908" y="11658"/>
                  </a:lnTo>
                  <a:cubicBezTo>
                    <a:pt x="8444" y="11658"/>
                    <a:pt x="8916" y="11217"/>
                    <a:pt x="8916" y="10650"/>
                  </a:cubicBezTo>
                  <a:lnTo>
                    <a:pt x="8916" y="6774"/>
                  </a:lnTo>
                  <a:lnTo>
                    <a:pt x="11279" y="4412"/>
                  </a:lnTo>
                  <a:cubicBezTo>
                    <a:pt x="11815" y="3876"/>
                    <a:pt x="11815" y="3025"/>
                    <a:pt x="11279" y="2490"/>
                  </a:cubicBezTo>
                  <a:cubicBezTo>
                    <a:pt x="11011" y="2222"/>
                    <a:pt x="10657" y="2088"/>
                    <a:pt x="10306" y="2088"/>
                  </a:cubicBezTo>
                  <a:cubicBezTo>
                    <a:pt x="9956" y="2088"/>
                    <a:pt x="9609" y="2222"/>
                    <a:pt x="9357" y="2490"/>
                  </a:cubicBezTo>
                  <a:lnTo>
                    <a:pt x="8916" y="2931"/>
                  </a:lnTo>
                  <a:lnTo>
                    <a:pt x="8916" y="1041"/>
                  </a:lnTo>
                  <a:cubicBezTo>
                    <a:pt x="8916" y="474"/>
                    <a:pt x="8444" y="1"/>
                    <a:pt x="7908" y="1"/>
                  </a:cubicBezTo>
                  <a:close/>
                </a:path>
              </a:pathLst>
            </a:custGeom>
            <a:grpFill/>
            <a:ln>
              <a:noFill/>
            </a:ln>
          </p:spPr>
          <p:txBody>
            <a:bodyPr spcFirstLastPara="1" wrap="square" lIns="60950" tIns="60950" rIns="60950" bIns="60950" anchor="ctr" anchorCtr="0">
              <a:noAutofit/>
            </a:bodyPr>
            <a:lstStyle/>
            <a:p>
              <a:endParaRPr sz="1200"/>
            </a:p>
          </p:txBody>
        </p:sp>
      </p:grpSp>
      <p:sp>
        <p:nvSpPr>
          <p:cNvPr id="43" name="Rectangle 154">
            <a:extLst>
              <a:ext uri="{FF2B5EF4-FFF2-40B4-BE49-F238E27FC236}">
                <a16:creationId xmlns:a16="http://schemas.microsoft.com/office/drawing/2014/main" id="{EB4EB3BC-2126-4CD9-AF6F-5E68E08DC76F}"/>
              </a:ext>
            </a:extLst>
          </p:cNvPr>
          <p:cNvSpPr>
            <a:spLocks noChangeArrowheads="1"/>
          </p:cNvSpPr>
          <p:nvPr/>
        </p:nvSpPr>
        <p:spPr bwMode="auto">
          <a:xfrm>
            <a:off x="4139250" y="4416455"/>
            <a:ext cx="1374735"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tIns="22860" rIns="45720" bIns="22860" anchor="ctr">
            <a:spAutoFit/>
          </a:bodyPr>
          <a:lstStyle>
            <a:lvl1pPr marL="342900" indent="-3429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1pPr>
            <a:lvl2pPr>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2pPr>
            <a:lvl3pPr marL="11430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3pPr>
            <a:lvl4pPr marL="16002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4pPr>
            <a:lvl5pPr marL="2057400" indent="-228600">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5pPr>
            <a:lvl6pPr marL="25146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6pPr>
            <a:lvl7pPr marL="29718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7pPr>
            <a:lvl8pPr marL="34290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8pPr>
            <a:lvl9pPr marL="3886200" indent="-228600" defTabSz="685800" eaLnBrk="0" fontAlgn="base" hangingPunct="0">
              <a:spcBef>
                <a:spcPct val="0"/>
              </a:spcBef>
              <a:spcAft>
                <a:spcPct val="0"/>
              </a:spcAft>
              <a:buFont typeface="Arial" panose="020B0604020202020204" pitchFamily="34" charset="0"/>
              <a:defRPr sz="1400">
                <a:solidFill>
                  <a:schemeClr val="tx1"/>
                </a:solidFill>
                <a:latin typeface="Arial" panose="020B0604020202020204" pitchFamily="34" charset="0"/>
                <a:ea typeface="SimSun" panose="02010600030101010101" pitchFamily="2" charset="-122"/>
              </a:defRPr>
            </a:lvl9pPr>
          </a:lstStyle>
          <a:p>
            <a:pPr marL="0" lvl="1">
              <a:lnSpc>
                <a:spcPct val="90000"/>
              </a:lnSpc>
              <a:buClr>
                <a:srgbClr val="E63A3A"/>
              </a:buClr>
            </a:pPr>
            <a:r>
              <a:rPr lang="en-IN" sz="1800" b="1">
                <a:ea typeface="SimSun"/>
                <a:cs typeface="Arial"/>
              </a:rPr>
              <a:t>DevSecOps</a:t>
            </a:r>
          </a:p>
        </p:txBody>
      </p:sp>
    </p:spTree>
    <p:extLst>
      <p:ext uri="{BB962C8B-B14F-4D97-AF65-F5344CB8AC3E}">
        <p14:creationId xmlns:p14="http://schemas.microsoft.com/office/powerpoint/2010/main" val="23845070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ools Expertise</a:t>
            </a:r>
          </a:p>
        </p:txBody>
      </p:sp>
      <p:sp>
        <p:nvSpPr>
          <p:cNvPr id="25" name="Rectangle: Rounded Corners 2">
            <a:extLst>
              <a:ext uri="{FF2B5EF4-FFF2-40B4-BE49-F238E27FC236}">
                <a16:creationId xmlns:a16="http://schemas.microsoft.com/office/drawing/2014/main" id="{EDDC8405-33EA-48EA-A875-18783A705366}"/>
              </a:ext>
            </a:extLst>
          </p:cNvPr>
          <p:cNvSpPr/>
          <p:nvPr/>
        </p:nvSpPr>
        <p:spPr>
          <a:xfrm>
            <a:off x="511383" y="1956523"/>
            <a:ext cx="10745622" cy="2054045"/>
          </a:xfrm>
          <a:prstGeom prst="roundRect">
            <a:avLst>
              <a:gd name="adj" fmla="val 0"/>
            </a:avLst>
          </a:prstGeom>
          <a:gradFill>
            <a:gsLst>
              <a:gs pos="0">
                <a:sysClr val="window" lastClr="FFFFFF"/>
              </a:gs>
              <a:gs pos="100000">
                <a:sysClr val="window" lastClr="FFFFFF">
                  <a:lumMod val="95000"/>
                </a:sysClr>
              </a:gs>
            </a:gsLst>
            <a:lin ang="5400000" scaled="0"/>
          </a:gradFill>
          <a:ln w="6350" cap="flat" cmpd="sng" algn="ctr">
            <a:solidFill>
              <a:srgbClr val="81509B"/>
            </a:solidFill>
            <a:prstDash val="solid"/>
            <a:miter lim="800000"/>
          </a:ln>
          <a:effectLst/>
        </p:spPr>
        <p:txBody>
          <a:bodyPr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D4F53"/>
              </a:solidFill>
              <a:effectLst/>
              <a:uLnTx/>
              <a:uFillTx/>
              <a:latin typeface="Calibri"/>
              <a:ea typeface="+mn-ea"/>
              <a:cs typeface="Arial" pitchFamily="34" charset="0"/>
            </a:endParaRPr>
          </a:p>
        </p:txBody>
      </p:sp>
      <p:pic>
        <p:nvPicPr>
          <p:cNvPr id="27" name="Picture 16">
            <a:extLst>
              <a:ext uri="{FF2B5EF4-FFF2-40B4-BE49-F238E27FC236}">
                <a16:creationId xmlns:a16="http://schemas.microsoft.com/office/drawing/2014/main" id="{FBD48A88-6A63-41D9-9239-949F5EE83C22}"/>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2815" t="35923" r="11878" b="34423"/>
          <a:stretch/>
        </p:blipFill>
        <p:spPr>
          <a:xfrm>
            <a:off x="1806603" y="3202658"/>
            <a:ext cx="2589395" cy="452953"/>
          </a:xfrm>
          <a:prstGeom prst="rect">
            <a:avLst/>
          </a:prstGeom>
        </p:spPr>
      </p:pic>
      <p:pic>
        <p:nvPicPr>
          <p:cNvPr id="28" name="Picture 17" descr="A close up of a sign&#10;&#10;Description generated with very high confidence">
            <a:extLst>
              <a:ext uri="{FF2B5EF4-FFF2-40B4-BE49-F238E27FC236}">
                <a16:creationId xmlns:a16="http://schemas.microsoft.com/office/drawing/2014/main" id="{5116E555-7369-4832-A2CA-4A9592A7112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275" t="23884" r="4306" b="15076"/>
          <a:stretch/>
        </p:blipFill>
        <p:spPr>
          <a:xfrm>
            <a:off x="8809597" y="3095638"/>
            <a:ext cx="2000850" cy="412256"/>
          </a:xfrm>
          <a:prstGeom prst="rect">
            <a:avLst/>
          </a:prstGeom>
        </p:spPr>
      </p:pic>
      <p:pic>
        <p:nvPicPr>
          <p:cNvPr id="29" name="Picture 18" descr="A close up of a logo&#10;&#10;Description generated with very high confidence">
            <a:extLst>
              <a:ext uri="{FF2B5EF4-FFF2-40B4-BE49-F238E27FC236}">
                <a16:creationId xmlns:a16="http://schemas.microsoft.com/office/drawing/2014/main" id="{1B0D9379-9CF5-4913-97EF-6593B069ED2F}"/>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2834" t="40000" r="3395" b="40242"/>
          <a:stretch/>
        </p:blipFill>
        <p:spPr>
          <a:xfrm>
            <a:off x="5146109" y="2107525"/>
            <a:ext cx="2012264" cy="385688"/>
          </a:xfrm>
          <a:prstGeom prst="rect">
            <a:avLst/>
          </a:prstGeom>
        </p:spPr>
      </p:pic>
      <p:pic>
        <p:nvPicPr>
          <p:cNvPr id="30" name="Picture 11">
            <a:extLst>
              <a:ext uri="{FF2B5EF4-FFF2-40B4-BE49-F238E27FC236}">
                <a16:creationId xmlns:a16="http://schemas.microsoft.com/office/drawing/2014/main" id="{008E4813-3D72-432D-AFDF-2E3952EBBF3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47494" y="3095638"/>
            <a:ext cx="1998275" cy="5218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17">
            <a:extLst>
              <a:ext uri="{FF2B5EF4-FFF2-40B4-BE49-F238E27FC236}">
                <a16:creationId xmlns:a16="http://schemas.microsoft.com/office/drawing/2014/main" id="{4087D695-3835-4878-8035-D30C7E0649B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42994" y="2105407"/>
            <a:ext cx="2365423" cy="461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19">
            <a:extLst>
              <a:ext uri="{FF2B5EF4-FFF2-40B4-BE49-F238E27FC236}">
                <a16:creationId xmlns:a16="http://schemas.microsoft.com/office/drawing/2014/main" id="{0F295AAC-B20D-488B-A15A-1A1CB06220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72040" y="1966610"/>
            <a:ext cx="2042672" cy="747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45784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Performance Metrics: Back-End </a:t>
            </a:r>
          </a:p>
        </p:txBody>
      </p:sp>
      <p:sp>
        <p:nvSpPr>
          <p:cNvPr id="3" name="Freeform 11">
            <a:extLst>
              <a:ext uri="{FF2B5EF4-FFF2-40B4-BE49-F238E27FC236}">
                <a16:creationId xmlns:a16="http://schemas.microsoft.com/office/drawing/2014/main" id="{EA1B92D8-4AFC-44F5-94F8-2974BF4923B9}"/>
              </a:ext>
            </a:extLst>
          </p:cNvPr>
          <p:cNvSpPr/>
          <p:nvPr/>
        </p:nvSpPr>
        <p:spPr>
          <a:xfrm>
            <a:off x="598984" y="1530146"/>
            <a:ext cx="2561513" cy="1139522"/>
          </a:xfrm>
          <a:custGeom>
            <a:avLst/>
            <a:gdLst>
              <a:gd name="connsiteX0" fmla="*/ 0 w 2517775"/>
              <a:gd name="connsiteY0" fmla="*/ 899054 h 936096"/>
              <a:gd name="connsiteX1" fmla="*/ 825500 w 2517775"/>
              <a:gd name="connsiteY1" fmla="*/ 911754 h 936096"/>
              <a:gd name="connsiteX2" fmla="*/ 1155700 w 2517775"/>
              <a:gd name="connsiteY2" fmla="*/ 753004 h 936096"/>
              <a:gd name="connsiteX3" fmla="*/ 1384300 w 2517775"/>
              <a:gd name="connsiteY3" fmla="*/ 400579 h 936096"/>
              <a:gd name="connsiteX4" fmla="*/ 1511300 w 2517775"/>
              <a:gd name="connsiteY4" fmla="*/ 213254 h 936096"/>
              <a:gd name="connsiteX5" fmla="*/ 1657350 w 2517775"/>
              <a:gd name="connsiteY5" fmla="*/ 70379 h 936096"/>
              <a:gd name="connsiteX6" fmla="*/ 1803400 w 2517775"/>
              <a:gd name="connsiteY6" fmla="*/ 13229 h 936096"/>
              <a:gd name="connsiteX7" fmla="*/ 2127250 w 2517775"/>
              <a:gd name="connsiteY7" fmla="*/ 529 h 936096"/>
              <a:gd name="connsiteX8" fmla="*/ 2517775 w 2517775"/>
              <a:gd name="connsiteY8" fmla="*/ 10054 h 93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7775" h="936096">
                <a:moveTo>
                  <a:pt x="0" y="899054"/>
                </a:moveTo>
                <a:cubicBezTo>
                  <a:pt x="316441" y="917575"/>
                  <a:pt x="632883" y="936096"/>
                  <a:pt x="825500" y="911754"/>
                </a:cubicBezTo>
                <a:cubicBezTo>
                  <a:pt x="1018117" y="887412"/>
                  <a:pt x="1062567" y="838200"/>
                  <a:pt x="1155700" y="753004"/>
                </a:cubicBezTo>
                <a:cubicBezTo>
                  <a:pt x="1248833" y="667808"/>
                  <a:pt x="1325033" y="490537"/>
                  <a:pt x="1384300" y="400579"/>
                </a:cubicBezTo>
                <a:cubicBezTo>
                  <a:pt x="1443567" y="310621"/>
                  <a:pt x="1465792" y="268287"/>
                  <a:pt x="1511300" y="213254"/>
                </a:cubicBezTo>
                <a:cubicBezTo>
                  <a:pt x="1556808" y="158221"/>
                  <a:pt x="1608667" y="103716"/>
                  <a:pt x="1657350" y="70379"/>
                </a:cubicBezTo>
                <a:cubicBezTo>
                  <a:pt x="1706033" y="37042"/>
                  <a:pt x="1725083" y="24871"/>
                  <a:pt x="1803400" y="13229"/>
                </a:cubicBezTo>
                <a:cubicBezTo>
                  <a:pt x="1881717" y="1587"/>
                  <a:pt x="2008188" y="1058"/>
                  <a:pt x="2127250" y="529"/>
                </a:cubicBezTo>
                <a:cubicBezTo>
                  <a:pt x="2246312" y="0"/>
                  <a:pt x="2382043" y="5027"/>
                  <a:pt x="2517775" y="10054"/>
                </a:cubicBezTo>
              </a:path>
            </a:pathLst>
          </a:custGeom>
          <a:ln w="19050">
            <a:gradFill flip="none" rotWithShape="1">
              <a:gsLst>
                <a:gs pos="0">
                  <a:schemeClr val="bg2">
                    <a:lumMod val="50000"/>
                  </a:schemeClr>
                </a:gs>
                <a:gs pos="71000">
                  <a:schemeClr val="bg2">
                    <a:lumMod val="85000"/>
                  </a:schemeClr>
                </a:gs>
                <a:gs pos="100000">
                  <a:schemeClr val="bg2">
                    <a:lumMod val="50000"/>
                  </a:schemeClr>
                </a:gs>
              </a:gsLst>
              <a:lin ang="8100000" scaled="1"/>
              <a:tileRect/>
            </a:gra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200"/>
          </a:p>
        </p:txBody>
      </p:sp>
      <p:sp>
        <p:nvSpPr>
          <p:cNvPr id="4" name="Freeform 14">
            <a:extLst>
              <a:ext uri="{FF2B5EF4-FFF2-40B4-BE49-F238E27FC236}">
                <a16:creationId xmlns:a16="http://schemas.microsoft.com/office/drawing/2014/main" id="{A69BF2E3-1870-4E50-9E79-B1D81D2B20BD}"/>
              </a:ext>
            </a:extLst>
          </p:cNvPr>
          <p:cNvSpPr/>
          <p:nvPr/>
        </p:nvSpPr>
        <p:spPr>
          <a:xfrm>
            <a:off x="2244805" y="1523047"/>
            <a:ext cx="2561513" cy="1141279"/>
          </a:xfrm>
          <a:custGeom>
            <a:avLst/>
            <a:gdLst>
              <a:gd name="connsiteX0" fmla="*/ 0 w 2517775"/>
              <a:gd name="connsiteY0" fmla="*/ 899054 h 936096"/>
              <a:gd name="connsiteX1" fmla="*/ 825500 w 2517775"/>
              <a:gd name="connsiteY1" fmla="*/ 911754 h 936096"/>
              <a:gd name="connsiteX2" fmla="*/ 1155700 w 2517775"/>
              <a:gd name="connsiteY2" fmla="*/ 753004 h 936096"/>
              <a:gd name="connsiteX3" fmla="*/ 1384300 w 2517775"/>
              <a:gd name="connsiteY3" fmla="*/ 400579 h 936096"/>
              <a:gd name="connsiteX4" fmla="*/ 1511300 w 2517775"/>
              <a:gd name="connsiteY4" fmla="*/ 213254 h 936096"/>
              <a:gd name="connsiteX5" fmla="*/ 1657350 w 2517775"/>
              <a:gd name="connsiteY5" fmla="*/ 70379 h 936096"/>
              <a:gd name="connsiteX6" fmla="*/ 1803400 w 2517775"/>
              <a:gd name="connsiteY6" fmla="*/ 13229 h 936096"/>
              <a:gd name="connsiteX7" fmla="*/ 2127250 w 2517775"/>
              <a:gd name="connsiteY7" fmla="*/ 529 h 936096"/>
              <a:gd name="connsiteX8" fmla="*/ 2517775 w 2517775"/>
              <a:gd name="connsiteY8" fmla="*/ 10054 h 93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7775" h="936096">
                <a:moveTo>
                  <a:pt x="0" y="899054"/>
                </a:moveTo>
                <a:cubicBezTo>
                  <a:pt x="316441" y="917575"/>
                  <a:pt x="632883" y="936096"/>
                  <a:pt x="825500" y="911754"/>
                </a:cubicBezTo>
                <a:cubicBezTo>
                  <a:pt x="1018117" y="887412"/>
                  <a:pt x="1062567" y="838200"/>
                  <a:pt x="1155700" y="753004"/>
                </a:cubicBezTo>
                <a:cubicBezTo>
                  <a:pt x="1248833" y="667808"/>
                  <a:pt x="1325033" y="490537"/>
                  <a:pt x="1384300" y="400579"/>
                </a:cubicBezTo>
                <a:cubicBezTo>
                  <a:pt x="1443567" y="310621"/>
                  <a:pt x="1465792" y="268287"/>
                  <a:pt x="1511300" y="213254"/>
                </a:cubicBezTo>
                <a:cubicBezTo>
                  <a:pt x="1556808" y="158221"/>
                  <a:pt x="1608667" y="103716"/>
                  <a:pt x="1657350" y="70379"/>
                </a:cubicBezTo>
                <a:cubicBezTo>
                  <a:pt x="1706033" y="37042"/>
                  <a:pt x="1725083" y="24871"/>
                  <a:pt x="1803400" y="13229"/>
                </a:cubicBezTo>
                <a:cubicBezTo>
                  <a:pt x="1881717" y="1587"/>
                  <a:pt x="2008188" y="1058"/>
                  <a:pt x="2127250" y="529"/>
                </a:cubicBezTo>
                <a:cubicBezTo>
                  <a:pt x="2246312" y="0"/>
                  <a:pt x="2382043" y="5027"/>
                  <a:pt x="2517775" y="10054"/>
                </a:cubicBezTo>
              </a:path>
            </a:pathLst>
          </a:custGeom>
          <a:ln w="19050">
            <a:gradFill flip="none" rotWithShape="1">
              <a:gsLst>
                <a:gs pos="0">
                  <a:schemeClr val="bg2">
                    <a:lumMod val="50000"/>
                  </a:schemeClr>
                </a:gs>
                <a:gs pos="71000">
                  <a:schemeClr val="bg2">
                    <a:lumMod val="85000"/>
                  </a:schemeClr>
                </a:gs>
                <a:gs pos="100000">
                  <a:schemeClr val="bg2">
                    <a:lumMod val="50000"/>
                  </a:schemeClr>
                </a:gs>
              </a:gsLst>
              <a:lin ang="8100000" scaled="1"/>
              <a:tileRect/>
            </a:gra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200"/>
          </a:p>
        </p:txBody>
      </p:sp>
      <p:sp>
        <p:nvSpPr>
          <p:cNvPr id="5" name="Freeform 15">
            <a:extLst>
              <a:ext uri="{FF2B5EF4-FFF2-40B4-BE49-F238E27FC236}">
                <a16:creationId xmlns:a16="http://schemas.microsoft.com/office/drawing/2014/main" id="{2B77C748-A059-49BB-A822-B1D8C1D5AC1B}"/>
              </a:ext>
            </a:extLst>
          </p:cNvPr>
          <p:cNvSpPr/>
          <p:nvPr/>
        </p:nvSpPr>
        <p:spPr>
          <a:xfrm>
            <a:off x="3857578" y="1536778"/>
            <a:ext cx="2561513" cy="1141279"/>
          </a:xfrm>
          <a:custGeom>
            <a:avLst/>
            <a:gdLst>
              <a:gd name="connsiteX0" fmla="*/ 0 w 2517775"/>
              <a:gd name="connsiteY0" fmla="*/ 899054 h 936096"/>
              <a:gd name="connsiteX1" fmla="*/ 825500 w 2517775"/>
              <a:gd name="connsiteY1" fmla="*/ 911754 h 936096"/>
              <a:gd name="connsiteX2" fmla="*/ 1155700 w 2517775"/>
              <a:gd name="connsiteY2" fmla="*/ 753004 h 936096"/>
              <a:gd name="connsiteX3" fmla="*/ 1384300 w 2517775"/>
              <a:gd name="connsiteY3" fmla="*/ 400579 h 936096"/>
              <a:gd name="connsiteX4" fmla="*/ 1511300 w 2517775"/>
              <a:gd name="connsiteY4" fmla="*/ 213254 h 936096"/>
              <a:gd name="connsiteX5" fmla="*/ 1657350 w 2517775"/>
              <a:gd name="connsiteY5" fmla="*/ 70379 h 936096"/>
              <a:gd name="connsiteX6" fmla="*/ 1803400 w 2517775"/>
              <a:gd name="connsiteY6" fmla="*/ 13229 h 936096"/>
              <a:gd name="connsiteX7" fmla="*/ 2127250 w 2517775"/>
              <a:gd name="connsiteY7" fmla="*/ 529 h 936096"/>
              <a:gd name="connsiteX8" fmla="*/ 2517775 w 2517775"/>
              <a:gd name="connsiteY8" fmla="*/ 10054 h 93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7775" h="936096">
                <a:moveTo>
                  <a:pt x="0" y="899054"/>
                </a:moveTo>
                <a:cubicBezTo>
                  <a:pt x="316441" y="917575"/>
                  <a:pt x="632883" y="936096"/>
                  <a:pt x="825500" y="911754"/>
                </a:cubicBezTo>
                <a:cubicBezTo>
                  <a:pt x="1018117" y="887412"/>
                  <a:pt x="1062567" y="838200"/>
                  <a:pt x="1155700" y="753004"/>
                </a:cubicBezTo>
                <a:cubicBezTo>
                  <a:pt x="1248833" y="667808"/>
                  <a:pt x="1325033" y="490537"/>
                  <a:pt x="1384300" y="400579"/>
                </a:cubicBezTo>
                <a:cubicBezTo>
                  <a:pt x="1443567" y="310621"/>
                  <a:pt x="1465792" y="268287"/>
                  <a:pt x="1511300" y="213254"/>
                </a:cubicBezTo>
                <a:cubicBezTo>
                  <a:pt x="1556808" y="158221"/>
                  <a:pt x="1608667" y="103716"/>
                  <a:pt x="1657350" y="70379"/>
                </a:cubicBezTo>
                <a:cubicBezTo>
                  <a:pt x="1706033" y="37042"/>
                  <a:pt x="1725083" y="24871"/>
                  <a:pt x="1803400" y="13229"/>
                </a:cubicBezTo>
                <a:cubicBezTo>
                  <a:pt x="1881717" y="1587"/>
                  <a:pt x="2008188" y="1058"/>
                  <a:pt x="2127250" y="529"/>
                </a:cubicBezTo>
                <a:cubicBezTo>
                  <a:pt x="2246312" y="0"/>
                  <a:pt x="2382043" y="5027"/>
                  <a:pt x="2517775" y="10054"/>
                </a:cubicBezTo>
              </a:path>
            </a:pathLst>
          </a:custGeom>
          <a:ln w="19050">
            <a:gradFill flip="none" rotWithShape="1">
              <a:gsLst>
                <a:gs pos="0">
                  <a:schemeClr val="bg2">
                    <a:lumMod val="50000"/>
                  </a:schemeClr>
                </a:gs>
                <a:gs pos="71000">
                  <a:schemeClr val="bg2">
                    <a:lumMod val="85000"/>
                  </a:schemeClr>
                </a:gs>
                <a:gs pos="100000">
                  <a:schemeClr val="bg2">
                    <a:lumMod val="50000"/>
                  </a:schemeClr>
                </a:gs>
              </a:gsLst>
              <a:lin ang="8100000" scaled="1"/>
              <a:tileRect/>
            </a:gra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200"/>
          </a:p>
        </p:txBody>
      </p:sp>
      <p:sp>
        <p:nvSpPr>
          <p:cNvPr id="6" name="Freeform 16">
            <a:extLst>
              <a:ext uri="{FF2B5EF4-FFF2-40B4-BE49-F238E27FC236}">
                <a16:creationId xmlns:a16="http://schemas.microsoft.com/office/drawing/2014/main" id="{79DC2E97-965B-4EBE-8A4C-C3D1FD25307F}"/>
              </a:ext>
            </a:extLst>
          </p:cNvPr>
          <p:cNvSpPr/>
          <p:nvPr/>
        </p:nvSpPr>
        <p:spPr>
          <a:xfrm>
            <a:off x="5490179" y="1608593"/>
            <a:ext cx="2561513" cy="1066039"/>
          </a:xfrm>
          <a:custGeom>
            <a:avLst/>
            <a:gdLst>
              <a:gd name="connsiteX0" fmla="*/ 0 w 2517775"/>
              <a:gd name="connsiteY0" fmla="*/ 899054 h 936096"/>
              <a:gd name="connsiteX1" fmla="*/ 825500 w 2517775"/>
              <a:gd name="connsiteY1" fmla="*/ 911754 h 936096"/>
              <a:gd name="connsiteX2" fmla="*/ 1155700 w 2517775"/>
              <a:gd name="connsiteY2" fmla="*/ 753004 h 936096"/>
              <a:gd name="connsiteX3" fmla="*/ 1384300 w 2517775"/>
              <a:gd name="connsiteY3" fmla="*/ 400579 h 936096"/>
              <a:gd name="connsiteX4" fmla="*/ 1511300 w 2517775"/>
              <a:gd name="connsiteY4" fmla="*/ 213254 h 936096"/>
              <a:gd name="connsiteX5" fmla="*/ 1657350 w 2517775"/>
              <a:gd name="connsiteY5" fmla="*/ 70379 h 936096"/>
              <a:gd name="connsiteX6" fmla="*/ 1803400 w 2517775"/>
              <a:gd name="connsiteY6" fmla="*/ 13229 h 936096"/>
              <a:gd name="connsiteX7" fmla="*/ 2127250 w 2517775"/>
              <a:gd name="connsiteY7" fmla="*/ 529 h 936096"/>
              <a:gd name="connsiteX8" fmla="*/ 2517775 w 2517775"/>
              <a:gd name="connsiteY8" fmla="*/ 10054 h 93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7775" h="936096">
                <a:moveTo>
                  <a:pt x="0" y="899054"/>
                </a:moveTo>
                <a:cubicBezTo>
                  <a:pt x="316441" y="917575"/>
                  <a:pt x="632883" y="936096"/>
                  <a:pt x="825500" y="911754"/>
                </a:cubicBezTo>
                <a:cubicBezTo>
                  <a:pt x="1018117" y="887412"/>
                  <a:pt x="1062567" y="838200"/>
                  <a:pt x="1155700" y="753004"/>
                </a:cubicBezTo>
                <a:cubicBezTo>
                  <a:pt x="1248833" y="667808"/>
                  <a:pt x="1325033" y="490537"/>
                  <a:pt x="1384300" y="400579"/>
                </a:cubicBezTo>
                <a:cubicBezTo>
                  <a:pt x="1443567" y="310621"/>
                  <a:pt x="1465792" y="268287"/>
                  <a:pt x="1511300" y="213254"/>
                </a:cubicBezTo>
                <a:cubicBezTo>
                  <a:pt x="1556808" y="158221"/>
                  <a:pt x="1608667" y="103716"/>
                  <a:pt x="1657350" y="70379"/>
                </a:cubicBezTo>
                <a:cubicBezTo>
                  <a:pt x="1706033" y="37042"/>
                  <a:pt x="1725083" y="24871"/>
                  <a:pt x="1803400" y="13229"/>
                </a:cubicBezTo>
                <a:cubicBezTo>
                  <a:pt x="1881717" y="1587"/>
                  <a:pt x="2008188" y="1058"/>
                  <a:pt x="2127250" y="529"/>
                </a:cubicBezTo>
                <a:cubicBezTo>
                  <a:pt x="2246312" y="0"/>
                  <a:pt x="2382043" y="5027"/>
                  <a:pt x="2517775" y="10054"/>
                </a:cubicBezTo>
              </a:path>
            </a:pathLst>
          </a:custGeom>
          <a:ln w="19050">
            <a:gradFill flip="none" rotWithShape="1">
              <a:gsLst>
                <a:gs pos="0">
                  <a:schemeClr val="bg2">
                    <a:lumMod val="50000"/>
                  </a:schemeClr>
                </a:gs>
                <a:gs pos="71000">
                  <a:schemeClr val="bg2">
                    <a:lumMod val="85000"/>
                  </a:schemeClr>
                </a:gs>
                <a:gs pos="100000">
                  <a:schemeClr val="bg2">
                    <a:lumMod val="50000"/>
                  </a:schemeClr>
                </a:gs>
              </a:gsLst>
              <a:lin ang="8100000" scaled="1"/>
              <a:tileRect/>
            </a:gra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200"/>
          </a:p>
        </p:txBody>
      </p:sp>
      <p:sp>
        <p:nvSpPr>
          <p:cNvPr id="7" name="Freeform 21">
            <a:extLst>
              <a:ext uri="{FF2B5EF4-FFF2-40B4-BE49-F238E27FC236}">
                <a16:creationId xmlns:a16="http://schemas.microsoft.com/office/drawing/2014/main" id="{AA42A63E-F5F1-476C-B85A-B97A984CC7D0}"/>
              </a:ext>
            </a:extLst>
          </p:cNvPr>
          <p:cNvSpPr/>
          <p:nvPr/>
        </p:nvSpPr>
        <p:spPr>
          <a:xfrm>
            <a:off x="7170972" y="1529912"/>
            <a:ext cx="2561513" cy="1141279"/>
          </a:xfrm>
          <a:custGeom>
            <a:avLst/>
            <a:gdLst>
              <a:gd name="connsiteX0" fmla="*/ 0 w 2517775"/>
              <a:gd name="connsiteY0" fmla="*/ 899054 h 936096"/>
              <a:gd name="connsiteX1" fmla="*/ 825500 w 2517775"/>
              <a:gd name="connsiteY1" fmla="*/ 911754 h 936096"/>
              <a:gd name="connsiteX2" fmla="*/ 1155700 w 2517775"/>
              <a:gd name="connsiteY2" fmla="*/ 753004 h 936096"/>
              <a:gd name="connsiteX3" fmla="*/ 1384300 w 2517775"/>
              <a:gd name="connsiteY3" fmla="*/ 400579 h 936096"/>
              <a:gd name="connsiteX4" fmla="*/ 1511300 w 2517775"/>
              <a:gd name="connsiteY4" fmla="*/ 213254 h 936096"/>
              <a:gd name="connsiteX5" fmla="*/ 1657350 w 2517775"/>
              <a:gd name="connsiteY5" fmla="*/ 70379 h 936096"/>
              <a:gd name="connsiteX6" fmla="*/ 1803400 w 2517775"/>
              <a:gd name="connsiteY6" fmla="*/ 13229 h 936096"/>
              <a:gd name="connsiteX7" fmla="*/ 2127250 w 2517775"/>
              <a:gd name="connsiteY7" fmla="*/ 529 h 936096"/>
              <a:gd name="connsiteX8" fmla="*/ 2517775 w 2517775"/>
              <a:gd name="connsiteY8" fmla="*/ 10054 h 93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7775" h="936096">
                <a:moveTo>
                  <a:pt x="0" y="899054"/>
                </a:moveTo>
                <a:cubicBezTo>
                  <a:pt x="316441" y="917575"/>
                  <a:pt x="632883" y="936096"/>
                  <a:pt x="825500" y="911754"/>
                </a:cubicBezTo>
                <a:cubicBezTo>
                  <a:pt x="1018117" y="887412"/>
                  <a:pt x="1062567" y="838200"/>
                  <a:pt x="1155700" y="753004"/>
                </a:cubicBezTo>
                <a:cubicBezTo>
                  <a:pt x="1248833" y="667808"/>
                  <a:pt x="1325033" y="490537"/>
                  <a:pt x="1384300" y="400579"/>
                </a:cubicBezTo>
                <a:cubicBezTo>
                  <a:pt x="1443567" y="310621"/>
                  <a:pt x="1465792" y="268287"/>
                  <a:pt x="1511300" y="213254"/>
                </a:cubicBezTo>
                <a:cubicBezTo>
                  <a:pt x="1556808" y="158221"/>
                  <a:pt x="1608667" y="103716"/>
                  <a:pt x="1657350" y="70379"/>
                </a:cubicBezTo>
                <a:cubicBezTo>
                  <a:pt x="1706033" y="37042"/>
                  <a:pt x="1725083" y="24871"/>
                  <a:pt x="1803400" y="13229"/>
                </a:cubicBezTo>
                <a:cubicBezTo>
                  <a:pt x="1881717" y="1587"/>
                  <a:pt x="2008188" y="1058"/>
                  <a:pt x="2127250" y="529"/>
                </a:cubicBezTo>
                <a:cubicBezTo>
                  <a:pt x="2246312" y="0"/>
                  <a:pt x="2382043" y="5027"/>
                  <a:pt x="2517775" y="10054"/>
                </a:cubicBezTo>
              </a:path>
            </a:pathLst>
          </a:custGeom>
          <a:ln w="19050">
            <a:gradFill flip="none" rotWithShape="1">
              <a:gsLst>
                <a:gs pos="0">
                  <a:schemeClr val="bg2">
                    <a:lumMod val="50000"/>
                  </a:schemeClr>
                </a:gs>
                <a:gs pos="71000">
                  <a:schemeClr val="bg2">
                    <a:lumMod val="85000"/>
                  </a:schemeClr>
                </a:gs>
                <a:gs pos="100000">
                  <a:schemeClr val="bg2">
                    <a:lumMod val="50000"/>
                  </a:schemeClr>
                </a:gs>
              </a:gsLst>
              <a:lin ang="8100000" scaled="1"/>
              <a:tileRect/>
            </a:gra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200"/>
          </a:p>
        </p:txBody>
      </p:sp>
      <p:sp>
        <p:nvSpPr>
          <p:cNvPr id="8" name="Freeform 23">
            <a:extLst>
              <a:ext uri="{FF2B5EF4-FFF2-40B4-BE49-F238E27FC236}">
                <a16:creationId xmlns:a16="http://schemas.microsoft.com/office/drawing/2014/main" id="{AC0B4E2A-877F-46B9-BD72-CF51DAD24724}"/>
              </a:ext>
            </a:extLst>
          </p:cNvPr>
          <p:cNvSpPr/>
          <p:nvPr/>
        </p:nvSpPr>
        <p:spPr>
          <a:xfrm>
            <a:off x="8816793" y="1523047"/>
            <a:ext cx="2561513" cy="1141279"/>
          </a:xfrm>
          <a:custGeom>
            <a:avLst/>
            <a:gdLst>
              <a:gd name="connsiteX0" fmla="*/ 0 w 2517775"/>
              <a:gd name="connsiteY0" fmla="*/ 899054 h 936096"/>
              <a:gd name="connsiteX1" fmla="*/ 825500 w 2517775"/>
              <a:gd name="connsiteY1" fmla="*/ 911754 h 936096"/>
              <a:gd name="connsiteX2" fmla="*/ 1155700 w 2517775"/>
              <a:gd name="connsiteY2" fmla="*/ 753004 h 936096"/>
              <a:gd name="connsiteX3" fmla="*/ 1384300 w 2517775"/>
              <a:gd name="connsiteY3" fmla="*/ 400579 h 936096"/>
              <a:gd name="connsiteX4" fmla="*/ 1511300 w 2517775"/>
              <a:gd name="connsiteY4" fmla="*/ 213254 h 936096"/>
              <a:gd name="connsiteX5" fmla="*/ 1657350 w 2517775"/>
              <a:gd name="connsiteY5" fmla="*/ 70379 h 936096"/>
              <a:gd name="connsiteX6" fmla="*/ 1803400 w 2517775"/>
              <a:gd name="connsiteY6" fmla="*/ 13229 h 936096"/>
              <a:gd name="connsiteX7" fmla="*/ 2127250 w 2517775"/>
              <a:gd name="connsiteY7" fmla="*/ 529 h 936096"/>
              <a:gd name="connsiteX8" fmla="*/ 2517775 w 2517775"/>
              <a:gd name="connsiteY8" fmla="*/ 10054 h 93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7775" h="936096">
                <a:moveTo>
                  <a:pt x="0" y="899054"/>
                </a:moveTo>
                <a:cubicBezTo>
                  <a:pt x="316441" y="917575"/>
                  <a:pt x="632883" y="936096"/>
                  <a:pt x="825500" y="911754"/>
                </a:cubicBezTo>
                <a:cubicBezTo>
                  <a:pt x="1018117" y="887412"/>
                  <a:pt x="1062567" y="838200"/>
                  <a:pt x="1155700" y="753004"/>
                </a:cubicBezTo>
                <a:cubicBezTo>
                  <a:pt x="1248833" y="667808"/>
                  <a:pt x="1325033" y="490537"/>
                  <a:pt x="1384300" y="400579"/>
                </a:cubicBezTo>
                <a:cubicBezTo>
                  <a:pt x="1443567" y="310621"/>
                  <a:pt x="1465792" y="268287"/>
                  <a:pt x="1511300" y="213254"/>
                </a:cubicBezTo>
                <a:cubicBezTo>
                  <a:pt x="1556808" y="158221"/>
                  <a:pt x="1608667" y="103716"/>
                  <a:pt x="1657350" y="70379"/>
                </a:cubicBezTo>
                <a:cubicBezTo>
                  <a:pt x="1706033" y="37042"/>
                  <a:pt x="1725083" y="24871"/>
                  <a:pt x="1803400" y="13229"/>
                </a:cubicBezTo>
                <a:cubicBezTo>
                  <a:pt x="1881717" y="1587"/>
                  <a:pt x="2008188" y="1058"/>
                  <a:pt x="2127250" y="529"/>
                </a:cubicBezTo>
                <a:cubicBezTo>
                  <a:pt x="2246312" y="0"/>
                  <a:pt x="2382043" y="5027"/>
                  <a:pt x="2517775" y="10054"/>
                </a:cubicBezTo>
              </a:path>
            </a:pathLst>
          </a:custGeom>
          <a:ln w="19050">
            <a:gradFill flip="none" rotWithShape="1">
              <a:gsLst>
                <a:gs pos="0">
                  <a:schemeClr val="bg2">
                    <a:lumMod val="50000"/>
                  </a:schemeClr>
                </a:gs>
                <a:gs pos="71000">
                  <a:schemeClr val="bg2">
                    <a:lumMod val="85000"/>
                  </a:schemeClr>
                </a:gs>
                <a:gs pos="100000">
                  <a:schemeClr val="bg2">
                    <a:lumMod val="50000"/>
                  </a:schemeClr>
                </a:gs>
              </a:gsLst>
              <a:lin ang="8100000" scaled="1"/>
              <a:tileRect/>
            </a:gra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200"/>
          </a:p>
        </p:txBody>
      </p:sp>
      <p:sp>
        <p:nvSpPr>
          <p:cNvPr id="9" name="Rectangle 8">
            <a:extLst>
              <a:ext uri="{FF2B5EF4-FFF2-40B4-BE49-F238E27FC236}">
                <a16:creationId xmlns:a16="http://schemas.microsoft.com/office/drawing/2014/main" id="{F5946EB4-72D1-424B-B2A6-5555CEFAB55B}"/>
              </a:ext>
            </a:extLst>
          </p:cNvPr>
          <p:cNvSpPr/>
          <p:nvPr/>
        </p:nvSpPr>
        <p:spPr>
          <a:xfrm>
            <a:off x="602814" y="2304388"/>
            <a:ext cx="973023" cy="276999"/>
          </a:xfrm>
          <a:prstGeom prst="rect">
            <a:avLst/>
          </a:prstGeom>
        </p:spPr>
        <p:txBody>
          <a:bodyPr wrap="none" lIns="0" rIns="0">
            <a:spAutoFit/>
          </a:bodyPr>
          <a:lstStyle/>
          <a:p>
            <a:pPr algn="ctr"/>
            <a:r>
              <a:rPr lang="en-US" sz="1200" b="1">
                <a:solidFill>
                  <a:schemeClr val="bg1">
                    <a:lumMod val="10000"/>
                  </a:schemeClr>
                </a:solidFill>
                <a:latin typeface="+mj-lt"/>
              </a:rPr>
              <a:t>Response Time</a:t>
            </a:r>
          </a:p>
        </p:txBody>
      </p:sp>
      <p:sp>
        <p:nvSpPr>
          <p:cNvPr id="10" name="Rectangle 9">
            <a:extLst>
              <a:ext uri="{FF2B5EF4-FFF2-40B4-BE49-F238E27FC236}">
                <a16:creationId xmlns:a16="http://schemas.microsoft.com/office/drawing/2014/main" id="{6AD1D2D7-9805-4A7A-B7D9-F595BB395F86}"/>
              </a:ext>
            </a:extLst>
          </p:cNvPr>
          <p:cNvSpPr/>
          <p:nvPr/>
        </p:nvSpPr>
        <p:spPr>
          <a:xfrm>
            <a:off x="2550118" y="2304388"/>
            <a:ext cx="492122" cy="276999"/>
          </a:xfrm>
          <a:prstGeom prst="rect">
            <a:avLst/>
          </a:prstGeom>
        </p:spPr>
        <p:txBody>
          <a:bodyPr wrap="none" lIns="0" rIns="0">
            <a:spAutoFit/>
          </a:bodyPr>
          <a:lstStyle/>
          <a:p>
            <a:pPr algn="ctr"/>
            <a:r>
              <a:rPr lang="en-US" sz="1200" b="1">
                <a:solidFill>
                  <a:schemeClr val="bg1">
                    <a:lumMod val="10000"/>
                  </a:schemeClr>
                </a:solidFill>
                <a:latin typeface="+mj-lt"/>
              </a:rPr>
              <a:t>Latency</a:t>
            </a:r>
          </a:p>
        </p:txBody>
      </p:sp>
      <p:sp>
        <p:nvSpPr>
          <p:cNvPr id="11" name="Rectangle 10">
            <a:extLst>
              <a:ext uri="{FF2B5EF4-FFF2-40B4-BE49-F238E27FC236}">
                <a16:creationId xmlns:a16="http://schemas.microsoft.com/office/drawing/2014/main" id="{1DDCC1EF-9C4A-45D7-9FFE-9AE8551854AA}"/>
              </a:ext>
            </a:extLst>
          </p:cNvPr>
          <p:cNvSpPr/>
          <p:nvPr/>
        </p:nvSpPr>
        <p:spPr>
          <a:xfrm>
            <a:off x="4125628" y="2304388"/>
            <a:ext cx="759952" cy="276999"/>
          </a:xfrm>
          <a:prstGeom prst="rect">
            <a:avLst/>
          </a:prstGeom>
        </p:spPr>
        <p:txBody>
          <a:bodyPr wrap="none" lIns="0" rIns="0">
            <a:spAutoFit/>
          </a:bodyPr>
          <a:lstStyle/>
          <a:p>
            <a:pPr algn="ctr"/>
            <a:r>
              <a:rPr lang="en-US" sz="1200" b="1">
                <a:solidFill>
                  <a:schemeClr val="bg1">
                    <a:lumMod val="10000"/>
                  </a:schemeClr>
                </a:solidFill>
                <a:latin typeface="+mj-lt"/>
              </a:rPr>
              <a:t>Throughput</a:t>
            </a:r>
          </a:p>
        </p:txBody>
      </p:sp>
      <p:sp>
        <p:nvSpPr>
          <p:cNvPr id="12" name="Rectangle 11">
            <a:extLst>
              <a:ext uri="{FF2B5EF4-FFF2-40B4-BE49-F238E27FC236}">
                <a16:creationId xmlns:a16="http://schemas.microsoft.com/office/drawing/2014/main" id="{CCC05586-3ACB-4787-8A21-D24EB84931E4}"/>
              </a:ext>
            </a:extLst>
          </p:cNvPr>
          <p:cNvSpPr/>
          <p:nvPr/>
        </p:nvSpPr>
        <p:spPr>
          <a:xfrm>
            <a:off x="5745607" y="2304388"/>
            <a:ext cx="754374" cy="276999"/>
          </a:xfrm>
          <a:prstGeom prst="rect">
            <a:avLst/>
          </a:prstGeom>
        </p:spPr>
        <p:txBody>
          <a:bodyPr wrap="none" lIns="0" rIns="0">
            <a:spAutoFit/>
          </a:bodyPr>
          <a:lstStyle/>
          <a:p>
            <a:pPr algn="ctr"/>
            <a:r>
              <a:rPr lang="en-US" sz="1200" b="1">
                <a:solidFill>
                  <a:schemeClr val="bg1">
                    <a:lumMod val="10000"/>
                  </a:schemeClr>
                </a:solidFill>
                <a:latin typeface="+mj-lt"/>
              </a:rPr>
              <a:t>Hits Per Sec</a:t>
            </a:r>
          </a:p>
        </p:txBody>
      </p:sp>
      <p:sp>
        <p:nvSpPr>
          <p:cNvPr id="13" name="Rectangle 12">
            <a:extLst>
              <a:ext uri="{FF2B5EF4-FFF2-40B4-BE49-F238E27FC236}">
                <a16:creationId xmlns:a16="http://schemas.microsoft.com/office/drawing/2014/main" id="{17FAA481-BF1A-4008-A49C-58FB727B4B57}"/>
              </a:ext>
            </a:extLst>
          </p:cNvPr>
          <p:cNvSpPr/>
          <p:nvPr/>
        </p:nvSpPr>
        <p:spPr>
          <a:xfrm>
            <a:off x="7270126" y="2304388"/>
            <a:ext cx="897682" cy="276999"/>
          </a:xfrm>
          <a:prstGeom prst="rect">
            <a:avLst/>
          </a:prstGeom>
        </p:spPr>
        <p:txBody>
          <a:bodyPr wrap="none" lIns="0" rIns="0">
            <a:spAutoFit/>
          </a:bodyPr>
          <a:lstStyle/>
          <a:p>
            <a:pPr algn="ctr"/>
            <a:r>
              <a:rPr lang="en-US" sz="1200" b="1">
                <a:solidFill>
                  <a:schemeClr val="bg1">
                    <a:lumMod val="10000"/>
                  </a:schemeClr>
                </a:solidFill>
                <a:latin typeface="+mj-lt"/>
              </a:rPr>
              <a:t>Connect Time</a:t>
            </a:r>
          </a:p>
        </p:txBody>
      </p:sp>
      <p:sp>
        <p:nvSpPr>
          <p:cNvPr id="14" name="Rectangle 13">
            <a:extLst>
              <a:ext uri="{FF2B5EF4-FFF2-40B4-BE49-F238E27FC236}">
                <a16:creationId xmlns:a16="http://schemas.microsoft.com/office/drawing/2014/main" id="{C08D551B-59C3-49D2-9949-8CDF281A7556}"/>
              </a:ext>
            </a:extLst>
          </p:cNvPr>
          <p:cNvSpPr/>
          <p:nvPr/>
        </p:nvSpPr>
        <p:spPr>
          <a:xfrm>
            <a:off x="9166468" y="2304388"/>
            <a:ext cx="476221" cy="276999"/>
          </a:xfrm>
          <a:prstGeom prst="rect">
            <a:avLst/>
          </a:prstGeom>
        </p:spPr>
        <p:txBody>
          <a:bodyPr wrap="none" lIns="0" rIns="0">
            <a:spAutoFit/>
          </a:bodyPr>
          <a:lstStyle/>
          <a:p>
            <a:pPr algn="ctr"/>
            <a:r>
              <a:rPr lang="en-US" sz="1200" b="1">
                <a:solidFill>
                  <a:schemeClr val="bg1">
                    <a:lumMod val="10000"/>
                  </a:schemeClr>
                </a:solidFill>
                <a:latin typeface="+mj-lt"/>
              </a:rPr>
              <a:t>Error %</a:t>
            </a:r>
          </a:p>
        </p:txBody>
      </p:sp>
      <p:sp>
        <p:nvSpPr>
          <p:cNvPr id="15" name="Rectangle 14">
            <a:extLst>
              <a:ext uri="{FF2B5EF4-FFF2-40B4-BE49-F238E27FC236}">
                <a16:creationId xmlns:a16="http://schemas.microsoft.com/office/drawing/2014/main" id="{D5C08C97-CE57-4109-973B-2EA9AA842680}"/>
              </a:ext>
            </a:extLst>
          </p:cNvPr>
          <p:cNvSpPr/>
          <p:nvPr/>
        </p:nvSpPr>
        <p:spPr>
          <a:xfrm>
            <a:off x="10258046" y="2304388"/>
            <a:ext cx="1405834" cy="276999"/>
          </a:xfrm>
          <a:prstGeom prst="rect">
            <a:avLst/>
          </a:prstGeom>
        </p:spPr>
        <p:txBody>
          <a:bodyPr wrap="none" lIns="0" rIns="0">
            <a:spAutoFit/>
          </a:bodyPr>
          <a:lstStyle/>
          <a:p>
            <a:pPr algn="ctr"/>
            <a:r>
              <a:rPr lang="en-US" sz="1200" b="1">
                <a:solidFill>
                  <a:schemeClr val="bg1">
                    <a:lumMod val="10000"/>
                  </a:schemeClr>
                </a:solidFill>
                <a:latin typeface="+mj-lt"/>
              </a:rPr>
              <a:t>Sent/Received KB/Sec</a:t>
            </a:r>
          </a:p>
        </p:txBody>
      </p:sp>
      <p:sp>
        <p:nvSpPr>
          <p:cNvPr id="16" name="Rectangle: Rounded Corners 133">
            <a:extLst>
              <a:ext uri="{FF2B5EF4-FFF2-40B4-BE49-F238E27FC236}">
                <a16:creationId xmlns:a16="http://schemas.microsoft.com/office/drawing/2014/main" id="{CEB96847-2C78-4C01-85D3-DE89ED4B65E7}"/>
              </a:ext>
            </a:extLst>
          </p:cNvPr>
          <p:cNvSpPr/>
          <p:nvPr/>
        </p:nvSpPr>
        <p:spPr>
          <a:xfrm>
            <a:off x="527725" y="2893446"/>
            <a:ext cx="1327792" cy="3029391"/>
          </a:xfrm>
          <a:prstGeom prst="roundRect">
            <a:avLst>
              <a:gd name="adj" fmla="val 4766"/>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0000" rIns="120000" rtlCol="0" anchor="ctr" anchorCtr="0"/>
          <a:lstStyle/>
          <a:p>
            <a:pPr algn="ctr"/>
            <a:r>
              <a:rPr lang="en-US" sz="1200">
                <a:solidFill>
                  <a:schemeClr val="bg1">
                    <a:lumMod val="10000"/>
                  </a:schemeClr>
                </a:solidFill>
                <a:latin typeface="+mj-lt"/>
              </a:rPr>
              <a:t>Elapsed time from just before sending the request to just after the last response has been received</a:t>
            </a:r>
          </a:p>
        </p:txBody>
      </p:sp>
      <p:sp>
        <p:nvSpPr>
          <p:cNvPr id="17" name="Rectangle: Rounded Corners 133">
            <a:extLst>
              <a:ext uri="{FF2B5EF4-FFF2-40B4-BE49-F238E27FC236}">
                <a16:creationId xmlns:a16="http://schemas.microsoft.com/office/drawing/2014/main" id="{F733FE93-FFC5-4C0B-8A3B-DE9CD95C5F80}"/>
              </a:ext>
            </a:extLst>
          </p:cNvPr>
          <p:cNvSpPr/>
          <p:nvPr/>
        </p:nvSpPr>
        <p:spPr>
          <a:xfrm>
            <a:off x="2155949" y="2893446"/>
            <a:ext cx="1327792" cy="3029391"/>
          </a:xfrm>
          <a:prstGeom prst="roundRect">
            <a:avLst>
              <a:gd name="adj" fmla="val 4766"/>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0000" rIns="120000" rtlCol="0" anchor="ctr" anchorCtr="0"/>
          <a:lstStyle/>
          <a:p>
            <a:pPr algn="ctr"/>
            <a:r>
              <a:rPr lang="en-US" sz="1200">
                <a:solidFill>
                  <a:schemeClr val="bg1">
                    <a:lumMod val="10000"/>
                  </a:schemeClr>
                </a:solidFill>
                <a:latin typeface="+mj-lt"/>
                <a:cs typeface="Arial" pitchFamily="34" charset="0"/>
              </a:rPr>
              <a:t>Time between just before sending the request to just after the first response has been received</a:t>
            </a:r>
          </a:p>
        </p:txBody>
      </p:sp>
      <p:sp>
        <p:nvSpPr>
          <p:cNvPr id="18" name="Rectangle: Rounded Corners 133">
            <a:extLst>
              <a:ext uri="{FF2B5EF4-FFF2-40B4-BE49-F238E27FC236}">
                <a16:creationId xmlns:a16="http://schemas.microsoft.com/office/drawing/2014/main" id="{26983C66-7075-4730-8AB2-F50B9804D6CA}"/>
              </a:ext>
            </a:extLst>
          </p:cNvPr>
          <p:cNvSpPr/>
          <p:nvPr/>
        </p:nvSpPr>
        <p:spPr>
          <a:xfrm>
            <a:off x="3784173" y="2893446"/>
            <a:ext cx="1327792" cy="3029391"/>
          </a:xfrm>
          <a:prstGeom prst="roundRect">
            <a:avLst>
              <a:gd name="adj" fmla="val 4766"/>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0000" rIns="120000" rtlCol="0" anchor="ctr" anchorCtr="0"/>
          <a:lstStyle/>
          <a:p>
            <a:pPr algn="ctr"/>
            <a:r>
              <a:rPr lang="en-US" sz="1200">
                <a:solidFill>
                  <a:schemeClr val="bg1">
                    <a:lumMod val="10000"/>
                  </a:schemeClr>
                </a:solidFill>
                <a:latin typeface="+mj-lt"/>
                <a:cs typeface="Arial" pitchFamily="34" charset="0"/>
              </a:rPr>
              <a:t>Number of requests processed per unit of time by server and is calculated from start till the end of the test execution</a:t>
            </a:r>
          </a:p>
        </p:txBody>
      </p:sp>
      <p:sp>
        <p:nvSpPr>
          <p:cNvPr id="19" name="Rectangle: Rounded Corners 133">
            <a:extLst>
              <a:ext uri="{FF2B5EF4-FFF2-40B4-BE49-F238E27FC236}">
                <a16:creationId xmlns:a16="http://schemas.microsoft.com/office/drawing/2014/main" id="{C59191D5-EFA1-4E54-834F-AEAED7DD42EC}"/>
              </a:ext>
            </a:extLst>
          </p:cNvPr>
          <p:cNvSpPr/>
          <p:nvPr/>
        </p:nvSpPr>
        <p:spPr>
          <a:xfrm>
            <a:off x="5412397" y="2893446"/>
            <a:ext cx="1327792" cy="3029391"/>
          </a:xfrm>
          <a:prstGeom prst="roundRect">
            <a:avLst>
              <a:gd name="adj" fmla="val 4766"/>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0000" rIns="120000" rtlCol="0" anchor="ctr" anchorCtr="0"/>
          <a:lstStyle/>
          <a:p>
            <a:pPr algn="ctr"/>
            <a:r>
              <a:rPr lang="en-US" sz="1200">
                <a:solidFill>
                  <a:schemeClr val="bg1">
                    <a:lumMod val="10000"/>
                  </a:schemeClr>
                </a:solidFill>
                <a:latin typeface="+mj-lt"/>
                <a:cs typeface="Arial" pitchFamily="34" charset="0"/>
              </a:rPr>
              <a:t>Number of requests that hits the server per second</a:t>
            </a:r>
          </a:p>
        </p:txBody>
      </p:sp>
      <p:sp>
        <p:nvSpPr>
          <p:cNvPr id="20" name="Rectangle: Rounded Corners 133">
            <a:extLst>
              <a:ext uri="{FF2B5EF4-FFF2-40B4-BE49-F238E27FC236}">
                <a16:creationId xmlns:a16="http://schemas.microsoft.com/office/drawing/2014/main" id="{D1FC830E-A9D8-4C78-BAC9-E2C2B2A426EB}"/>
              </a:ext>
            </a:extLst>
          </p:cNvPr>
          <p:cNvSpPr/>
          <p:nvPr/>
        </p:nvSpPr>
        <p:spPr>
          <a:xfrm>
            <a:off x="7040621" y="2893446"/>
            <a:ext cx="1327792" cy="3029391"/>
          </a:xfrm>
          <a:prstGeom prst="roundRect">
            <a:avLst>
              <a:gd name="adj" fmla="val 4766"/>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0000" rIns="120000" rtlCol="0" anchor="ctr" anchorCtr="0"/>
          <a:lstStyle/>
          <a:p>
            <a:pPr algn="ctr"/>
            <a:r>
              <a:rPr lang="en-US" sz="1200">
                <a:solidFill>
                  <a:schemeClr val="bg1">
                    <a:lumMod val="10000"/>
                  </a:schemeClr>
                </a:solidFill>
                <a:latin typeface="+mj-lt"/>
                <a:cs typeface="Arial" pitchFamily="34" charset="0"/>
              </a:rPr>
              <a:t>Time it took to establish the connection, including SSL handshake</a:t>
            </a:r>
          </a:p>
        </p:txBody>
      </p:sp>
      <p:sp>
        <p:nvSpPr>
          <p:cNvPr id="21" name="Rectangle: Rounded Corners 133">
            <a:extLst>
              <a:ext uri="{FF2B5EF4-FFF2-40B4-BE49-F238E27FC236}">
                <a16:creationId xmlns:a16="http://schemas.microsoft.com/office/drawing/2014/main" id="{3CDAAC51-DC35-456F-A462-4F9DBFAB4965}"/>
              </a:ext>
            </a:extLst>
          </p:cNvPr>
          <p:cNvSpPr/>
          <p:nvPr/>
        </p:nvSpPr>
        <p:spPr>
          <a:xfrm>
            <a:off x="8668845" y="2893446"/>
            <a:ext cx="1327792" cy="3029391"/>
          </a:xfrm>
          <a:prstGeom prst="roundRect">
            <a:avLst>
              <a:gd name="adj" fmla="val 4766"/>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0000" rIns="120000" rtlCol="0" anchor="ctr" anchorCtr="0"/>
          <a:lstStyle/>
          <a:p>
            <a:pPr algn="ctr"/>
            <a:r>
              <a:rPr lang="en-US" sz="1200">
                <a:solidFill>
                  <a:schemeClr val="bg1">
                    <a:lumMod val="10000"/>
                  </a:schemeClr>
                </a:solidFill>
                <a:latin typeface="+mj-lt"/>
                <a:cs typeface="Arial" pitchFamily="34" charset="0"/>
              </a:rPr>
              <a:t>Percentage of requests that resulted in error</a:t>
            </a:r>
          </a:p>
        </p:txBody>
      </p:sp>
      <p:sp>
        <p:nvSpPr>
          <p:cNvPr id="22" name="Rectangle: Rounded Corners 133">
            <a:extLst>
              <a:ext uri="{FF2B5EF4-FFF2-40B4-BE49-F238E27FC236}">
                <a16:creationId xmlns:a16="http://schemas.microsoft.com/office/drawing/2014/main" id="{B629B7BF-F133-4F73-A6CE-147E5775FC3B}"/>
              </a:ext>
            </a:extLst>
          </p:cNvPr>
          <p:cNvSpPr/>
          <p:nvPr/>
        </p:nvSpPr>
        <p:spPr>
          <a:xfrm>
            <a:off x="10297067" y="2893446"/>
            <a:ext cx="1327792" cy="3029391"/>
          </a:xfrm>
          <a:prstGeom prst="roundRect">
            <a:avLst>
              <a:gd name="adj" fmla="val 4766"/>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0000" rIns="120000" rtlCol="0" anchor="ctr" anchorCtr="0"/>
          <a:lstStyle/>
          <a:p>
            <a:pPr algn="ctr"/>
            <a:r>
              <a:rPr lang="en-US" sz="1200">
                <a:solidFill>
                  <a:schemeClr val="bg1">
                    <a:lumMod val="10000"/>
                  </a:schemeClr>
                </a:solidFill>
                <a:latin typeface="+mj-lt"/>
                <a:cs typeface="Arial" pitchFamily="34" charset="0"/>
              </a:rPr>
              <a:t>Represents the network throughout in Kilobytes/Sec</a:t>
            </a:r>
          </a:p>
        </p:txBody>
      </p:sp>
      <p:sp>
        <p:nvSpPr>
          <p:cNvPr id="31" name="Oval 30">
            <a:extLst>
              <a:ext uri="{FF2B5EF4-FFF2-40B4-BE49-F238E27FC236}">
                <a16:creationId xmlns:a16="http://schemas.microsoft.com/office/drawing/2014/main" id="{EA16B5D1-15FD-4547-954C-327E4477E30C}"/>
              </a:ext>
            </a:extLst>
          </p:cNvPr>
          <p:cNvSpPr/>
          <p:nvPr/>
        </p:nvSpPr>
        <p:spPr>
          <a:xfrm>
            <a:off x="793028" y="1662948"/>
            <a:ext cx="592594" cy="592594"/>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39" name="Oval 38">
            <a:extLst>
              <a:ext uri="{FF2B5EF4-FFF2-40B4-BE49-F238E27FC236}">
                <a16:creationId xmlns:a16="http://schemas.microsoft.com/office/drawing/2014/main" id="{6A84A8DA-8BA4-47E3-B359-F328A83C7885}"/>
              </a:ext>
            </a:extLst>
          </p:cNvPr>
          <p:cNvSpPr/>
          <p:nvPr/>
        </p:nvSpPr>
        <p:spPr>
          <a:xfrm>
            <a:off x="2499882" y="1662948"/>
            <a:ext cx="592594" cy="59259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47" name="Oval 46">
            <a:extLst>
              <a:ext uri="{FF2B5EF4-FFF2-40B4-BE49-F238E27FC236}">
                <a16:creationId xmlns:a16="http://schemas.microsoft.com/office/drawing/2014/main" id="{109B917B-4FD9-4438-8DC1-7F5E3D6AEB39}"/>
              </a:ext>
            </a:extLst>
          </p:cNvPr>
          <p:cNvSpPr/>
          <p:nvPr/>
        </p:nvSpPr>
        <p:spPr>
          <a:xfrm>
            <a:off x="4209307" y="1662948"/>
            <a:ext cx="592594" cy="59259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55" name="Oval 54">
            <a:extLst>
              <a:ext uri="{FF2B5EF4-FFF2-40B4-BE49-F238E27FC236}">
                <a16:creationId xmlns:a16="http://schemas.microsoft.com/office/drawing/2014/main" id="{CEF7C2A5-F379-4A1A-A4F3-20B45C1D38E1}"/>
              </a:ext>
            </a:extLst>
          </p:cNvPr>
          <p:cNvSpPr/>
          <p:nvPr/>
        </p:nvSpPr>
        <p:spPr>
          <a:xfrm>
            <a:off x="5826497" y="1662948"/>
            <a:ext cx="592594" cy="59259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63" name="Oval 62">
            <a:extLst>
              <a:ext uri="{FF2B5EF4-FFF2-40B4-BE49-F238E27FC236}">
                <a16:creationId xmlns:a16="http://schemas.microsoft.com/office/drawing/2014/main" id="{E7BC4F59-8AF9-4C33-A3A8-02C8E239893C}"/>
              </a:ext>
            </a:extLst>
          </p:cNvPr>
          <p:cNvSpPr/>
          <p:nvPr/>
        </p:nvSpPr>
        <p:spPr>
          <a:xfrm>
            <a:off x="7422670" y="1662948"/>
            <a:ext cx="592594" cy="59259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71" name="Oval 70">
            <a:extLst>
              <a:ext uri="{FF2B5EF4-FFF2-40B4-BE49-F238E27FC236}">
                <a16:creationId xmlns:a16="http://schemas.microsoft.com/office/drawing/2014/main" id="{5B68378B-D6C5-4338-B79D-E8C29D0781EA}"/>
              </a:ext>
            </a:extLst>
          </p:cNvPr>
          <p:cNvSpPr/>
          <p:nvPr/>
        </p:nvSpPr>
        <p:spPr>
          <a:xfrm>
            <a:off x="9108282" y="1662948"/>
            <a:ext cx="592594" cy="59259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79" name="Oval 78">
            <a:extLst>
              <a:ext uri="{FF2B5EF4-FFF2-40B4-BE49-F238E27FC236}">
                <a16:creationId xmlns:a16="http://schemas.microsoft.com/office/drawing/2014/main" id="{9EFADFC4-C852-46D1-B62D-5101EFF6A29C}"/>
              </a:ext>
            </a:extLst>
          </p:cNvPr>
          <p:cNvSpPr/>
          <p:nvPr/>
        </p:nvSpPr>
        <p:spPr>
          <a:xfrm>
            <a:off x="10664666" y="1662948"/>
            <a:ext cx="592594" cy="592594"/>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pSp>
        <p:nvGrpSpPr>
          <p:cNvPr id="88" name="Group 87"/>
          <p:cNvGrpSpPr/>
          <p:nvPr/>
        </p:nvGrpSpPr>
        <p:grpSpPr>
          <a:xfrm>
            <a:off x="899976" y="1770364"/>
            <a:ext cx="378699" cy="377762"/>
            <a:chOff x="18705513" y="3698875"/>
            <a:chExt cx="1924050" cy="1919288"/>
          </a:xfrm>
          <a:solidFill>
            <a:schemeClr val="bg2"/>
          </a:solidFill>
        </p:grpSpPr>
        <p:sp>
          <p:nvSpPr>
            <p:cNvPr id="89" name="Freeform 119"/>
            <p:cNvSpPr>
              <a:spLocks noEditPoints="1"/>
            </p:cNvSpPr>
            <p:nvPr/>
          </p:nvSpPr>
          <p:spPr bwMode="auto">
            <a:xfrm>
              <a:off x="18705513" y="4775200"/>
              <a:ext cx="1924050" cy="842963"/>
            </a:xfrm>
            <a:custGeom>
              <a:avLst/>
              <a:gdLst>
                <a:gd name="T0" fmla="*/ 504 w 513"/>
                <a:gd name="T1" fmla="*/ 15 h 225"/>
                <a:gd name="T2" fmla="*/ 402 w 513"/>
                <a:gd name="T3" fmla="*/ 34 h 225"/>
                <a:gd name="T4" fmla="*/ 381 w 513"/>
                <a:gd name="T5" fmla="*/ 24 h 225"/>
                <a:gd name="T6" fmla="*/ 287 w 513"/>
                <a:gd name="T7" fmla="*/ 68 h 225"/>
                <a:gd name="T8" fmla="*/ 229 w 513"/>
                <a:gd name="T9" fmla="*/ 62 h 225"/>
                <a:gd name="T10" fmla="*/ 99 w 513"/>
                <a:gd name="T11" fmla="*/ 13 h 225"/>
                <a:gd name="T12" fmla="*/ 2 w 513"/>
                <a:gd name="T13" fmla="*/ 25 h 225"/>
                <a:gd name="T14" fmla="*/ 96 w 513"/>
                <a:gd name="T15" fmla="*/ 29 h 225"/>
                <a:gd name="T16" fmla="*/ 227 w 513"/>
                <a:gd name="T17" fmla="*/ 78 h 225"/>
                <a:gd name="T18" fmla="*/ 317 w 513"/>
                <a:gd name="T19" fmla="*/ 90 h 225"/>
                <a:gd name="T20" fmla="*/ 369 w 513"/>
                <a:gd name="T21" fmla="*/ 146 h 225"/>
                <a:gd name="T22" fmla="*/ 306 w 513"/>
                <a:gd name="T23" fmla="*/ 141 h 225"/>
                <a:gd name="T24" fmla="*/ 169 w 513"/>
                <a:gd name="T25" fmla="*/ 141 h 225"/>
                <a:gd name="T26" fmla="*/ 173 w 513"/>
                <a:gd name="T27" fmla="*/ 156 h 225"/>
                <a:gd name="T28" fmla="*/ 271 w 513"/>
                <a:gd name="T29" fmla="*/ 149 h 225"/>
                <a:gd name="T30" fmla="*/ 339 w 513"/>
                <a:gd name="T31" fmla="*/ 166 h 225"/>
                <a:gd name="T32" fmla="*/ 13 w 513"/>
                <a:gd name="T33" fmla="*/ 112 h 225"/>
                <a:gd name="T34" fmla="*/ 5 w 513"/>
                <a:gd name="T35" fmla="*/ 127 h 225"/>
                <a:gd name="T36" fmla="*/ 369 w 513"/>
                <a:gd name="T37" fmla="*/ 166 h 225"/>
                <a:gd name="T38" fmla="*/ 505 w 513"/>
                <a:gd name="T39" fmla="*/ 57 h 225"/>
                <a:gd name="T40" fmla="*/ 513 w 513"/>
                <a:gd name="T41" fmla="*/ 27 h 225"/>
                <a:gd name="T42" fmla="*/ 496 w 513"/>
                <a:gd name="T43" fmla="*/ 28 h 225"/>
                <a:gd name="T44" fmla="*/ 454 w 513"/>
                <a:gd name="T45" fmla="*/ 35 h 225"/>
                <a:gd name="T46" fmla="*/ 360 w 513"/>
                <a:gd name="T47" fmla="*/ 89 h 225"/>
                <a:gd name="T48" fmla="*/ 377 w 513"/>
                <a:gd name="T49" fmla="*/ 67 h 225"/>
                <a:gd name="T50" fmla="*/ 443 w 513"/>
                <a:gd name="T51" fmla="*/ 29 h 225"/>
                <a:gd name="T52" fmla="*/ 380 w 513"/>
                <a:gd name="T53" fmla="*/ 40 h 225"/>
                <a:gd name="T54" fmla="*/ 370 w 513"/>
                <a:gd name="T55" fmla="*/ 53 h 225"/>
                <a:gd name="T56" fmla="*/ 320 w 513"/>
                <a:gd name="T57" fmla="*/ 74 h 225"/>
                <a:gd name="T58" fmla="*/ 323 w 513"/>
                <a:gd name="T59" fmla="*/ 67 h 225"/>
                <a:gd name="T60" fmla="*/ 390 w 513"/>
                <a:gd name="T61" fmla="*/ 133 h 225"/>
                <a:gd name="T62" fmla="*/ 374 w 513"/>
                <a:gd name="T63" fmla="*/ 99 h 225"/>
                <a:gd name="T64" fmla="*/ 460 w 513"/>
                <a:gd name="T65" fmla="*/ 50 h 225"/>
                <a:gd name="T66" fmla="*/ 490 w 513"/>
                <a:gd name="T67" fmla="*/ 5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3" h="225">
                  <a:moveTo>
                    <a:pt x="513" y="27"/>
                  </a:moveTo>
                  <a:cubicBezTo>
                    <a:pt x="512" y="22"/>
                    <a:pt x="509" y="17"/>
                    <a:pt x="504" y="15"/>
                  </a:cubicBezTo>
                  <a:cubicBezTo>
                    <a:pt x="492" y="7"/>
                    <a:pt x="463" y="0"/>
                    <a:pt x="436" y="14"/>
                  </a:cubicBezTo>
                  <a:cubicBezTo>
                    <a:pt x="424" y="20"/>
                    <a:pt x="413" y="27"/>
                    <a:pt x="402" y="34"/>
                  </a:cubicBezTo>
                  <a:cubicBezTo>
                    <a:pt x="401" y="33"/>
                    <a:pt x="401" y="33"/>
                    <a:pt x="401" y="32"/>
                  </a:cubicBezTo>
                  <a:cubicBezTo>
                    <a:pt x="397" y="27"/>
                    <a:pt x="390" y="24"/>
                    <a:pt x="381" y="24"/>
                  </a:cubicBezTo>
                  <a:cubicBezTo>
                    <a:pt x="368" y="24"/>
                    <a:pt x="346" y="36"/>
                    <a:pt x="315" y="53"/>
                  </a:cubicBezTo>
                  <a:cubicBezTo>
                    <a:pt x="306" y="59"/>
                    <a:pt x="296" y="64"/>
                    <a:pt x="287" y="68"/>
                  </a:cubicBezTo>
                  <a:cubicBezTo>
                    <a:pt x="280" y="67"/>
                    <a:pt x="274" y="67"/>
                    <a:pt x="267" y="66"/>
                  </a:cubicBezTo>
                  <a:cubicBezTo>
                    <a:pt x="257" y="65"/>
                    <a:pt x="245" y="64"/>
                    <a:pt x="229" y="62"/>
                  </a:cubicBezTo>
                  <a:cubicBezTo>
                    <a:pt x="224" y="60"/>
                    <a:pt x="219" y="57"/>
                    <a:pt x="214" y="54"/>
                  </a:cubicBezTo>
                  <a:cubicBezTo>
                    <a:pt x="178" y="33"/>
                    <a:pt x="139" y="19"/>
                    <a:pt x="99" y="13"/>
                  </a:cubicBezTo>
                  <a:cubicBezTo>
                    <a:pt x="36" y="2"/>
                    <a:pt x="7" y="14"/>
                    <a:pt x="6" y="15"/>
                  </a:cubicBezTo>
                  <a:cubicBezTo>
                    <a:pt x="2" y="17"/>
                    <a:pt x="0" y="21"/>
                    <a:pt x="2" y="25"/>
                  </a:cubicBezTo>
                  <a:cubicBezTo>
                    <a:pt x="3" y="30"/>
                    <a:pt x="8" y="31"/>
                    <a:pt x="12" y="30"/>
                  </a:cubicBezTo>
                  <a:cubicBezTo>
                    <a:pt x="12" y="30"/>
                    <a:pt x="38" y="19"/>
                    <a:pt x="96" y="29"/>
                  </a:cubicBezTo>
                  <a:cubicBezTo>
                    <a:pt x="135" y="35"/>
                    <a:pt x="172" y="48"/>
                    <a:pt x="206" y="68"/>
                  </a:cubicBezTo>
                  <a:cubicBezTo>
                    <a:pt x="215" y="74"/>
                    <a:pt x="221" y="77"/>
                    <a:pt x="227" y="78"/>
                  </a:cubicBezTo>
                  <a:cubicBezTo>
                    <a:pt x="243" y="80"/>
                    <a:pt x="255" y="81"/>
                    <a:pt x="265" y="82"/>
                  </a:cubicBezTo>
                  <a:cubicBezTo>
                    <a:pt x="283" y="83"/>
                    <a:pt x="300" y="86"/>
                    <a:pt x="317" y="90"/>
                  </a:cubicBezTo>
                  <a:cubicBezTo>
                    <a:pt x="347" y="96"/>
                    <a:pt x="366" y="109"/>
                    <a:pt x="372" y="124"/>
                  </a:cubicBezTo>
                  <a:cubicBezTo>
                    <a:pt x="375" y="132"/>
                    <a:pt x="375" y="140"/>
                    <a:pt x="369" y="146"/>
                  </a:cubicBezTo>
                  <a:cubicBezTo>
                    <a:pt x="367" y="148"/>
                    <a:pt x="365" y="149"/>
                    <a:pt x="363" y="150"/>
                  </a:cubicBezTo>
                  <a:cubicBezTo>
                    <a:pt x="351" y="155"/>
                    <a:pt x="323" y="146"/>
                    <a:pt x="306" y="141"/>
                  </a:cubicBezTo>
                  <a:cubicBezTo>
                    <a:pt x="295" y="137"/>
                    <a:pt x="284" y="134"/>
                    <a:pt x="272" y="133"/>
                  </a:cubicBezTo>
                  <a:cubicBezTo>
                    <a:pt x="238" y="132"/>
                    <a:pt x="203" y="134"/>
                    <a:pt x="169" y="141"/>
                  </a:cubicBezTo>
                  <a:cubicBezTo>
                    <a:pt x="165" y="141"/>
                    <a:pt x="162" y="146"/>
                    <a:pt x="163" y="150"/>
                  </a:cubicBezTo>
                  <a:cubicBezTo>
                    <a:pt x="164" y="154"/>
                    <a:pt x="168" y="157"/>
                    <a:pt x="173" y="156"/>
                  </a:cubicBezTo>
                  <a:cubicBezTo>
                    <a:pt x="173" y="156"/>
                    <a:pt x="173" y="156"/>
                    <a:pt x="173" y="156"/>
                  </a:cubicBezTo>
                  <a:cubicBezTo>
                    <a:pt x="205" y="150"/>
                    <a:pt x="238" y="148"/>
                    <a:pt x="271" y="149"/>
                  </a:cubicBezTo>
                  <a:cubicBezTo>
                    <a:pt x="282" y="151"/>
                    <a:pt x="292" y="153"/>
                    <a:pt x="302" y="156"/>
                  </a:cubicBezTo>
                  <a:cubicBezTo>
                    <a:pt x="315" y="160"/>
                    <a:pt x="328" y="164"/>
                    <a:pt x="339" y="166"/>
                  </a:cubicBezTo>
                  <a:cubicBezTo>
                    <a:pt x="299" y="190"/>
                    <a:pt x="261" y="209"/>
                    <a:pt x="244" y="209"/>
                  </a:cubicBezTo>
                  <a:cubicBezTo>
                    <a:pt x="209" y="209"/>
                    <a:pt x="65" y="139"/>
                    <a:pt x="13" y="112"/>
                  </a:cubicBezTo>
                  <a:cubicBezTo>
                    <a:pt x="9" y="110"/>
                    <a:pt x="4" y="112"/>
                    <a:pt x="2" y="116"/>
                  </a:cubicBezTo>
                  <a:cubicBezTo>
                    <a:pt x="0" y="120"/>
                    <a:pt x="2" y="124"/>
                    <a:pt x="5" y="127"/>
                  </a:cubicBezTo>
                  <a:cubicBezTo>
                    <a:pt x="13" y="131"/>
                    <a:pt x="198" y="225"/>
                    <a:pt x="244" y="225"/>
                  </a:cubicBezTo>
                  <a:cubicBezTo>
                    <a:pt x="267" y="225"/>
                    <a:pt x="318" y="198"/>
                    <a:pt x="369" y="166"/>
                  </a:cubicBezTo>
                  <a:cubicBezTo>
                    <a:pt x="374" y="163"/>
                    <a:pt x="377" y="161"/>
                    <a:pt x="381" y="158"/>
                  </a:cubicBezTo>
                  <a:cubicBezTo>
                    <a:pt x="441" y="119"/>
                    <a:pt x="498" y="73"/>
                    <a:pt x="505" y="57"/>
                  </a:cubicBezTo>
                  <a:cubicBezTo>
                    <a:pt x="507" y="53"/>
                    <a:pt x="508" y="49"/>
                    <a:pt x="508" y="44"/>
                  </a:cubicBezTo>
                  <a:cubicBezTo>
                    <a:pt x="512" y="39"/>
                    <a:pt x="513" y="33"/>
                    <a:pt x="513" y="27"/>
                  </a:cubicBezTo>
                  <a:close/>
                  <a:moveTo>
                    <a:pt x="443" y="29"/>
                  </a:moveTo>
                  <a:cubicBezTo>
                    <a:pt x="464" y="18"/>
                    <a:pt x="487" y="23"/>
                    <a:pt x="496" y="28"/>
                  </a:cubicBezTo>
                  <a:cubicBezTo>
                    <a:pt x="496" y="28"/>
                    <a:pt x="497" y="29"/>
                    <a:pt x="497" y="29"/>
                  </a:cubicBezTo>
                  <a:cubicBezTo>
                    <a:pt x="488" y="26"/>
                    <a:pt x="473" y="28"/>
                    <a:pt x="454" y="35"/>
                  </a:cubicBezTo>
                  <a:cubicBezTo>
                    <a:pt x="441" y="40"/>
                    <a:pt x="428" y="47"/>
                    <a:pt x="415" y="56"/>
                  </a:cubicBezTo>
                  <a:cubicBezTo>
                    <a:pt x="404" y="63"/>
                    <a:pt x="388" y="73"/>
                    <a:pt x="360" y="89"/>
                  </a:cubicBezTo>
                  <a:cubicBezTo>
                    <a:pt x="356" y="86"/>
                    <a:pt x="351" y="84"/>
                    <a:pt x="346" y="82"/>
                  </a:cubicBezTo>
                  <a:cubicBezTo>
                    <a:pt x="358" y="77"/>
                    <a:pt x="371" y="70"/>
                    <a:pt x="377" y="67"/>
                  </a:cubicBezTo>
                  <a:cubicBezTo>
                    <a:pt x="384" y="63"/>
                    <a:pt x="393" y="58"/>
                    <a:pt x="402" y="53"/>
                  </a:cubicBezTo>
                  <a:cubicBezTo>
                    <a:pt x="414" y="45"/>
                    <a:pt x="429" y="36"/>
                    <a:pt x="443" y="29"/>
                  </a:cubicBezTo>
                  <a:close/>
                  <a:moveTo>
                    <a:pt x="323" y="67"/>
                  </a:moveTo>
                  <a:cubicBezTo>
                    <a:pt x="341" y="57"/>
                    <a:pt x="371" y="41"/>
                    <a:pt x="380" y="40"/>
                  </a:cubicBezTo>
                  <a:cubicBezTo>
                    <a:pt x="383" y="40"/>
                    <a:pt x="387" y="40"/>
                    <a:pt x="390" y="41"/>
                  </a:cubicBezTo>
                  <a:cubicBezTo>
                    <a:pt x="382" y="46"/>
                    <a:pt x="375" y="50"/>
                    <a:pt x="370" y="53"/>
                  </a:cubicBezTo>
                  <a:cubicBezTo>
                    <a:pt x="361" y="58"/>
                    <a:pt x="332" y="71"/>
                    <a:pt x="323" y="75"/>
                  </a:cubicBezTo>
                  <a:cubicBezTo>
                    <a:pt x="320" y="74"/>
                    <a:pt x="320" y="74"/>
                    <a:pt x="320" y="74"/>
                  </a:cubicBezTo>
                  <a:cubicBezTo>
                    <a:pt x="313" y="73"/>
                    <a:pt x="313" y="73"/>
                    <a:pt x="313" y="73"/>
                  </a:cubicBezTo>
                  <a:cubicBezTo>
                    <a:pt x="316" y="71"/>
                    <a:pt x="319" y="69"/>
                    <a:pt x="323" y="67"/>
                  </a:cubicBezTo>
                  <a:close/>
                  <a:moveTo>
                    <a:pt x="491" y="51"/>
                  </a:moveTo>
                  <a:cubicBezTo>
                    <a:pt x="485" y="63"/>
                    <a:pt x="441" y="99"/>
                    <a:pt x="390" y="133"/>
                  </a:cubicBezTo>
                  <a:cubicBezTo>
                    <a:pt x="390" y="128"/>
                    <a:pt x="389" y="123"/>
                    <a:pt x="387" y="118"/>
                  </a:cubicBezTo>
                  <a:cubicBezTo>
                    <a:pt x="384" y="111"/>
                    <a:pt x="380" y="104"/>
                    <a:pt x="374" y="99"/>
                  </a:cubicBezTo>
                  <a:cubicBezTo>
                    <a:pt x="399" y="86"/>
                    <a:pt x="413" y="76"/>
                    <a:pt x="424" y="69"/>
                  </a:cubicBezTo>
                  <a:cubicBezTo>
                    <a:pt x="435" y="61"/>
                    <a:pt x="447" y="55"/>
                    <a:pt x="460" y="50"/>
                  </a:cubicBezTo>
                  <a:cubicBezTo>
                    <a:pt x="483" y="41"/>
                    <a:pt x="491" y="43"/>
                    <a:pt x="492" y="44"/>
                  </a:cubicBezTo>
                  <a:cubicBezTo>
                    <a:pt x="492" y="46"/>
                    <a:pt x="492" y="49"/>
                    <a:pt x="490" y="51"/>
                  </a:cubicBezTo>
                  <a:lnTo>
                    <a:pt x="49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90" name="Freeform 120"/>
            <p:cNvSpPr>
              <a:spLocks noEditPoints="1"/>
            </p:cNvSpPr>
            <p:nvPr/>
          </p:nvSpPr>
          <p:spPr bwMode="auto">
            <a:xfrm>
              <a:off x="19129376" y="3698875"/>
              <a:ext cx="1079500" cy="1079500"/>
            </a:xfrm>
            <a:custGeom>
              <a:avLst/>
              <a:gdLst>
                <a:gd name="T0" fmla="*/ 144 w 288"/>
                <a:gd name="T1" fmla="*/ 288 h 288"/>
                <a:gd name="T2" fmla="*/ 288 w 288"/>
                <a:gd name="T3" fmla="*/ 144 h 288"/>
                <a:gd name="T4" fmla="*/ 144 w 288"/>
                <a:gd name="T5" fmla="*/ 0 h 288"/>
                <a:gd name="T6" fmla="*/ 0 w 288"/>
                <a:gd name="T7" fmla="*/ 144 h 288"/>
                <a:gd name="T8" fmla="*/ 144 w 288"/>
                <a:gd name="T9" fmla="*/ 288 h 288"/>
                <a:gd name="T10" fmla="*/ 136 w 288"/>
                <a:gd name="T11" fmla="*/ 16 h 288"/>
                <a:gd name="T12" fmla="*/ 136 w 288"/>
                <a:gd name="T13" fmla="*/ 26 h 288"/>
                <a:gd name="T14" fmla="*/ 144 w 288"/>
                <a:gd name="T15" fmla="*/ 34 h 288"/>
                <a:gd name="T16" fmla="*/ 152 w 288"/>
                <a:gd name="T17" fmla="*/ 26 h 288"/>
                <a:gd name="T18" fmla="*/ 152 w 288"/>
                <a:gd name="T19" fmla="*/ 16 h 288"/>
                <a:gd name="T20" fmla="*/ 272 w 288"/>
                <a:gd name="T21" fmla="*/ 136 h 288"/>
                <a:gd name="T22" fmla="*/ 262 w 288"/>
                <a:gd name="T23" fmla="*/ 136 h 288"/>
                <a:gd name="T24" fmla="*/ 254 w 288"/>
                <a:gd name="T25" fmla="*/ 144 h 288"/>
                <a:gd name="T26" fmla="*/ 262 w 288"/>
                <a:gd name="T27" fmla="*/ 152 h 288"/>
                <a:gd name="T28" fmla="*/ 272 w 288"/>
                <a:gd name="T29" fmla="*/ 152 h 288"/>
                <a:gd name="T30" fmla="*/ 152 w 288"/>
                <a:gd name="T31" fmla="*/ 272 h 288"/>
                <a:gd name="T32" fmla="*/ 152 w 288"/>
                <a:gd name="T33" fmla="*/ 262 h 288"/>
                <a:gd name="T34" fmla="*/ 144 w 288"/>
                <a:gd name="T35" fmla="*/ 254 h 288"/>
                <a:gd name="T36" fmla="*/ 136 w 288"/>
                <a:gd name="T37" fmla="*/ 262 h 288"/>
                <a:gd name="T38" fmla="*/ 136 w 288"/>
                <a:gd name="T39" fmla="*/ 272 h 288"/>
                <a:gd name="T40" fmla="*/ 16 w 288"/>
                <a:gd name="T41" fmla="*/ 152 h 288"/>
                <a:gd name="T42" fmla="*/ 26 w 288"/>
                <a:gd name="T43" fmla="*/ 152 h 288"/>
                <a:gd name="T44" fmla="*/ 34 w 288"/>
                <a:gd name="T45" fmla="*/ 144 h 288"/>
                <a:gd name="T46" fmla="*/ 26 w 288"/>
                <a:gd name="T47" fmla="*/ 136 h 288"/>
                <a:gd name="T48" fmla="*/ 16 w 288"/>
                <a:gd name="T49" fmla="*/ 136 h 288"/>
                <a:gd name="T50" fmla="*/ 136 w 288"/>
                <a:gd name="T51" fmla="*/ 1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8" h="288">
                  <a:moveTo>
                    <a:pt x="144" y="288"/>
                  </a:moveTo>
                  <a:cubicBezTo>
                    <a:pt x="224" y="288"/>
                    <a:pt x="288" y="224"/>
                    <a:pt x="288" y="144"/>
                  </a:cubicBezTo>
                  <a:cubicBezTo>
                    <a:pt x="288" y="64"/>
                    <a:pt x="224" y="0"/>
                    <a:pt x="144" y="0"/>
                  </a:cubicBezTo>
                  <a:cubicBezTo>
                    <a:pt x="64" y="0"/>
                    <a:pt x="0" y="64"/>
                    <a:pt x="0" y="144"/>
                  </a:cubicBezTo>
                  <a:cubicBezTo>
                    <a:pt x="0" y="224"/>
                    <a:pt x="64" y="288"/>
                    <a:pt x="144" y="288"/>
                  </a:cubicBezTo>
                  <a:close/>
                  <a:moveTo>
                    <a:pt x="136" y="16"/>
                  </a:moveTo>
                  <a:cubicBezTo>
                    <a:pt x="136" y="26"/>
                    <a:pt x="136" y="26"/>
                    <a:pt x="136" y="26"/>
                  </a:cubicBezTo>
                  <a:cubicBezTo>
                    <a:pt x="136" y="31"/>
                    <a:pt x="140" y="34"/>
                    <a:pt x="144" y="34"/>
                  </a:cubicBezTo>
                  <a:cubicBezTo>
                    <a:pt x="148" y="34"/>
                    <a:pt x="152" y="31"/>
                    <a:pt x="152" y="26"/>
                  </a:cubicBezTo>
                  <a:cubicBezTo>
                    <a:pt x="152" y="16"/>
                    <a:pt x="152" y="16"/>
                    <a:pt x="152" y="16"/>
                  </a:cubicBezTo>
                  <a:cubicBezTo>
                    <a:pt x="216" y="20"/>
                    <a:pt x="268" y="72"/>
                    <a:pt x="272" y="136"/>
                  </a:cubicBezTo>
                  <a:cubicBezTo>
                    <a:pt x="262" y="136"/>
                    <a:pt x="262" y="136"/>
                    <a:pt x="262" y="136"/>
                  </a:cubicBezTo>
                  <a:cubicBezTo>
                    <a:pt x="257" y="136"/>
                    <a:pt x="254" y="140"/>
                    <a:pt x="254" y="144"/>
                  </a:cubicBezTo>
                  <a:cubicBezTo>
                    <a:pt x="254" y="148"/>
                    <a:pt x="257" y="152"/>
                    <a:pt x="262" y="152"/>
                  </a:cubicBezTo>
                  <a:cubicBezTo>
                    <a:pt x="272" y="152"/>
                    <a:pt x="272" y="152"/>
                    <a:pt x="272" y="152"/>
                  </a:cubicBezTo>
                  <a:cubicBezTo>
                    <a:pt x="268" y="216"/>
                    <a:pt x="216" y="268"/>
                    <a:pt x="152" y="272"/>
                  </a:cubicBezTo>
                  <a:cubicBezTo>
                    <a:pt x="152" y="262"/>
                    <a:pt x="152" y="262"/>
                    <a:pt x="152" y="262"/>
                  </a:cubicBezTo>
                  <a:cubicBezTo>
                    <a:pt x="152" y="257"/>
                    <a:pt x="148" y="254"/>
                    <a:pt x="144" y="254"/>
                  </a:cubicBezTo>
                  <a:cubicBezTo>
                    <a:pt x="140" y="254"/>
                    <a:pt x="136" y="257"/>
                    <a:pt x="136" y="262"/>
                  </a:cubicBezTo>
                  <a:cubicBezTo>
                    <a:pt x="136" y="272"/>
                    <a:pt x="136" y="272"/>
                    <a:pt x="136" y="272"/>
                  </a:cubicBezTo>
                  <a:cubicBezTo>
                    <a:pt x="72" y="268"/>
                    <a:pt x="20" y="216"/>
                    <a:pt x="16" y="152"/>
                  </a:cubicBezTo>
                  <a:cubicBezTo>
                    <a:pt x="26" y="152"/>
                    <a:pt x="26" y="152"/>
                    <a:pt x="26" y="152"/>
                  </a:cubicBezTo>
                  <a:cubicBezTo>
                    <a:pt x="31" y="152"/>
                    <a:pt x="34" y="148"/>
                    <a:pt x="34" y="144"/>
                  </a:cubicBezTo>
                  <a:cubicBezTo>
                    <a:pt x="34" y="140"/>
                    <a:pt x="31" y="136"/>
                    <a:pt x="26" y="136"/>
                  </a:cubicBezTo>
                  <a:cubicBezTo>
                    <a:pt x="16" y="136"/>
                    <a:pt x="16" y="136"/>
                    <a:pt x="16" y="136"/>
                  </a:cubicBezTo>
                  <a:cubicBezTo>
                    <a:pt x="20" y="72"/>
                    <a:pt x="72" y="20"/>
                    <a:pt x="13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91" name="Freeform 121"/>
            <p:cNvSpPr>
              <a:spLocks noEditPoints="1"/>
            </p:cNvSpPr>
            <p:nvPr/>
          </p:nvSpPr>
          <p:spPr bwMode="auto">
            <a:xfrm>
              <a:off x="19511963" y="3900488"/>
              <a:ext cx="250825" cy="611188"/>
            </a:xfrm>
            <a:custGeom>
              <a:avLst/>
              <a:gdLst>
                <a:gd name="T0" fmla="*/ 5 w 67"/>
                <a:gd name="T1" fmla="*/ 162 h 163"/>
                <a:gd name="T2" fmla="*/ 9 w 67"/>
                <a:gd name="T3" fmla="*/ 163 h 163"/>
                <a:gd name="T4" fmla="*/ 16 w 67"/>
                <a:gd name="T5" fmla="*/ 158 h 163"/>
                <a:gd name="T6" fmla="*/ 38 w 67"/>
                <a:gd name="T7" fmla="*/ 114 h 163"/>
                <a:gd name="T8" fmla="*/ 42 w 67"/>
                <a:gd name="T9" fmla="*/ 115 h 163"/>
                <a:gd name="T10" fmla="*/ 66 w 67"/>
                <a:gd name="T11" fmla="*/ 90 h 163"/>
                <a:gd name="T12" fmla="*/ 50 w 67"/>
                <a:gd name="T13" fmla="*/ 67 h 163"/>
                <a:gd name="T14" fmla="*/ 50 w 67"/>
                <a:gd name="T15" fmla="*/ 8 h 163"/>
                <a:gd name="T16" fmla="*/ 42 w 67"/>
                <a:gd name="T17" fmla="*/ 0 h 163"/>
                <a:gd name="T18" fmla="*/ 34 w 67"/>
                <a:gd name="T19" fmla="*/ 8 h 163"/>
                <a:gd name="T20" fmla="*/ 34 w 67"/>
                <a:gd name="T21" fmla="*/ 67 h 163"/>
                <a:gd name="T22" fmla="*/ 19 w 67"/>
                <a:gd name="T23" fmla="*/ 98 h 163"/>
                <a:gd name="T24" fmla="*/ 24 w 67"/>
                <a:gd name="T25" fmla="*/ 107 h 163"/>
                <a:gd name="T26" fmla="*/ 1 w 67"/>
                <a:gd name="T27" fmla="*/ 151 h 163"/>
                <a:gd name="T28" fmla="*/ 5 w 67"/>
                <a:gd name="T29" fmla="*/ 162 h 163"/>
                <a:gd name="T30" fmla="*/ 42 w 67"/>
                <a:gd name="T31" fmla="*/ 81 h 163"/>
                <a:gd name="T32" fmla="*/ 51 w 67"/>
                <a:gd name="T33" fmla="*/ 90 h 163"/>
                <a:gd name="T34" fmla="*/ 42 w 67"/>
                <a:gd name="T35" fmla="*/ 99 h 163"/>
                <a:gd name="T36" fmla="*/ 33 w 67"/>
                <a:gd name="T37" fmla="*/ 90 h 163"/>
                <a:gd name="T38" fmla="*/ 42 w 67"/>
                <a:gd name="T39" fmla="*/ 8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163">
                  <a:moveTo>
                    <a:pt x="5" y="162"/>
                  </a:moveTo>
                  <a:cubicBezTo>
                    <a:pt x="6" y="162"/>
                    <a:pt x="7" y="163"/>
                    <a:pt x="9" y="163"/>
                  </a:cubicBezTo>
                  <a:cubicBezTo>
                    <a:pt x="12" y="163"/>
                    <a:pt x="14" y="161"/>
                    <a:pt x="16" y="158"/>
                  </a:cubicBezTo>
                  <a:cubicBezTo>
                    <a:pt x="38" y="114"/>
                    <a:pt x="38" y="114"/>
                    <a:pt x="38" y="114"/>
                  </a:cubicBezTo>
                  <a:cubicBezTo>
                    <a:pt x="40" y="114"/>
                    <a:pt x="41" y="115"/>
                    <a:pt x="42" y="115"/>
                  </a:cubicBezTo>
                  <a:cubicBezTo>
                    <a:pt x="56" y="114"/>
                    <a:pt x="67" y="103"/>
                    <a:pt x="66" y="90"/>
                  </a:cubicBezTo>
                  <a:cubicBezTo>
                    <a:pt x="66" y="79"/>
                    <a:pt x="60" y="70"/>
                    <a:pt x="50" y="67"/>
                  </a:cubicBezTo>
                  <a:cubicBezTo>
                    <a:pt x="50" y="8"/>
                    <a:pt x="50" y="8"/>
                    <a:pt x="50" y="8"/>
                  </a:cubicBezTo>
                  <a:cubicBezTo>
                    <a:pt x="50" y="4"/>
                    <a:pt x="46" y="0"/>
                    <a:pt x="42" y="0"/>
                  </a:cubicBezTo>
                  <a:cubicBezTo>
                    <a:pt x="38" y="0"/>
                    <a:pt x="34" y="4"/>
                    <a:pt x="34" y="8"/>
                  </a:cubicBezTo>
                  <a:cubicBezTo>
                    <a:pt x="34" y="67"/>
                    <a:pt x="34" y="67"/>
                    <a:pt x="34" y="67"/>
                  </a:cubicBezTo>
                  <a:cubicBezTo>
                    <a:pt x="21" y="71"/>
                    <a:pt x="14" y="85"/>
                    <a:pt x="19" y="98"/>
                  </a:cubicBezTo>
                  <a:cubicBezTo>
                    <a:pt x="20" y="101"/>
                    <a:pt x="22" y="104"/>
                    <a:pt x="24" y="107"/>
                  </a:cubicBezTo>
                  <a:cubicBezTo>
                    <a:pt x="1" y="151"/>
                    <a:pt x="1" y="151"/>
                    <a:pt x="1" y="151"/>
                  </a:cubicBezTo>
                  <a:cubicBezTo>
                    <a:pt x="0" y="155"/>
                    <a:pt x="1" y="160"/>
                    <a:pt x="5" y="162"/>
                  </a:cubicBezTo>
                  <a:close/>
                  <a:moveTo>
                    <a:pt x="42" y="81"/>
                  </a:moveTo>
                  <a:cubicBezTo>
                    <a:pt x="47" y="81"/>
                    <a:pt x="51" y="85"/>
                    <a:pt x="51" y="90"/>
                  </a:cubicBezTo>
                  <a:cubicBezTo>
                    <a:pt x="51" y="95"/>
                    <a:pt x="47" y="99"/>
                    <a:pt x="42" y="99"/>
                  </a:cubicBezTo>
                  <a:cubicBezTo>
                    <a:pt x="37" y="99"/>
                    <a:pt x="33" y="95"/>
                    <a:pt x="33" y="90"/>
                  </a:cubicBezTo>
                  <a:cubicBezTo>
                    <a:pt x="33" y="85"/>
                    <a:pt x="37" y="81"/>
                    <a:pt x="42"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94" name="Freeform 6"/>
          <p:cNvSpPr>
            <a:spLocks noEditPoints="1"/>
          </p:cNvSpPr>
          <p:nvPr/>
        </p:nvSpPr>
        <p:spPr bwMode="auto">
          <a:xfrm>
            <a:off x="2608813" y="1771654"/>
            <a:ext cx="374731" cy="375181"/>
          </a:xfrm>
          <a:custGeom>
            <a:avLst/>
            <a:gdLst>
              <a:gd name="T0" fmla="*/ 311 w 353"/>
              <a:gd name="T1" fmla="*/ 201 h 353"/>
              <a:gd name="T2" fmla="*/ 205 w 353"/>
              <a:gd name="T3" fmla="*/ 187 h 353"/>
              <a:gd name="T4" fmla="*/ 143 w 353"/>
              <a:gd name="T5" fmla="*/ 275 h 353"/>
              <a:gd name="T6" fmla="*/ 347 w 353"/>
              <a:gd name="T7" fmla="*/ 276 h 353"/>
              <a:gd name="T8" fmla="*/ 316 w 353"/>
              <a:gd name="T9" fmla="*/ 278 h 353"/>
              <a:gd name="T10" fmla="*/ 164 w 353"/>
              <a:gd name="T11" fmla="*/ 238 h 353"/>
              <a:gd name="T12" fmla="*/ 198 w 353"/>
              <a:gd name="T13" fmla="*/ 234 h 353"/>
              <a:gd name="T14" fmla="*/ 252 w 353"/>
              <a:gd name="T15" fmla="*/ 200 h 353"/>
              <a:gd name="T16" fmla="*/ 282 w 353"/>
              <a:gd name="T17" fmla="*/ 231 h 353"/>
              <a:gd name="T18" fmla="*/ 308 w 353"/>
              <a:gd name="T19" fmla="*/ 231 h 353"/>
              <a:gd name="T20" fmla="*/ 331 w 353"/>
              <a:gd name="T21" fmla="*/ 249 h 353"/>
              <a:gd name="T22" fmla="*/ 244 w 353"/>
              <a:gd name="T23" fmla="*/ 295 h 353"/>
              <a:gd name="T24" fmla="*/ 231 w 353"/>
              <a:gd name="T25" fmla="*/ 317 h 353"/>
              <a:gd name="T26" fmla="*/ 55 w 353"/>
              <a:gd name="T27" fmla="*/ 341 h 353"/>
              <a:gd name="T28" fmla="*/ 51 w 353"/>
              <a:gd name="T29" fmla="*/ 198 h 353"/>
              <a:gd name="T30" fmla="*/ 63 w 353"/>
              <a:gd name="T31" fmla="*/ 178 h 353"/>
              <a:gd name="T32" fmla="*/ 178 w 353"/>
              <a:gd name="T33" fmla="*/ 118 h 353"/>
              <a:gd name="T34" fmla="*/ 188 w 353"/>
              <a:gd name="T35" fmla="*/ 50 h 353"/>
              <a:gd name="T36" fmla="*/ 123 w 353"/>
              <a:gd name="T37" fmla="*/ 10 h 353"/>
              <a:gd name="T38" fmla="*/ 16 w 353"/>
              <a:gd name="T39" fmla="*/ 50 h 353"/>
              <a:gd name="T40" fmla="*/ 43 w 353"/>
              <a:gd name="T41" fmla="*/ 118 h 353"/>
              <a:gd name="T42" fmla="*/ 32 w 353"/>
              <a:gd name="T43" fmla="*/ 179 h 353"/>
              <a:gd name="T44" fmla="*/ 13 w 353"/>
              <a:gd name="T45" fmla="*/ 217 h 353"/>
              <a:gd name="T46" fmla="*/ 6 w 353"/>
              <a:gd name="T47" fmla="*/ 216 h 353"/>
              <a:gd name="T48" fmla="*/ 9 w 353"/>
              <a:gd name="T49" fmla="*/ 239 h 353"/>
              <a:gd name="T50" fmla="*/ 27 w 353"/>
              <a:gd name="T51" fmla="*/ 225 h 353"/>
              <a:gd name="T52" fmla="*/ 80 w 353"/>
              <a:gd name="T53" fmla="*/ 241 h 353"/>
              <a:gd name="T54" fmla="*/ 6 w 353"/>
              <a:gd name="T55" fmla="*/ 251 h 353"/>
              <a:gd name="T56" fmla="*/ 49 w 353"/>
              <a:gd name="T57" fmla="*/ 353 h 353"/>
              <a:gd name="T58" fmla="*/ 251 w 353"/>
              <a:gd name="T59" fmla="*/ 317 h 353"/>
              <a:gd name="T60" fmla="*/ 262 w 353"/>
              <a:gd name="T61" fmla="*/ 314 h 353"/>
              <a:gd name="T62" fmla="*/ 27 w 353"/>
              <a:gd name="T63" fmla="*/ 61 h 353"/>
              <a:gd name="T64" fmla="*/ 61 w 353"/>
              <a:gd name="T65" fmla="*/ 58 h 353"/>
              <a:gd name="T66" fmla="*/ 115 w 353"/>
              <a:gd name="T67" fmla="*/ 23 h 353"/>
              <a:gd name="T68" fmla="*/ 145 w 353"/>
              <a:gd name="T69" fmla="*/ 55 h 353"/>
              <a:gd name="T70" fmla="*/ 170 w 353"/>
              <a:gd name="T71" fmla="*/ 54 h 353"/>
              <a:gd name="T72" fmla="*/ 194 w 353"/>
              <a:gd name="T73" fmla="*/ 72 h 353"/>
              <a:gd name="T74" fmla="*/ 35 w 353"/>
              <a:gd name="T75" fmla="*/ 102 h 353"/>
              <a:gd name="T76" fmla="*/ 10 w 353"/>
              <a:gd name="T77" fmla="*/ 220 h 353"/>
              <a:gd name="T78" fmla="*/ 59 w 353"/>
              <a:gd name="T79" fmla="*/ 182 h 353"/>
              <a:gd name="T80" fmla="*/ 59 w 353"/>
              <a:gd name="T81" fmla="*/ 182 h 353"/>
              <a:gd name="T82" fmla="*/ 256 w 353"/>
              <a:gd name="T83" fmla="*/ 313 h 353"/>
              <a:gd name="T84" fmla="*/ 51 w 353"/>
              <a:gd name="T85" fmla="*/ 239 h 353"/>
              <a:gd name="T86" fmla="*/ 71 w 353"/>
              <a:gd name="T87" fmla="*/ 243 h 353"/>
              <a:gd name="T88" fmla="*/ 49 w 353"/>
              <a:gd name="T89" fmla="*/ 22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3" h="353">
                <a:moveTo>
                  <a:pt x="344" y="239"/>
                </a:moveTo>
                <a:cubicBezTo>
                  <a:pt x="339" y="233"/>
                  <a:pt x="333" y="229"/>
                  <a:pt x="325" y="227"/>
                </a:cubicBezTo>
                <a:cubicBezTo>
                  <a:pt x="326" y="217"/>
                  <a:pt x="321" y="207"/>
                  <a:pt x="311" y="201"/>
                </a:cubicBezTo>
                <a:cubicBezTo>
                  <a:pt x="301" y="194"/>
                  <a:pt x="286" y="192"/>
                  <a:pt x="275" y="200"/>
                </a:cubicBezTo>
                <a:cubicBezTo>
                  <a:pt x="271" y="195"/>
                  <a:pt x="266" y="190"/>
                  <a:pt x="260" y="186"/>
                </a:cubicBezTo>
                <a:cubicBezTo>
                  <a:pt x="244" y="177"/>
                  <a:pt x="222" y="177"/>
                  <a:pt x="205" y="187"/>
                </a:cubicBezTo>
                <a:cubicBezTo>
                  <a:pt x="194" y="194"/>
                  <a:pt x="187" y="205"/>
                  <a:pt x="185" y="217"/>
                </a:cubicBezTo>
                <a:cubicBezTo>
                  <a:pt x="173" y="215"/>
                  <a:pt x="161" y="218"/>
                  <a:pt x="153" y="227"/>
                </a:cubicBezTo>
                <a:cubicBezTo>
                  <a:pt x="141" y="239"/>
                  <a:pt x="137" y="260"/>
                  <a:pt x="143" y="275"/>
                </a:cubicBezTo>
                <a:cubicBezTo>
                  <a:pt x="148" y="287"/>
                  <a:pt x="159" y="294"/>
                  <a:pt x="172" y="294"/>
                </a:cubicBezTo>
                <a:cubicBezTo>
                  <a:pt x="316" y="294"/>
                  <a:pt x="316" y="294"/>
                  <a:pt x="316" y="294"/>
                </a:cubicBezTo>
                <a:cubicBezTo>
                  <a:pt x="330" y="294"/>
                  <a:pt x="342" y="288"/>
                  <a:pt x="347" y="276"/>
                </a:cubicBezTo>
                <a:cubicBezTo>
                  <a:pt x="353" y="265"/>
                  <a:pt x="352" y="250"/>
                  <a:pt x="344" y="239"/>
                </a:cubicBezTo>
                <a:close/>
                <a:moveTo>
                  <a:pt x="333" y="269"/>
                </a:moveTo>
                <a:cubicBezTo>
                  <a:pt x="330" y="275"/>
                  <a:pt x="324" y="278"/>
                  <a:pt x="316" y="278"/>
                </a:cubicBezTo>
                <a:cubicBezTo>
                  <a:pt x="172" y="278"/>
                  <a:pt x="172" y="278"/>
                  <a:pt x="172" y="278"/>
                </a:cubicBezTo>
                <a:cubicBezTo>
                  <a:pt x="165" y="278"/>
                  <a:pt x="160" y="275"/>
                  <a:pt x="158" y="269"/>
                </a:cubicBezTo>
                <a:cubicBezTo>
                  <a:pt x="154" y="260"/>
                  <a:pt x="157" y="246"/>
                  <a:pt x="164" y="238"/>
                </a:cubicBezTo>
                <a:cubicBezTo>
                  <a:pt x="168" y="235"/>
                  <a:pt x="173" y="233"/>
                  <a:pt x="178" y="233"/>
                </a:cubicBezTo>
                <a:cubicBezTo>
                  <a:pt x="182" y="233"/>
                  <a:pt x="186" y="234"/>
                  <a:pt x="190" y="235"/>
                </a:cubicBezTo>
                <a:cubicBezTo>
                  <a:pt x="193" y="236"/>
                  <a:pt x="195" y="236"/>
                  <a:pt x="198" y="234"/>
                </a:cubicBezTo>
                <a:cubicBezTo>
                  <a:pt x="200" y="233"/>
                  <a:pt x="201" y="230"/>
                  <a:pt x="201" y="227"/>
                </a:cubicBezTo>
                <a:cubicBezTo>
                  <a:pt x="200" y="213"/>
                  <a:pt x="207" y="205"/>
                  <a:pt x="214" y="201"/>
                </a:cubicBezTo>
                <a:cubicBezTo>
                  <a:pt x="225" y="194"/>
                  <a:pt x="241" y="194"/>
                  <a:pt x="252" y="200"/>
                </a:cubicBezTo>
                <a:cubicBezTo>
                  <a:pt x="259" y="204"/>
                  <a:pt x="267" y="213"/>
                  <a:pt x="266" y="230"/>
                </a:cubicBezTo>
                <a:cubicBezTo>
                  <a:pt x="266" y="235"/>
                  <a:pt x="269" y="239"/>
                  <a:pt x="274" y="239"/>
                </a:cubicBezTo>
                <a:cubicBezTo>
                  <a:pt x="278" y="239"/>
                  <a:pt x="282" y="236"/>
                  <a:pt x="282" y="231"/>
                </a:cubicBezTo>
                <a:cubicBezTo>
                  <a:pt x="283" y="226"/>
                  <a:pt x="282" y="220"/>
                  <a:pt x="281" y="215"/>
                </a:cubicBezTo>
                <a:cubicBezTo>
                  <a:pt x="288" y="208"/>
                  <a:pt x="298" y="211"/>
                  <a:pt x="302" y="214"/>
                </a:cubicBezTo>
                <a:cubicBezTo>
                  <a:pt x="304" y="215"/>
                  <a:pt x="313" y="222"/>
                  <a:pt x="308" y="231"/>
                </a:cubicBezTo>
                <a:cubicBezTo>
                  <a:pt x="306" y="234"/>
                  <a:pt x="306" y="237"/>
                  <a:pt x="308" y="240"/>
                </a:cubicBezTo>
                <a:cubicBezTo>
                  <a:pt x="310" y="242"/>
                  <a:pt x="313" y="244"/>
                  <a:pt x="316" y="243"/>
                </a:cubicBezTo>
                <a:cubicBezTo>
                  <a:pt x="324" y="242"/>
                  <a:pt x="329" y="245"/>
                  <a:pt x="331" y="249"/>
                </a:cubicBezTo>
                <a:cubicBezTo>
                  <a:pt x="335" y="254"/>
                  <a:pt x="336" y="263"/>
                  <a:pt x="333" y="269"/>
                </a:cubicBezTo>
                <a:close/>
                <a:moveTo>
                  <a:pt x="247" y="295"/>
                </a:moveTo>
                <a:cubicBezTo>
                  <a:pt x="246" y="295"/>
                  <a:pt x="245" y="295"/>
                  <a:pt x="244" y="295"/>
                </a:cubicBezTo>
                <a:cubicBezTo>
                  <a:pt x="229" y="314"/>
                  <a:pt x="229" y="314"/>
                  <a:pt x="229" y="314"/>
                </a:cubicBezTo>
                <a:cubicBezTo>
                  <a:pt x="229" y="314"/>
                  <a:pt x="229" y="315"/>
                  <a:pt x="229" y="316"/>
                </a:cubicBezTo>
                <a:cubicBezTo>
                  <a:pt x="229" y="317"/>
                  <a:pt x="230" y="317"/>
                  <a:pt x="231" y="317"/>
                </a:cubicBezTo>
                <a:cubicBezTo>
                  <a:pt x="239" y="317"/>
                  <a:pt x="239" y="317"/>
                  <a:pt x="239" y="317"/>
                </a:cubicBezTo>
                <a:cubicBezTo>
                  <a:pt x="239" y="341"/>
                  <a:pt x="239" y="341"/>
                  <a:pt x="239" y="341"/>
                </a:cubicBezTo>
                <a:cubicBezTo>
                  <a:pt x="55" y="341"/>
                  <a:pt x="55" y="341"/>
                  <a:pt x="55" y="341"/>
                </a:cubicBezTo>
                <a:cubicBezTo>
                  <a:pt x="55" y="284"/>
                  <a:pt x="55" y="284"/>
                  <a:pt x="55" y="284"/>
                </a:cubicBezTo>
                <a:cubicBezTo>
                  <a:pt x="76" y="281"/>
                  <a:pt x="92" y="263"/>
                  <a:pt x="92" y="241"/>
                </a:cubicBezTo>
                <a:cubicBezTo>
                  <a:pt x="92" y="218"/>
                  <a:pt x="74" y="199"/>
                  <a:pt x="51" y="198"/>
                </a:cubicBezTo>
                <a:cubicBezTo>
                  <a:pt x="65" y="181"/>
                  <a:pt x="65" y="181"/>
                  <a:pt x="65" y="181"/>
                </a:cubicBezTo>
                <a:cubicBezTo>
                  <a:pt x="65" y="180"/>
                  <a:pt x="65" y="179"/>
                  <a:pt x="65" y="179"/>
                </a:cubicBezTo>
                <a:cubicBezTo>
                  <a:pt x="65" y="178"/>
                  <a:pt x="64" y="178"/>
                  <a:pt x="63" y="178"/>
                </a:cubicBezTo>
                <a:cubicBezTo>
                  <a:pt x="55" y="178"/>
                  <a:pt x="55" y="178"/>
                  <a:pt x="55" y="178"/>
                </a:cubicBezTo>
                <a:cubicBezTo>
                  <a:pt x="55" y="118"/>
                  <a:pt x="55" y="118"/>
                  <a:pt x="55" y="118"/>
                </a:cubicBezTo>
                <a:cubicBezTo>
                  <a:pt x="178" y="118"/>
                  <a:pt x="178" y="118"/>
                  <a:pt x="178" y="118"/>
                </a:cubicBezTo>
                <a:cubicBezTo>
                  <a:pt x="193" y="118"/>
                  <a:pt x="205" y="111"/>
                  <a:pt x="210" y="100"/>
                </a:cubicBezTo>
                <a:cubicBezTo>
                  <a:pt x="216" y="88"/>
                  <a:pt x="215" y="73"/>
                  <a:pt x="207" y="62"/>
                </a:cubicBezTo>
                <a:cubicBezTo>
                  <a:pt x="202" y="56"/>
                  <a:pt x="196" y="52"/>
                  <a:pt x="188" y="50"/>
                </a:cubicBezTo>
                <a:cubicBezTo>
                  <a:pt x="189" y="40"/>
                  <a:pt x="184" y="30"/>
                  <a:pt x="174" y="24"/>
                </a:cubicBezTo>
                <a:cubicBezTo>
                  <a:pt x="164" y="17"/>
                  <a:pt x="149" y="16"/>
                  <a:pt x="138" y="23"/>
                </a:cubicBezTo>
                <a:cubicBezTo>
                  <a:pt x="134" y="18"/>
                  <a:pt x="129" y="13"/>
                  <a:pt x="123" y="10"/>
                </a:cubicBezTo>
                <a:cubicBezTo>
                  <a:pt x="107" y="0"/>
                  <a:pt x="84" y="0"/>
                  <a:pt x="68" y="10"/>
                </a:cubicBezTo>
                <a:cubicBezTo>
                  <a:pt x="57" y="17"/>
                  <a:pt x="50" y="28"/>
                  <a:pt x="48" y="41"/>
                </a:cubicBezTo>
                <a:cubicBezTo>
                  <a:pt x="36" y="38"/>
                  <a:pt x="24" y="42"/>
                  <a:pt x="16" y="50"/>
                </a:cubicBezTo>
                <a:cubicBezTo>
                  <a:pt x="4" y="62"/>
                  <a:pt x="0" y="83"/>
                  <a:pt x="6" y="99"/>
                </a:cubicBezTo>
                <a:cubicBezTo>
                  <a:pt x="11" y="111"/>
                  <a:pt x="21" y="118"/>
                  <a:pt x="35" y="118"/>
                </a:cubicBezTo>
                <a:cubicBezTo>
                  <a:pt x="43" y="118"/>
                  <a:pt x="43" y="118"/>
                  <a:pt x="43" y="118"/>
                </a:cubicBezTo>
                <a:cubicBezTo>
                  <a:pt x="43" y="178"/>
                  <a:pt x="43" y="178"/>
                  <a:pt x="43" y="178"/>
                </a:cubicBezTo>
                <a:cubicBezTo>
                  <a:pt x="34" y="178"/>
                  <a:pt x="34" y="178"/>
                  <a:pt x="34" y="178"/>
                </a:cubicBezTo>
                <a:cubicBezTo>
                  <a:pt x="33" y="178"/>
                  <a:pt x="32" y="178"/>
                  <a:pt x="32" y="179"/>
                </a:cubicBezTo>
                <a:cubicBezTo>
                  <a:pt x="32" y="179"/>
                  <a:pt x="32" y="180"/>
                  <a:pt x="32" y="181"/>
                </a:cubicBezTo>
                <a:cubicBezTo>
                  <a:pt x="46" y="198"/>
                  <a:pt x="46" y="198"/>
                  <a:pt x="46" y="198"/>
                </a:cubicBezTo>
                <a:cubicBezTo>
                  <a:pt x="33" y="199"/>
                  <a:pt x="20" y="206"/>
                  <a:pt x="13" y="217"/>
                </a:cubicBezTo>
                <a:cubicBezTo>
                  <a:pt x="9" y="215"/>
                  <a:pt x="9" y="215"/>
                  <a:pt x="9" y="215"/>
                </a:cubicBezTo>
                <a:cubicBezTo>
                  <a:pt x="8" y="214"/>
                  <a:pt x="7" y="214"/>
                  <a:pt x="7" y="215"/>
                </a:cubicBezTo>
                <a:cubicBezTo>
                  <a:pt x="6" y="215"/>
                  <a:pt x="6" y="216"/>
                  <a:pt x="6" y="216"/>
                </a:cubicBezTo>
                <a:cubicBezTo>
                  <a:pt x="6" y="237"/>
                  <a:pt x="6" y="237"/>
                  <a:pt x="6" y="237"/>
                </a:cubicBezTo>
                <a:cubicBezTo>
                  <a:pt x="6" y="238"/>
                  <a:pt x="6" y="239"/>
                  <a:pt x="7" y="239"/>
                </a:cubicBezTo>
                <a:cubicBezTo>
                  <a:pt x="8" y="240"/>
                  <a:pt x="8" y="239"/>
                  <a:pt x="9" y="239"/>
                </a:cubicBezTo>
                <a:cubicBezTo>
                  <a:pt x="27" y="229"/>
                  <a:pt x="27" y="229"/>
                  <a:pt x="27" y="229"/>
                </a:cubicBezTo>
                <a:cubicBezTo>
                  <a:pt x="28" y="229"/>
                  <a:pt x="28" y="228"/>
                  <a:pt x="28" y="227"/>
                </a:cubicBezTo>
                <a:cubicBezTo>
                  <a:pt x="28" y="226"/>
                  <a:pt x="28" y="226"/>
                  <a:pt x="27" y="225"/>
                </a:cubicBezTo>
                <a:cubicBezTo>
                  <a:pt x="23" y="223"/>
                  <a:pt x="23" y="223"/>
                  <a:pt x="23" y="223"/>
                </a:cubicBezTo>
                <a:cubicBezTo>
                  <a:pt x="29" y="215"/>
                  <a:pt x="38" y="210"/>
                  <a:pt x="49" y="210"/>
                </a:cubicBezTo>
                <a:cubicBezTo>
                  <a:pt x="66" y="210"/>
                  <a:pt x="80" y="224"/>
                  <a:pt x="80" y="241"/>
                </a:cubicBezTo>
                <a:cubicBezTo>
                  <a:pt x="80" y="259"/>
                  <a:pt x="66" y="273"/>
                  <a:pt x="49" y="273"/>
                </a:cubicBezTo>
                <a:cubicBezTo>
                  <a:pt x="34" y="273"/>
                  <a:pt x="21" y="263"/>
                  <a:pt x="18" y="248"/>
                </a:cubicBezTo>
                <a:cubicBezTo>
                  <a:pt x="6" y="251"/>
                  <a:pt x="6" y="251"/>
                  <a:pt x="6" y="251"/>
                </a:cubicBezTo>
                <a:cubicBezTo>
                  <a:pt x="10" y="269"/>
                  <a:pt x="25" y="282"/>
                  <a:pt x="43" y="284"/>
                </a:cubicBezTo>
                <a:cubicBezTo>
                  <a:pt x="43" y="347"/>
                  <a:pt x="43" y="347"/>
                  <a:pt x="43" y="347"/>
                </a:cubicBezTo>
                <a:cubicBezTo>
                  <a:pt x="43" y="351"/>
                  <a:pt x="45" y="353"/>
                  <a:pt x="49" y="353"/>
                </a:cubicBezTo>
                <a:cubicBezTo>
                  <a:pt x="245" y="353"/>
                  <a:pt x="245" y="353"/>
                  <a:pt x="245" y="353"/>
                </a:cubicBezTo>
                <a:cubicBezTo>
                  <a:pt x="249" y="353"/>
                  <a:pt x="251" y="351"/>
                  <a:pt x="251" y="347"/>
                </a:cubicBezTo>
                <a:cubicBezTo>
                  <a:pt x="251" y="317"/>
                  <a:pt x="251" y="317"/>
                  <a:pt x="251" y="317"/>
                </a:cubicBezTo>
                <a:cubicBezTo>
                  <a:pt x="260" y="317"/>
                  <a:pt x="260" y="317"/>
                  <a:pt x="260" y="317"/>
                </a:cubicBezTo>
                <a:cubicBezTo>
                  <a:pt x="261" y="317"/>
                  <a:pt x="262" y="317"/>
                  <a:pt x="262" y="316"/>
                </a:cubicBezTo>
                <a:cubicBezTo>
                  <a:pt x="262" y="315"/>
                  <a:pt x="262" y="314"/>
                  <a:pt x="262" y="314"/>
                </a:cubicBezTo>
                <a:lnTo>
                  <a:pt x="247" y="295"/>
                </a:lnTo>
                <a:close/>
                <a:moveTo>
                  <a:pt x="21" y="93"/>
                </a:moveTo>
                <a:cubicBezTo>
                  <a:pt x="17" y="83"/>
                  <a:pt x="20" y="69"/>
                  <a:pt x="27" y="61"/>
                </a:cubicBezTo>
                <a:cubicBezTo>
                  <a:pt x="31" y="58"/>
                  <a:pt x="35" y="56"/>
                  <a:pt x="41" y="56"/>
                </a:cubicBezTo>
                <a:cubicBezTo>
                  <a:pt x="45" y="56"/>
                  <a:pt x="49" y="57"/>
                  <a:pt x="53" y="59"/>
                </a:cubicBezTo>
                <a:cubicBezTo>
                  <a:pt x="55" y="60"/>
                  <a:pt x="58" y="59"/>
                  <a:pt x="61" y="58"/>
                </a:cubicBezTo>
                <a:cubicBezTo>
                  <a:pt x="63" y="56"/>
                  <a:pt x="64" y="53"/>
                  <a:pt x="64" y="51"/>
                </a:cubicBezTo>
                <a:cubicBezTo>
                  <a:pt x="63" y="36"/>
                  <a:pt x="70" y="28"/>
                  <a:pt x="77" y="24"/>
                </a:cubicBezTo>
                <a:cubicBezTo>
                  <a:pt x="88" y="17"/>
                  <a:pt x="104" y="17"/>
                  <a:pt x="115" y="23"/>
                </a:cubicBezTo>
                <a:cubicBezTo>
                  <a:pt x="122" y="28"/>
                  <a:pt x="130" y="36"/>
                  <a:pt x="129" y="54"/>
                </a:cubicBezTo>
                <a:cubicBezTo>
                  <a:pt x="129" y="58"/>
                  <a:pt x="132" y="62"/>
                  <a:pt x="137" y="62"/>
                </a:cubicBezTo>
                <a:cubicBezTo>
                  <a:pt x="141" y="62"/>
                  <a:pt x="145" y="59"/>
                  <a:pt x="145" y="55"/>
                </a:cubicBezTo>
                <a:cubicBezTo>
                  <a:pt x="145" y="49"/>
                  <a:pt x="145" y="44"/>
                  <a:pt x="144" y="39"/>
                </a:cubicBezTo>
                <a:cubicBezTo>
                  <a:pt x="151" y="31"/>
                  <a:pt x="161" y="34"/>
                  <a:pt x="165" y="37"/>
                </a:cubicBezTo>
                <a:cubicBezTo>
                  <a:pt x="167" y="38"/>
                  <a:pt x="176" y="45"/>
                  <a:pt x="170" y="54"/>
                </a:cubicBezTo>
                <a:cubicBezTo>
                  <a:pt x="169" y="57"/>
                  <a:pt x="169" y="60"/>
                  <a:pt x="171" y="63"/>
                </a:cubicBezTo>
                <a:cubicBezTo>
                  <a:pt x="173" y="66"/>
                  <a:pt x="176" y="67"/>
                  <a:pt x="179" y="66"/>
                </a:cubicBezTo>
                <a:cubicBezTo>
                  <a:pt x="187" y="65"/>
                  <a:pt x="192" y="69"/>
                  <a:pt x="194" y="72"/>
                </a:cubicBezTo>
                <a:cubicBezTo>
                  <a:pt x="198" y="78"/>
                  <a:pt x="199" y="86"/>
                  <a:pt x="196" y="93"/>
                </a:cubicBezTo>
                <a:cubicBezTo>
                  <a:pt x="193" y="98"/>
                  <a:pt x="187" y="102"/>
                  <a:pt x="178" y="102"/>
                </a:cubicBezTo>
                <a:cubicBezTo>
                  <a:pt x="35" y="102"/>
                  <a:pt x="35" y="102"/>
                  <a:pt x="35" y="102"/>
                </a:cubicBezTo>
                <a:cubicBezTo>
                  <a:pt x="28" y="102"/>
                  <a:pt x="23" y="99"/>
                  <a:pt x="21" y="93"/>
                </a:cubicBezTo>
                <a:close/>
                <a:moveTo>
                  <a:pt x="10" y="234"/>
                </a:moveTo>
                <a:cubicBezTo>
                  <a:pt x="10" y="220"/>
                  <a:pt x="10" y="220"/>
                  <a:pt x="10" y="220"/>
                </a:cubicBezTo>
                <a:cubicBezTo>
                  <a:pt x="22" y="227"/>
                  <a:pt x="22" y="227"/>
                  <a:pt x="22" y="227"/>
                </a:cubicBezTo>
                <a:lnTo>
                  <a:pt x="10" y="234"/>
                </a:lnTo>
                <a:close/>
                <a:moveTo>
                  <a:pt x="59" y="182"/>
                </a:moveTo>
                <a:cubicBezTo>
                  <a:pt x="49" y="195"/>
                  <a:pt x="49" y="195"/>
                  <a:pt x="49" y="195"/>
                </a:cubicBezTo>
                <a:cubicBezTo>
                  <a:pt x="38" y="182"/>
                  <a:pt x="38" y="182"/>
                  <a:pt x="38" y="182"/>
                </a:cubicBezTo>
                <a:lnTo>
                  <a:pt x="59" y="182"/>
                </a:lnTo>
                <a:close/>
                <a:moveTo>
                  <a:pt x="235" y="313"/>
                </a:moveTo>
                <a:cubicBezTo>
                  <a:pt x="246" y="300"/>
                  <a:pt x="246" y="300"/>
                  <a:pt x="246" y="300"/>
                </a:cubicBezTo>
                <a:cubicBezTo>
                  <a:pt x="256" y="313"/>
                  <a:pt x="256" y="313"/>
                  <a:pt x="256" y="313"/>
                </a:cubicBezTo>
                <a:lnTo>
                  <a:pt x="235" y="313"/>
                </a:lnTo>
                <a:close/>
                <a:moveTo>
                  <a:pt x="51" y="224"/>
                </a:moveTo>
                <a:cubicBezTo>
                  <a:pt x="51" y="239"/>
                  <a:pt x="51" y="239"/>
                  <a:pt x="51" y="239"/>
                </a:cubicBezTo>
                <a:cubicBezTo>
                  <a:pt x="71" y="239"/>
                  <a:pt x="71" y="239"/>
                  <a:pt x="71" y="239"/>
                </a:cubicBezTo>
                <a:cubicBezTo>
                  <a:pt x="72" y="239"/>
                  <a:pt x="73" y="240"/>
                  <a:pt x="73" y="241"/>
                </a:cubicBezTo>
                <a:cubicBezTo>
                  <a:pt x="73" y="242"/>
                  <a:pt x="72" y="243"/>
                  <a:pt x="71" y="243"/>
                </a:cubicBezTo>
                <a:cubicBezTo>
                  <a:pt x="47" y="243"/>
                  <a:pt x="47" y="243"/>
                  <a:pt x="47" y="243"/>
                </a:cubicBezTo>
                <a:cubicBezTo>
                  <a:pt x="47" y="224"/>
                  <a:pt x="47" y="224"/>
                  <a:pt x="47" y="224"/>
                </a:cubicBezTo>
                <a:cubicBezTo>
                  <a:pt x="47" y="223"/>
                  <a:pt x="47" y="222"/>
                  <a:pt x="49" y="222"/>
                </a:cubicBezTo>
                <a:cubicBezTo>
                  <a:pt x="50" y="222"/>
                  <a:pt x="51" y="222"/>
                  <a:pt x="51" y="224"/>
                </a:cubicBezTo>
                <a:close/>
              </a:path>
            </a:pathLst>
          </a:custGeom>
          <a:solidFill>
            <a:schemeClr val="bg2"/>
          </a:solidFill>
          <a:ln>
            <a:noFill/>
          </a:ln>
        </p:spPr>
        <p:txBody>
          <a:bodyPr vert="horz" wrap="square" lIns="60960" tIns="30480" rIns="60960" bIns="30480" numCol="1" anchor="t" anchorCtr="0" compatLnSpc="1">
            <a:prstTxWarp prst="textNoShape">
              <a:avLst/>
            </a:prstTxWarp>
          </a:bodyPr>
          <a:lstStyle/>
          <a:p>
            <a:endParaRPr lang="en-IN" sz="1200"/>
          </a:p>
        </p:txBody>
      </p:sp>
      <p:sp>
        <p:nvSpPr>
          <p:cNvPr id="97" name="Freeform 11"/>
          <p:cNvSpPr>
            <a:spLocks noEditPoints="1"/>
          </p:cNvSpPr>
          <p:nvPr/>
        </p:nvSpPr>
        <p:spPr bwMode="auto">
          <a:xfrm>
            <a:off x="4291156" y="1785632"/>
            <a:ext cx="428896" cy="347224"/>
          </a:xfrm>
          <a:custGeom>
            <a:avLst/>
            <a:gdLst>
              <a:gd name="T0" fmla="*/ 368 w 380"/>
              <a:gd name="T1" fmla="*/ 113 h 308"/>
              <a:gd name="T2" fmla="*/ 299 w 380"/>
              <a:gd name="T3" fmla="*/ 23 h 308"/>
              <a:gd name="T4" fmla="*/ 166 w 380"/>
              <a:gd name="T5" fmla="*/ 23 h 308"/>
              <a:gd name="T6" fmla="*/ 128 w 380"/>
              <a:gd name="T7" fmla="*/ 112 h 308"/>
              <a:gd name="T8" fmla="*/ 102 w 380"/>
              <a:gd name="T9" fmla="*/ 96 h 308"/>
              <a:gd name="T10" fmla="*/ 50 w 380"/>
              <a:gd name="T11" fmla="*/ 105 h 308"/>
              <a:gd name="T12" fmla="*/ 8 w 380"/>
              <a:gd name="T13" fmla="*/ 120 h 308"/>
              <a:gd name="T14" fmla="*/ 8 w 380"/>
              <a:gd name="T15" fmla="*/ 202 h 308"/>
              <a:gd name="T16" fmla="*/ 50 w 380"/>
              <a:gd name="T17" fmla="*/ 218 h 308"/>
              <a:gd name="T18" fmla="*/ 102 w 380"/>
              <a:gd name="T19" fmla="*/ 227 h 308"/>
              <a:gd name="T20" fmla="*/ 129 w 380"/>
              <a:gd name="T21" fmla="*/ 211 h 308"/>
              <a:gd name="T22" fmla="*/ 166 w 380"/>
              <a:gd name="T23" fmla="*/ 285 h 308"/>
              <a:gd name="T24" fmla="*/ 299 w 380"/>
              <a:gd name="T25" fmla="*/ 285 h 308"/>
              <a:gd name="T26" fmla="*/ 340 w 380"/>
              <a:gd name="T27" fmla="*/ 229 h 308"/>
              <a:gd name="T28" fmla="*/ 368 w 380"/>
              <a:gd name="T29" fmla="*/ 179 h 308"/>
              <a:gd name="T30" fmla="*/ 95 w 380"/>
              <a:gd name="T31" fmla="*/ 212 h 308"/>
              <a:gd name="T32" fmla="*/ 95 w 380"/>
              <a:gd name="T33" fmla="*/ 111 h 308"/>
              <a:gd name="T34" fmla="*/ 139 w 380"/>
              <a:gd name="T35" fmla="*/ 200 h 308"/>
              <a:gd name="T36" fmla="*/ 110 w 380"/>
              <a:gd name="T37" fmla="*/ 127 h 308"/>
              <a:gd name="T38" fmla="*/ 166 w 380"/>
              <a:gd name="T39" fmla="*/ 99 h 308"/>
              <a:gd name="T40" fmla="*/ 356 w 380"/>
              <a:gd name="T41" fmla="*/ 155 h 308"/>
              <a:gd name="T42" fmla="*/ 281 w 380"/>
              <a:gd name="T43" fmla="*/ 170 h 308"/>
              <a:gd name="T44" fmla="*/ 344 w 380"/>
              <a:gd name="T45" fmla="*/ 188 h 308"/>
              <a:gd name="T46" fmla="*/ 271 w 380"/>
              <a:gd name="T47" fmla="*/ 203 h 308"/>
              <a:gd name="T48" fmla="*/ 329 w 380"/>
              <a:gd name="T49" fmla="*/ 218 h 308"/>
              <a:gd name="T50" fmla="*/ 243 w 380"/>
              <a:gd name="T51" fmla="*/ 222 h 308"/>
              <a:gd name="T52" fmla="*/ 246 w 380"/>
              <a:gd name="T53" fmla="*/ 237 h 308"/>
              <a:gd name="T54" fmla="*/ 283 w 380"/>
              <a:gd name="T55" fmla="*/ 285 h 308"/>
              <a:gd name="T56" fmla="*/ 182 w 380"/>
              <a:gd name="T57" fmla="*/ 285 h 308"/>
              <a:gd name="T58" fmla="*/ 275 w 380"/>
              <a:gd name="T59" fmla="*/ 15 h 308"/>
              <a:gd name="T60" fmla="*/ 265 w 380"/>
              <a:gd name="T61" fmla="*/ 89 h 308"/>
              <a:gd name="T62" fmla="*/ 197 w 380"/>
              <a:gd name="T63" fmla="*/ 68 h 308"/>
              <a:gd name="T64" fmla="*/ 239 w 380"/>
              <a:gd name="T65" fmla="*/ 88 h 308"/>
              <a:gd name="T66" fmla="*/ 254 w 380"/>
              <a:gd name="T67" fmla="*/ 145 h 308"/>
              <a:gd name="T68" fmla="*/ 236 w 380"/>
              <a:gd name="T69" fmla="*/ 144 h 308"/>
              <a:gd name="T70" fmla="*/ 214 w 380"/>
              <a:gd name="T71" fmla="*/ 108 h 308"/>
              <a:gd name="T72" fmla="*/ 221 w 380"/>
              <a:gd name="T73" fmla="*/ 124 h 308"/>
              <a:gd name="T74" fmla="*/ 222 w 380"/>
              <a:gd name="T75" fmla="*/ 148 h 308"/>
              <a:gd name="T76" fmla="*/ 269 w 380"/>
              <a:gd name="T77" fmla="*/ 145 h 308"/>
              <a:gd name="T78" fmla="*/ 270 w 380"/>
              <a:gd name="T79" fmla="*/ 104 h 308"/>
              <a:gd name="T80" fmla="*/ 344 w 380"/>
              <a:gd name="T81" fmla="*/ 122 h 308"/>
              <a:gd name="T82" fmla="*/ 284 w 380"/>
              <a:gd name="T83" fmla="*/ 137 h 308"/>
              <a:gd name="T84" fmla="*/ 356 w 380"/>
              <a:gd name="T85" fmla="*/ 155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0" h="308">
                <a:moveTo>
                  <a:pt x="380" y="146"/>
                </a:moveTo>
                <a:cubicBezTo>
                  <a:pt x="380" y="136"/>
                  <a:pt x="374" y="128"/>
                  <a:pt x="365" y="124"/>
                </a:cubicBezTo>
                <a:cubicBezTo>
                  <a:pt x="367" y="121"/>
                  <a:pt x="368" y="117"/>
                  <a:pt x="368" y="113"/>
                </a:cubicBezTo>
                <a:cubicBezTo>
                  <a:pt x="368" y="100"/>
                  <a:pt x="357" y="89"/>
                  <a:pt x="344" y="89"/>
                </a:cubicBezTo>
                <a:cubicBezTo>
                  <a:pt x="299" y="89"/>
                  <a:pt x="299" y="89"/>
                  <a:pt x="299" y="89"/>
                </a:cubicBezTo>
                <a:cubicBezTo>
                  <a:pt x="299" y="23"/>
                  <a:pt x="299" y="23"/>
                  <a:pt x="299" y="23"/>
                </a:cubicBezTo>
                <a:cubicBezTo>
                  <a:pt x="299" y="10"/>
                  <a:pt x="288" y="0"/>
                  <a:pt x="275" y="0"/>
                </a:cubicBezTo>
                <a:cubicBezTo>
                  <a:pt x="190" y="0"/>
                  <a:pt x="190" y="0"/>
                  <a:pt x="190" y="0"/>
                </a:cubicBezTo>
                <a:cubicBezTo>
                  <a:pt x="177" y="0"/>
                  <a:pt x="166" y="10"/>
                  <a:pt x="166" y="23"/>
                </a:cubicBezTo>
                <a:cubicBezTo>
                  <a:pt x="166" y="79"/>
                  <a:pt x="166" y="79"/>
                  <a:pt x="166" y="79"/>
                </a:cubicBezTo>
                <a:cubicBezTo>
                  <a:pt x="164" y="80"/>
                  <a:pt x="162" y="82"/>
                  <a:pt x="161" y="83"/>
                </a:cubicBezTo>
                <a:cubicBezTo>
                  <a:pt x="128" y="112"/>
                  <a:pt x="128" y="112"/>
                  <a:pt x="128" y="112"/>
                </a:cubicBezTo>
                <a:cubicBezTo>
                  <a:pt x="110" y="112"/>
                  <a:pt x="110" y="112"/>
                  <a:pt x="110" y="112"/>
                </a:cubicBezTo>
                <a:cubicBezTo>
                  <a:pt x="110" y="103"/>
                  <a:pt x="110" y="103"/>
                  <a:pt x="110" y="103"/>
                </a:cubicBezTo>
                <a:cubicBezTo>
                  <a:pt x="110" y="99"/>
                  <a:pt x="107" y="96"/>
                  <a:pt x="102" y="96"/>
                </a:cubicBezTo>
                <a:cubicBezTo>
                  <a:pt x="58" y="96"/>
                  <a:pt x="58" y="96"/>
                  <a:pt x="58" y="96"/>
                </a:cubicBezTo>
                <a:cubicBezTo>
                  <a:pt x="54" y="96"/>
                  <a:pt x="50" y="99"/>
                  <a:pt x="50" y="103"/>
                </a:cubicBezTo>
                <a:cubicBezTo>
                  <a:pt x="50" y="105"/>
                  <a:pt x="50" y="105"/>
                  <a:pt x="50" y="105"/>
                </a:cubicBezTo>
                <a:cubicBezTo>
                  <a:pt x="8" y="105"/>
                  <a:pt x="8" y="105"/>
                  <a:pt x="8" y="105"/>
                </a:cubicBezTo>
                <a:cubicBezTo>
                  <a:pt x="4" y="105"/>
                  <a:pt x="0" y="108"/>
                  <a:pt x="0" y="113"/>
                </a:cubicBezTo>
                <a:cubicBezTo>
                  <a:pt x="0" y="117"/>
                  <a:pt x="3" y="120"/>
                  <a:pt x="8" y="120"/>
                </a:cubicBezTo>
                <a:cubicBezTo>
                  <a:pt x="50" y="120"/>
                  <a:pt x="50" y="120"/>
                  <a:pt x="50" y="120"/>
                </a:cubicBezTo>
                <a:cubicBezTo>
                  <a:pt x="50" y="202"/>
                  <a:pt x="50" y="202"/>
                  <a:pt x="50" y="202"/>
                </a:cubicBezTo>
                <a:cubicBezTo>
                  <a:pt x="8" y="202"/>
                  <a:pt x="8" y="202"/>
                  <a:pt x="8" y="202"/>
                </a:cubicBezTo>
                <a:cubicBezTo>
                  <a:pt x="4" y="202"/>
                  <a:pt x="0" y="206"/>
                  <a:pt x="0" y="210"/>
                </a:cubicBezTo>
                <a:cubicBezTo>
                  <a:pt x="0" y="214"/>
                  <a:pt x="3" y="218"/>
                  <a:pt x="8" y="218"/>
                </a:cubicBezTo>
                <a:cubicBezTo>
                  <a:pt x="50" y="218"/>
                  <a:pt x="50" y="218"/>
                  <a:pt x="50" y="218"/>
                </a:cubicBezTo>
                <a:cubicBezTo>
                  <a:pt x="50" y="220"/>
                  <a:pt x="50" y="220"/>
                  <a:pt x="50" y="220"/>
                </a:cubicBezTo>
                <a:cubicBezTo>
                  <a:pt x="50" y="224"/>
                  <a:pt x="54" y="227"/>
                  <a:pt x="58" y="227"/>
                </a:cubicBezTo>
                <a:cubicBezTo>
                  <a:pt x="102" y="227"/>
                  <a:pt x="102" y="227"/>
                  <a:pt x="102" y="227"/>
                </a:cubicBezTo>
                <a:cubicBezTo>
                  <a:pt x="106" y="227"/>
                  <a:pt x="110" y="224"/>
                  <a:pt x="110" y="220"/>
                </a:cubicBezTo>
                <a:cubicBezTo>
                  <a:pt x="110" y="211"/>
                  <a:pt x="110" y="211"/>
                  <a:pt x="110" y="211"/>
                </a:cubicBezTo>
                <a:cubicBezTo>
                  <a:pt x="129" y="211"/>
                  <a:pt x="129" y="211"/>
                  <a:pt x="129" y="211"/>
                </a:cubicBezTo>
                <a:cubicBezTo>
                  <a:pt x="131" y="215"/>
                  <a:pt x="131" y="215"/>
                  <a:pt x="131" y="215"/>
                </a:cubicBezTo>
                <a:cubicBezTo>
                  <a:pt x="139" y="228"/>
                  <a:pt x="152" y="236"/>
                  <a:pt x="166" y="240"/>
                </a:cubicBezTo>
                <a:cubicBezTo>
                  <a:pt x="166" y="285"/>
                  <a:pt x="166" y="285"/>
                  <a:pt x="166" y="285"/>
                </a:cubicBezTo>
                <a:cubicBezTo>
                  <a:pt x="166" y="298"/>
                  <a:pt x="176" y="308"/>
                  <a:pt x="190" y="308"/>
                </a:cubicBezTo>
                <a:cubicBezTo>
                  <a:pt x="275" y="308"/>
                  <a:pt x="275" y="308"/>
                  <a:pt x="275" y="308"/>
                </a:cubicBezTo>
                <a:cubicBezTo>
                  <a:pt x="288" y="308"/>
                  <a:pt x="299" y="298"/>
                  <a:pt x="299" y="285"/>
                </a:cubicBezTo>
                <a:cubicBezTo>
                  <a:pt x="299" y="236"/>
                  <a:pt x="299" y="236"/>
                  <a:pt x="299" y="236"/>
                </a:cubicBezTo>
                <a:cubicBezTo>
                  <a:pt x="323" y="236"/>
                  <a:pt x="323" y="236"/>
                  <a:pt x="323" y="236"/>
                </a:cubicBezTo>
                <a:cubicBezTo>
                  <a:pt x="329" y="236"/>
                  <a:pt x="335" y="233"/>
                  <a:pt x="340" y="229"/>
                </a:cubicBezTo>
                <a:cubicBezTo>
                  <a:pt x="344" y="224"/>
                  <a:pt x="347" y="217"/>
                  <a:pt x="347" y="210"/>
                </a:cubicBezTo>
                <a:cubicBezTo>
                  <a:pt x="347" y="207"/>
                  <a:pt x="346" y="205"/>
                  <a:pt x="345" y="203"/>
                </a:cubicBezTo>
                <a:cubicBezTo>
                  <a:pt x="358" y="202"/>
                  <a:pt x="368" y="192"/>
                  <a:pt x="368" y="179"/>
                </a:cubicBezTo>
                <a:cubicBezTo>
                  <a:pt x="368" y="175"/>
                  <a:pt x="366" y="172"/>
                  <a:pt x="365" y="168"/>
                </a:cubicBezTo>
                <a:cubicBezTo>
                  <a:pt x="374" y="164"/>
                  <a:pt x="380" y="156"/>
                  <a:pt x="380" y="146"/>
                </a:cubicBezTo>
                <a:close/>
                <a:moveTo>
                  <a:pt x="95" y="212"/>
                </a:moveTo>
                <a:cubicBezTo>
                  <a:pt x="66" y="212"/>
                  <a:pt x="66" y="212"/>
                  <a:pt x="66" y="212"/>
                </a:cubicBezTo>
                <a:cubicBezTo>
                  <a:pt x="66" y="111"/>
                  <a:pt x="66" y="111"/>
                  <a:pt x="66" y="111"/>
                </a:cubicBezTo>
                <a:cubicBezTo>
                  <a:pt x="95" y="111"/>
                  <a:pt x="95" y="111"/>
                  <a:pt x="95" y="111"/>
                </a:cubicBezTo>
                <a:lnTo>
                  <a:pt x="95" y="212"/>
                </a:lnTo>
                <a:close/>
                <a:moveTo>
                  <a:pt x="144" y="207"/>
                </a:moveTo>
                <a:cubicBezTo>
                  <a:pt x="139" y="200"/>
                  <a:pt x="139" y="200"/>
                  <a:pt x="139" y="200"/>
                </a:cubicBezTo>
                <a:cubicBezTo>
                  <a:pt x="138" y="198"/>
                  <a:pt x="135" y="196"/>
                  <a:pt x="133" y="196"/>
                </a:cubicBezTo>
                <a:cubicBezTo>
                  <a:pt x="110" y="196"/>
                  <a:pt x="110" y="196"/>
                  <a:pt x="110" y="196"/>
                </a:cubicBezTo>
                <a:cubicBezTo>
                  <a:pt x="110" y="127"/>
                  <a:pt x="110" y="127"/>
                  <a:pt x="110" y="127"/>
                </a:cubicBezTo>
                <a:cubicBezTo>
                  <a:pt x="132" y="127"/>
                  <a:pt x="132" y="127"/>
                  <a:pt x="132" y="127"/>
                </a:cubicBezTo>
                <a:cubicBezTo>
                  <a:pt x="134" y="127"/>
                  <a:pt x="135" y="126"/>
                  <a:pt x="136" y="125"/>
                </a:cubicBezTo>
                <a:cubicBezTo>
                  <a:pt x="166" y="99"/>
                  <a:pt x="166" y="99"/>
                  <a:pt x="166" y="99"/>
                </a:cubicBezTo>
                <a:cubicBezTo>
                  <a:pt x="166" y="224"/>
                  <a:pt x="166" y="224"/>
                  <a:pt x="166" y="224"/>
                </a:cubicBezTo>
                <a:cubicBezTo>
                  <a:pt x="157" y="221"/>
                  <a:pt x="149" y="215"/>
                  <a:pt x="144" y="207"/>
                </a:cubicBezTo>
                <a:close/>
                <a:moveTo>
                  <a:pt x="356" y="155"/>
                </a:moveTo>
                <a:cubicBezTo>
                  <a:pt x="281" y="155"/>
                  <a:pt x="281" y="155"/>
                  <a:pt x="281" y="155"/>
                </a:cubicBezTo>
                <a:cubicBezTo>
                  <a:pt x="277" y="155"/>
                  <a:pt x="274" y="158"/>
                  <a:pt x="274" y="162"/>
                </a:cubicBezTo>
                <a:cubicBezTo>
                  <a:pt x="274" y="166"/>
                  <a:pt x="277" y="170"/>
                  <a:pt x="281" y="170"/>
                </a:cubicBezTo>
                <a:cubicBezTo>
                  <a:pt x="344" y="170"/>
                  <a:pt x="344" y="170"/>
                  <a:pt x="344" y="170"/>
                </a:cubicBezTo>
                <a:cubicBezTo>
                  <a:pt x="349" y="170"/>
                  <a:pt x="353" y="174"/>
                  <a:pt x="353" y="179"/>
                </a:cubicBezTo>
                <a:cubicBezTo>
                  <a:pt x="353" y="184"/>
                  <a:pt x="349" y="188"/>
                  <a:pt x="344" y="188"/>
                </a:cubicBezTo>
                <a:cubicBezTo>
                  <a:pt x="271" y="188"/>
                  <a:pt x="271" y="188"/>
                  <a:pt x="271" y="188"/>
                </a:cubicBezTo>
                <a:cubicBezTo>
                  <a:pt x="267" y="188"/>
                  <a:pt x="263" y="191"/>
                  <a:pt x="263" y="195"/>
                </a:cubicBezTo>
                <a:cubicBezTo>
                  <a:pt x="263" y="199"/>
                  <a:pt x="266" y="203"/>
                  <a:pt x="271" y="203"/>
                </a:cubicBezTo>
                <a:cubicBezTo>
                  <a:pt x="322" y="203"/>
                  <a:pt x="322" y="203"/>
                  <a:pt x="322" y="203"/>
                </a:cubicBezTo>
                <a:cubicBezTo>
                  <a:pt x="327" y="203"/>
                  <a:pt x="332" y="206"/>
                  <a:pt x="332" y="211"/>
                </a:cubicBezTo>
                <a:cubicBezTo>
                  <a:pt x="332" y="214"/>
                  <a:pt x="331" y="216"/>
                  <a:pt x="329" y="218"/>
                </a:cubicBezTo>
                <a:cubicBezTo>
                  <a:pt x="328" y="220"/>
                  <a:pt x="325" y="221"/>
                  <a:pt x="323" y="221"/>
                </a:cubicBezTo>
                <a:cubicBezTo>
                  <a:pt x="259" y="221"/>
                  <a:pt x="259" y="221"/>
                  <a:pt x="259" y="221"/>
                </a:cubicBezTo>
                <a:cubicBezTo>
                  <a:pt x="254" y="221"/>
                  <a:pt x="249" y="221"/>
                  <a:pt x="243" y="222"/>
                </a:cubicBezTo>
                <a:cubicBezTo>
                  <a:pt x="228" y="225"/>
                  <a:pt x="211" y="226"/>
                  <a:pt x="196" y="226"/>
                </a:cubicBezTo>
                <a:cubicBezTo>
                  <a:pt x="196" y="241"/>
                  <a:pt x="196" y="241"/>
                  <a:pt x="196" y="241"/>
                </a:cubicBezTo>
                <a:cubicBezTo>
                  <a:pt x="212" y="241"/>
                  <a:pt x="230" y="240"/>
                  <a:pt x="246" y="237"/>
                </a:cubicBezTo>
                <a:cubicBezTo>
                  <a:pt x="251" y="236"/>
                  <a:pt x="255" y="236"/>
                  <a:pt x="259" y="236"/>
                </a:cubicBezTo>
                <a:cubicBezTo>
                  <a:pt x="283" y="236"/>
                  <a:pt x="283" y="236"/>
                  <a:pt x="283" y="236"/>
                </a:cubicBezTo>
                <a:cubicBezTo>
                  <a:pt x="283" y="285"/>
                  <a:pt x="283" y="285"/>
                  <a:pt x="283" y="285"/>
                </a:cubicBezTo>
                <a:cubicBezTo>
                  <a:pt x="283" y="289"/>
                  <a:pt x="279" y="293"/>
                  <a:pt x="275" y="293"/>
                </a:cubicBezTo>
                <a:cubicBezTo>
                  <a:pt x="190" y="293"/>
                  <a:pt x="190" y="293"/>
                  <a:pt x="190" y="293"/>
                </a:cubicBezTo>
                <a:cubicBezTo>
                  <a:pt x="185" y="293"/>
                  <a:pt x="182" y="289"/>
                  <a:pt x="182" y="285"/>
                </a:cubicBezTo>
                <a:cubicBezTo>
                  <a:pt x="182" y="23"/>
                  <a:pt x="182" y="23"/>
                  <a:pt x="182" y="23"/>
                </a:cubicBezTo>
                <a:cubicBezTo>
                  <a:pt x="182" y="19"/>
                  <a:pt x="185" y="15"/>
                  <a:pt x="190" y="15"/>
                </a:cubicBezTo>
                <a:cubicBezTo>
                  <a:pt x="275" y="15"/>
                  <a:pt x="275" y="15"/>
                  <a:pt x="275" y="15"/>
                </a:cubicBezTo>
                <a:cubicBezTo>
                  <a:pt x="280" y="15"/>
                  <a:pt x="283" y="19"/>
                  <a:pt x="283" y="23"/>
                </a:cubicBezTo>
                <a:cubicBezTo>
                  <a:pt x="283" y="89"/>
                  <a:pt x="283" y="89"/>
                  <a:pt x="283" y="89"/>
                </a:cubicBezTo>
                <a:cubicBezTo>
                  <a:pt x="265" y="89"/>
                  <a:pt x="265" y="89"/>
                  <a:pt x="265" y="89"/>
                </a:cubicBezTo>
                <a:cubicBezTo>
                  <a:pt x="260" y="80"/>
                  <a:pt x="251" y="74"/>
                  <a:pt x="241" y="73"/>
                </a:cubicBezTo>
                <a:cubicBezTo>
                  <a:pt x="209" y="68"/>
                  <a:pt x="209" y="68"/>
                  <a:pt x="209" y="68"/>
                </a:cubicBezTo>
                <a:cubicBezTo>
                  <a:pt x="205" y="68"/>
                  <a:pt x="201" y="68"/>
                  <a:pt x="197" y="68"/>
                </a:cubicBezTo>
                <a:cubicBezTo>
                  <a:pt x="197" y="83"/>
                  <a:pt x="197" y="83"/>
                  <a:pt x="197" y="83"/>
                </a:cubicBezTo>
                <a:cubicBezTo>
                  <a:pt x="200" y="82"/>
                  <a:pt x="204" y="82"/>
                  <a:pt x="207" y="83"/>
                </a:cubicBezTo>
                <a:cubicBezTo>
                  <a:pt x="239" y="88"/>
                  <a:pt x="239" y="88"/>
                  <a:pt x="239" y="88"/>
                </a:cubicBezTo>
                <a:cubicBezTo>
                  <a:pt x="248" y="89"/>
                  <a:pt x="255" y="96"/>
                  <a:pt x="255" y="106"/>
                </a:cubicBezTo>
                <a:cubicBezTo>
                  <a:pt x="255" y="106"/>
                  <a:pt x="255" y="106"/>
                  <a:pt x="255" y="106"/>
                </a:cubicBezTo>
                <a:cubicBezTo>
                  <a:pt x="254" y="145"/>
                  <a:pt x="254" y="145"/>
                  <a:pt x="254" y="145"/>
                </a:cubicBezTo>
                <a:cubicBezTo>
                  <a:pt x="254" y="150"/>
                  <a:pt x="250" y="154"/>
                  <a:pt x="245" y="154"/>
                </a:cubicBezTo>
                <a:cubicBezTo>
                  <a:pt x="243" y="154"/>
                  <a:pt x="240" y="153"/>
                  <a:pt x="239" y="151"/>
                </a:cubicBezTo>
                <a:cubicBezTo>
                  <a:pt x="237" y="149"/>
                  <a:pt x="236" y="147"/>
                  <a:pt x="236" y="144"/>
                </a:cubicBezTo>
                <a:cubicBezTo>
                  <a:pt x="238" y="118"/>
                  <a:pt x="238" y="118"/>
                  <a:pt x="238" y="118"/>
                </a:cubicBezTo>
                <a:cubicBezTo>
                  <a:pt x="238" y="114"/>
                  <a:pt x="235" y="111"/>
                  <a:pt x="231" y="110"/>
                </a:cubicBezTo>
                <a:cubicBezTo>
                  <a:pt x="214" y="108"/>
                  <a:pt x="214" y="108"/>
                  <a:pt x="214" y="108"/>
                </a:cubicBezTo>
                <a:cubicBezTo>
                  <a:pt x="210" y="107"/>
                  <a:pt x="206" y="110"/>
                  <a:pt x="206" y="114"/>
                </a:cubicBezTo>
                <a:cubicBezTo>
                  <a:pt x="205" y="118"/>
                  <a:pt x="208" y="122"/>
                  <a:pt x="212" y="123"/>
                </a:cubicBezTo>
                <a:cubicBezTo>
                  <a:pt x="221" y="124"/>
                  <a:pt x="221" y="124"/>
                  <a:pt x="221" y="124"/>
                </a:cubicBezTo>
                <a:cubicBezTo>
                  <a:pt x="214" y="137"/>
                  <a:pt x="205" y="144"/>
                  <a:pt x="197" y="146"/>
                </a:cubicBezTo>
                <a:cubicBezTo>
                  <a:pt x="197" y="162"/>
                  <a:pt x="197" y="162"/>
                  <a:pt x="197" y="162"/>
                </a:cubicBezTo>
                <a:cubicBezTo>
                  <a:pt x="205" y="160"/>
                  <a:pt x="214" y="155"/>
                  <a:pt x="222" y="148"/>
                </a:cubicBezTo>
                <a:cubicBezTo>
                  <a:pt x="222" y="153"/>
                  <a:pt x="225" y="157"/>
                  <a:pt x="228" y="161"/>
                </a:cubicBezTo>
                <a:cubicBezTo>
                  <a:pt x="233" y="166"/>
                  <a:pt x="239" y="168"/>
                  <a:pt x="246" y="168"/>
                </a:cubicBezTo>
                <a:cubicBezTo>
                  <a:pt x="258" y="168"/>
                  <a:pt x="269" y="158"/>
                  <a:pt x="269" y="145"/>
                </a:cubicBezTo>
                <a:cubicBezTo>
                  <a:pt x="270" y="106"/>
                  <a:pt x="270" y="106"/>
                  <a:pt x="270" y="106"/>
                </a:cubicBezTo>
                <a:cubicBezTo>
                  <a:pt x="270" y="106"/>
                  <a:pt x="270" y="106"/>
                  <a:pt x="270" y="106"/>
                </a:cubicBezTo>
                <a:cubicBezTo>
                  <a:pt x="270" y="105"/>
                  <a:pt x="270" y="105"/>
                  <a:pt x="270" y="104"/>
                </a:cubicBezTo>
                <a:cubicBezTo>
                  <a:pt x="344" y="104"/>
                  <a:pt x="344" y="104"/>
                  <a:pt x="344" y="104"/>
                </a:cubicBezTo>
                <a:cubicBezTo>
                  <a:pt x="349" y="104"/>
                  <a:pt x="353" y="108"/>
                  <a:pt x="353" y="113"/>
                </a:cubicBezTo>
                <a:cubicBezTo>
                  <a:pt x="353" y="118"/>
                  <a:pt x="349" y="122"/>
                  <a:pt x="344" y="122"/>
                </a:cubicBezTo>
                <a:cubicBezTo>
                  <a:pt x="284" y="122"/>
                  <a:pt x="284" y="122"/>
                  <a:pt x="284" y="122"/>
                </a:cubicBezTo>
                <a:cubicBezTo>
                  <a:pt x="280" y="122"/>
                  <a:pt x="277" y="125"/>
                  <a:pt x="277" y="129"/>
                </a:cubicBezTo>
                <a:cubicBezTo>
                  <a:pt x="277" y="133"/>
                  <a:pt x="280" y="137"/>
                  <a:pt x="284" y="137"/>
                </a:cubicBezTo>
                <a:cubicBezTo>
                  <a:pt x="356" y="137"/>
                  <a:pt x="356" y="137"/>
                  <a:pt x="356" y="137"/>
                </a:cubicBezTo>
                <a:cubicBezTo>
                  <a:pt x="361" y="137"/>
                  <a:pt x="365" y="141"/>
                  <a:pt x="365" y="146"/>
                </a:cubicBezTo>
                <a:cubicBezTo>
                  <a:pt x="365" y="151"/>
                  <a:pt x="361" y="155"/>
                  <a:pt x="356" y="155"/>
                </a:cubicBezTo>
                <a:close/>
              </a:path>
            </a:pathLst>
          </a:custGeom>
          <a:solidFill>
            <a:schemeClr val="bg2"/>
          </a:solidFill>
          <a:ln>
            <a:noFill/>
          </a:ln>
        </p:spPr>
        <p:txBody>
          <a:bodyPr vert="horz" wrap="square" lIns="60960" tIns="30480" rIns="60960" bIns="30480" numCol="1" anchor="t" anchorCtr="0" compatLnSpc="1">
            <a:prstTxWarp prst="textNoShape">
              <a:avLst/>
            </a:prstTxWarp>
          </a:bodyPr>
          <a:lstStyle/>
          <a:p>
            <a:endParaRPr lang="en-IN" sz="1200"/>
          </a:p>
        </p:txBody>
      </p:sp>
      <p:grpSp>
        <p:nvGrpSpPr>
          <p:cNvPr id="108" name="Group 107"/>
          <p:cNvGrpSpPr/>
          <p:nvPr/>
        </p:nvGrpSpPr>
        <p:grpSpPr>
          <a:xfrm>
            <a:off x="5944035" y="1780485"/>
            <a:ext cx="357519" cy="357519"/>
            <a:chOff x="-2239963" y="4360863"/>
            <a:chExt cx="900113" cy="900112"/>
          </a:xfrm>
          <a:solidFill>
            <a:schemeClr val="bg2"/>
          </a:solidFill>
        </p:grpSpPr>
        <p:sp>
          <p:nvSpPr>
            <p:cNvPr id="100" name="Rectangle 16"/>
            <p:cNvSpPr>
              <a:spLocks noChangeArrowheads="1"/>
            </p:cNvSpPr>
            <p:nvPr/>
          </p:nvSpPr>
          <p:spPr bwMode="auto">
            <a:xfrm>
              <a:off x="-1746250" y="5021263"/>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1" name="Freeform 17"/>
            <p:cNvSpPr>
              <a:spLocks noEditPoints="1"/>
            </p:cNvSpPr>
            <p:nvPr/>
          </p:nvSpPr>
          <p:spPr bwMode="auto">
            <a:xfrm>
              <a:off x="-2239963" y="4360863"/>
              <a:ext cx="900113" cy="900112"/>
            </a:xfrm>
            <a:custGeom>
              <a:avLst/>
              <a:gdLst>
                <a:gd name="T0" fmla="*/ 122 w 240"/>
                <a:gd name="T1" fmla="*/ 92 h 240"/>
                <a:gd name="T2" fmla="*/ 88 w 240"/>
                <a:gd name="T3" fmla="*/ 96 h 240"/>
                <a:gd name="T4" fmla="*/ 66 w 240"/>
                <a:gd name="T5" fmla="*/ 108 h 240"/>
                <a:gd name="T6" fmla="*/ 48 w 240"/>
                <a:gd name="T7" fmla="*/ 84 h 240"/>
                <a:gd name="T8" fmla="*/ 0 w 240"/>
                <a:gd name="T9" fmla="*/ 86 h 240"/>
                <a:gd name="T10" fmla="*/ 16 w 240"/>
                <a:gd name="T11" fmla="*/ 113 h 240"/>
                <a:gd name="T12" fmla="*/ 1 w 240"/>
                <a:gd name="T13" fmla="*/ 150 h 240"/>
                <a:gd name="T14" fmla="*/ 4 w 240"/>
                <a:gd name="T15" fmla="*/ 156 h 240"/>
                <a:gd name="T16" fmla="*/ 51 w 240"/>
                <a:gd name="T17" fmla="*/ 154 h 240"/>
                <a:gd name="T18" fmla="*/ 72 w 240"/>
                <a:gd name="T19" fmla="*/ 132 h 240"/>
                <a:gd name="T20" fmla="*/ 73 w 240"/>
                <a:gd name="T21" fmla="*/ 143 h 240"/>
                <a:gd name="T22" fmla="*/ 84 w 240"/>
                <a:gd name="T23" fmla="*/ 164 h 240"/>
                <a:gd name="T24" fmla="*/ 84 w 240"/>
                <a:gd name="T25" fmla="*/ 236 h 240"/>
                <a:gd name="T26" fmla="*/ 152 w 240"/>
                <a:gd name="T27" fmla="*/ 240 h 240"/>
                <a:gd name="T28" fmla="*/ 156 w 240"/>
                <a:gd name="T29" fmla="*/ 230 h 240"/>
                <a:gd name="T30" fmla="*/ 240 w 240"/>
                <a:gd name="T31" fmla="*/ 120 h 240"/>
                <a:gd name="T32" fmla="*/ 64 w 240"/>
                <a:gd name="T33" fmla="*/ 124 h 240"/>
                <a:gd name="T34" fmla="*/ 24 w 240"/>
                <a:gd name="T35" fmla="*/ 116 h 240"/>
                <a:gd name="T36" fmla="*/ 88 w 240"/>
                <a:gd name="T37" fmla="*/ 116 h 240"/>
                <a:gd name="T38" fmla="*/ 76 w 240"/>
                <a:gd name="T39" fmla="*/ 124 h 240"/>
                <a:gd name="T40" fmla="*/ 46 w 240"/>
                <a:gd name="T41" fmla="*/ 92 h 240"/>
                <a:gd name="T42" fmla="*/ 22 w 240"/>
                <a:gd name="T43" fmla="*/ 108 h 240"/>
                <a:gd name="T44" fmla="*/ 46 w 240"/>
                <a:gd name="T45" fmla="*/ 92 h 240"/>
                <a:gd name="T46" fmla="*/ 11 w 240"/>
                <a:gd name="T47" fmla="*/ 148 h 240"/>
                <a:gd name="T48" fmla="*/ 57 w 240"/>
                <a:gd name="T49" fmla="*/ 132 h 240"/>
                <a:gd name="T50" fmla="*/ 80 w 240"/>
                <a:gd name="T51" fmla="*/ 138 h 240"/>
                <a:gd name="T52" fmla="*/ 92 w 240"/>
                <a:gd name="T53" fmla="*/ 132 h 240"/>
                <a:gd name="T54" fmla="*/ 96 w 240"/>
                <a:gd name="T55" fmla="*/ 112 h 240"/>
                <a:gd name="T56" fmla="*/ 125 w 240"/>
                <a:gd name="T57" fmla="*/ 100 h 240"/>
                <a:gd name="T58" fmla="*/ 148 w 240"/>
                <a:gd name="T59" fmla="*/ 112 h 240"/>
                <a:gd name="T60" fmla="*/ 148 w 240"/>
                <a:gd name="T61" fmla="*/ 160 h 240"/>
                <a:gd name="T62" fmla="*/ 92 w 240"/>
                <a:gd name="T63" fmla="*/ 152 h 240"/>
                <a:gd name="T64" fmla="*/ 80 w 240"/>
                <a:gd name="T65" fmla="*/ 138 h 240"/>
                <a:gd name="T66" fmla="*/ 180 w 240"/>
                <a:gd name="T67" fmla="*/ 36 h 240"/>
                <a:gd name="T68" fmla="*/ 180 w 240"/>
                <a:gd name="T69" fmla="*/ 204 h 240"/>
                <a:gd name="T70" fmla="*/ 156 w 240"/>
                <a:gd name="T71" fmla="*/ 132 h 240"/>
                <a:gd name="T72" fmla="*/ 180 w 240"/>
                <a:gd name="T73" fmla="*/ 184 h 240"/>
                <a:gd name="T74" fmla="*/ 180 w 240"/>
                <a:gd name="T75" fmla="*/ 56 h 240"/>
                <a:gd name="T76" fmla="*/ 156 w 240"/>
                <a:gd name="T77" fmla="*/ 108 h 240"/>
                <a:gd name="T78" fmla="*/ 156 w 240"/>
                <a:gd name="T79" fmla="*/ 95 h 240"/>
                <a:gd name="T80" fmla="*/ 155 w 240"/>
                <a:gd name="T81" fmla="*/ 93 h 240"/>
                <a:gd name="T82" fmla="*/ 154 w 240"/>
                <a:gd name="T83" fmla="*/ 92 h 240"/>
                <a:gd name="T84" fmla="*/ 148 w 240"/>
                <a:gd name="T85" fmla="*/ 168 h 240"/>
                <a:gd name="T86" fmla="*/ 92 w 240"/>
                <a:gd name="T87" fmla="*/ 192 h 240"/>
                <a:gd name="T88" fmla="*/ 176 w 240"/>
                <a:gd name="T89" fmla="*/ 108 h 240"/>
                <a:gd name="T90" fmla="*/ 180 w 240"/>
                <a:gd name="T91" fmla="*/ 64 h 240"/>
                <a:gd name="T92" fmla="*/ 180 w 240"/>
                <a:gd name="T93" fmla="*/ 176 h 240"/>
                <a:gd name="T94" fmla="*/ 176 w 240"/>
                <a:gd name="T95" fmla="*/ 132 h 240"/>
                <a:gd name="T96" fmla="*/ 180 w 240"/>
                <a:gd name="T97" fmla="*/ 112 h 240"/>
                <a:gd name="T98" fmla="*/ 168 w 240"/>
                <a:gd name="T99" fmla="*/ 116 h 240"/>
                <a:gd name="T100" fmla="*/ 172 w 240"/>
                <a:gd name="T101" fmla="*/ 124 h 240"/>
                <a:gd name="T102" fmla="*/ 156 w 240"/>
                <a:gd name="T103" fmla="*/ 124 h 240"/>
                <a:gd name="T104" fmla="*/ 168 w 240"/>
                <a:gd name="T105" fmla="*/ 116 h 240"/>
                <a:gd name="T106" fmla="*/ 92 w 240"/>
                <a:gd name="T107" fmla="*/ 232 h 240"/>
                <a:gd name="T108" fmla="*/ 148 w 240"/>
                <a:gd name="T109" fmla="*/ 200 h 240"/>
                <a:gd name="T110" fmla="*/ 148 w 240"/>
                <a:gd name="T111" fmla="*/ 232 h 240"/>
                <a:gd name="T112" fmla="*/ 156 w 240"/>
                <a:gd name="T113" fmla="*/ 219 h 240"/>
                <a:gd name="T114" fmla="*/ 156 w 240"/>
                <a:gd name="T115" fmla="*/ 189 h 240"/>
                <a:gd name="T116" fmla="*/ 216 w 240"/>
                <a:gd name="T117" fmla="*/ 120 h 240"/>
                <a:gd name="T118" fmla="*/ 146 w 240"/>
                <a:gd name="T119" fmla="*/ 92 h 240"/>
                <a:gd name="T120" fmla="*/ 180 w 240"/>
                <a:gd name="T121" fmla="*/ 8 h 240"/>
                <a:gd name="T122" fmla="*/ 180 w 240"/>
                <a:gd name="T123" fmla="*/ 23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240">
                  <a:moveTo>
                    <a:pt x="180" y="0"/>
                  </a:moveTo>
                  <a:cubicBezTo>
                    <a:pt x="152" y="0"/>
                    <a:pt x="128" y="38"/>
                    <a:pt x="122" y="92"/>
                  </a:cubicBezTo>
                  <a:cubicBezTo>
                    <a:pt x="92" y="92"/>
                    <a:pt x="92" y="92"/>
                    <a:pt x="92" y="92"/>
                  </a:cubicBezTo>
                  <a:cubicBezTo>
                    <a:pt x="90" y="92"/>
                    <a:pt x="88" y="94"/>
                    <a:pt x="88" y="96"/>
                  </a:cubicBezTo>
                  <a:cubicBezTo>
                    <a:pt x="88" y="108"/>
                    <a:pt x="88" y="108"/>
                    <a:pt x="88" y="108"/>
                  </a:cubicBezTo>
                  <a:cubicBezTo>
                    <a:pt x="66" y="108"/>
                    <a:pt x="66" y="108"/>
                    <a:pt x="66" y="108"/>
                  </a:cubicBezTo>
                  <a:cubicBezTo>
                    <a:pt x="51" y="86"/>
                    <a:pt x="51" y="86"/>
                    <a:pt x="51" y="86"/>
                  </a:cubicBezTo>
                  <a:cubicBezTo>
                    <a:pt x="51" y="85"/>
                    <a:pt x="49" y="84"/>
                    <a:pt x="48" y="84"/>
                  </a:cubicBezTo>
                  <a:cubicBezTo>
                    <a:pt x="4" y="84"/>
                    <a:pt x="4" y="84"/>
                    <a:pt x="4" y="84"/>
                  </a:cubicBezTo>
                  <a:cubicBezTo>
                    <a:pt x="3" y="84"/>
                    <a:pt x="1" y="85"/>
                    <a:pt x="0" y="86"/>
                  </a:cubicBezTo>
                  <a:cubicBezTo>
                    <a:pt x="0" y="87"/>
                    <a:pt x="0" y="89"/>
                    <a:pt x="1" y="90"/>
                  </a:cubicBezTo>
                  <a:cubicBezTo>
                    <a:pt x="16" y="113"/>
                    <a:pt x="16" y="113"/>
                    <a:pt x="16" y="113"/>
                  </a:cubicBezTo>
                  <a:cubicBezTo>
                    <a:pt x="16" y="127"/>
                    <a:pt x="16" y="127"/>
                    <a:pt x="16" y="127"/>
                  </a:cubicBezTo>
                  <a:cubicBezTo>
                    <a:pt x="1" y="150"/>
                    <a:pt x="1" y="150"/>
                    <a:pt x="1" y="150"/>
                  </a:cubicBezTo>
                  <a:cubicBezTo>
                    <a:pt x="0" y="151"/>
                    <a:pt x="0" y="153"/>
                    <a:pt x="0" y="154"/>
                  </a:cubicBezTo>
                  <a:cubicBezTo>
                    <a:pt x="1" y="155"/>
                    <a:pt x="3" y="156"/>
                    <a:pt x="4" y="156"/>
                  </a:cubicBezTo>
                  <a:cubicBezTo>
                    <a:pt x="48" y="156"/>
                    <a:pt x="48" y="156"/>
                    <a:pt x="48" y="156"/>
                  </a:cubicBezTo>
                  <a:cubicBezTo>
                    <a:pt x="49" y="156"/>
                    <a:pt x="51" y="155"/>
                    <a:pt x="51" y="154"/>
                  </a:cubicBezTo>
                  <a:cubicBezTo>
                    <a:pt x="66" y="132"/>
                    <a:pt x="66" y="132"/>
                    <a:pt x="66" y="132"/>
                  </a:cubicBezTo>
                  <a:cubicBezTo>
                    <a:pt x="72" y="132"/>
                    <a:pt x="72" y="132"/>
                    <a:pt x="72" y="132"/>
                  </a:cubicBezTo>
                  <a:cubicBezTo>
                    <a:pt x="72" y="140"/>
                    <a:pt x="72" y="140"/>
                    <a:pt x="72" y="140"/>
                  </a:cubicBezTo>
                  <a:cubicBezTo>
                    <a:pt x="72" y="141"/>
                    <a:pt x="72" y="142"/>
                    <a:pt x="73" y="143"/>
                  </a:cubicBezTo>
                  <a:cubicBezTo>
                    <a:pt x="84" y="154"/>
                    <a:pt x="84" y="154"/>
                    <a:pt x="84" y="154"/>
                  </a:cubicBezTo>
                  <a:cubicBezTo>
                    <a:pt x="84" y="164"/>
                    <a:pt x="84" y="164"/>
                    <a:pt x="84" y="164"/>
                  </a:cubicBezTo>
                  <a:cubicBezTo>
                    <a:pt x="84" y="196"/>
                    <a:pt x="84" y="196"/>
                    <a:pt x="84" y="196"/>
                  </a:cubicBezTo>
                  <a:cubicBezTo>
                    <a:pt x="84" y="236"/>
                    <a:pt x="84" y="236"/>
                    <a:pt x="84" y="236"/>
                  </a:cubicBezTo>
                  <a:cubicBezTo>
                    <a:pt x="84" y="238"/>
                    <a:pt x="86" y="240"/>
                    <a:pt x="88" y="240"/>
                  </a:cubicBezTo>
                  <a:cubicBezTo>
                    <a:pt x="152" y="240"/>
                    <a:pt x="152" y="240"/>
                    <a:pt x="152" y="240"/>
                  </a:cubicBezTo>
                  <a:cubicBezTo>
                    <a:pt x="154" y="240"/>
                    <a:pt x="156" y="238"/>
                    <a:pt x="156" y="236"/>
                  </a:cubicBezTo>
                  <a:cubicBezTo>
                    <a:pt x="156" y="230"/>
                    <a:pt x="156" y="230"/>
                    <a:pt x="156" y="230"/>
                  </a:cubicBezTo>
                  <a:cubicBezTo>
                    <a:pt x="163" y="237"/>
                    <a:pt x="172" y="240"/>
                    <a:pt x="180" y="240"/>
                  </a:cubicBezTo>
                  <a:cubicBezTo>
                    <a:pt x="214" y="240"/>
                    <a:pt x="240" y="187"/>
                    <a:pt x="240" y="120"/>
                  </a:cubicBezTo>
                  <a:cubicBezTo>
                    <a:pt x="240" y="53"/>
                    <a:pt x="214" y="0"/>
                    <a:pt x="180" y="0"/>
                  </a:cubicBezTo>
                  <a:close/>
                  <a:moveTo>
                    <a:pt x="64" y="124"/>
                  </a:moveTo>
                  <a:cubicBezTo>
                    <a:pt x="24" y="124"/>
                    <a:pt x="24" y="124"/>
                    <a:pt x="24" y="124"/>
                  </a:cubicBezTo>
                  <a:cubicBezTo>
                    <a:pt x="24" y="116"/>
                    <a:pt x="24" y="116"/>
                    <a:pt x="24" y="116"/>
                  </a:cubicBezTo>
                  <a:cubicBezTo>
                    <a:pt x="64" y="116"/>
                    <a:pt x="64" y="116"/>
                    <a:pt x="64" y="116"/>
                  </a:cubicBezTo>
                  <a:cubicBezTo>
                    <a:pt x="88" y="116"/>
                    <a:pt x="88" y="116"/>
                    <a:pt x="88" y="116"/>
                  </a:cubicBezTo>
                  <a:cubicBezTo>
                    <a:pt x="88" y="124"/>
                    <a:pt x="88" y="124"/>
                    <a:pt x="88" y="124"/>
                  </a:cubicBezTo>
                  <a:cubicBezTo>
                    <a:pt x="76" y="124"/>
                    <a:pt x="76" y="124"/>
                    <a:pt x="76" y="124"/>
                  </a:cubicBezTo>
                  <a:lnTo>
                    <a:pt x="64" y="124"/>
                  </a:lnTo>
                  <a:close/>
                  <a:moveTo>
                    <a:pt x="46" y="92"/>
                  </a:moveTo>
                  <a:cubicBezTo>
                    <a:pt x="57" y="108"/>
                    <a:pt x="57" y="108"/>
                    <a:pt x="57" y="108"/>
                  </a:cubicBezTo>
                  <a:cubicBezTo>
                    <a:pt x="22" y="108"/>
                    <a:pt x="22" y="108"/>
                    <a:pt x="22" y="108"/>
                  </a:cubicBezTo>
                  <a:cubicBezTo>
                    <a:pt x="11" y="92"/>
                    <a:pt x="11" y="92"/>
                    <a:pt x="11" y="92"/>
                  </a:cubicBezTo>
                  <a:lnTo>
                    <a:pt x="46" y="92"/>
                  </a:lnTo>
                  <a:close/>
                  <a:moveTo>
                    <a:pt x="46" y="148"/>
                  </a:moveTo>
                  <a:cubicBezTo>
                    <a:pt x="11" y="148"/>
                    <a:pt x="11" y="148"/>
                    <a:pt x="11" y="148"/>
                  </a:cubicBezTo>
                  <a:cubicBezTo>
                    <a:pt x="22" y="132"/>
                    <a:pt x="22" y="132"/>
                    <a:pt x="22" y="132"/>
                  </a:cubicBezTo>
                  <a:cubicBezTo>
                    <a:pt x="57" y="132"/>
                    <a:pt x="57" y="132"/>
                    <a:pt x="57" y="132"/>
                  </a:cubicBezTo>
                  <a:lnTo>
                    <a:pt x="46" y="148"/>
                  </a:lnTo>
                  <a:close/>
                  <a:moveTo>
                    <a:pt x="80" y="138"/>
                  </a:moveTo>
                  <a:cubicBezTo>
                    <a:pt x="80" y="132"/>
                    <a:pt x="80" y="132"/>
                    <a:pt x="80" y="132"/>
                  </a:cubicBezTo>
                  <a:cubicBezTo>
                    <a:pt x="92" y="132"/>
                    <a:pt x="92" y="132"/>
                    <a:pt x="92" y="132"/>
                  </a:cubicBezTo>
                  <a:cubicBezTo>
                    <a:pt x="94" y="132"/>
                    <a:pt x="96" y="130"/>
                    <a:pt x="96" y="128"/>
                  </a:cubicBezTo>
                  <a:cubicBezTo>
                    <a:pt x="96" y="112"/>
                    <a:pt x="96" y="112"/>
                    <a:pt x="96" y="112"/>
                  </a:cubicBezTo>
                  <a:cubicBezTo>
                    <a:pt x="96" y="100"/>
                    <a:pt x="96" y="100"/>
                    <a:pt x="96" y="100"/>
                  </a:cubicBezTo>
                  <a:cubicBezTo>
                    <a:pt x="125" y="100"/>
                    <a:pt x="125" y="100"/>
                    <a:pt x="125" y="100"/>
                  </a:cubicBezTo>
                  <a:cubicBezTo>
                    <a:pt x="148" y="100"/>
                    <a:pt x="148" y="100"/>
                    <a:pt x="148" y="100"/>
                  </a:cubicBezTo>
                  <a:cubicBezTo>
                    <a:pt x="148" y="112"/>
                    <a:pt x="148" y="112"/>
                    <a:pt x="148" y="112"/>
                  </a:cubicBezTo>
                  <a:cubicBezTo>
                    <a:pt x="148" y="128"/>
                    <a:pt x="148" y="128"/>
                    <a:pt x="148" y="128"/>
                  </a:cubicBezTo>
                  <a:cubicBezTo>
                    <a:pt x="148" y="160"/>
                    <a:pt x="148" y="160"/>
                    <a:pt x="148" y="160"/>
                  </a:cubicBezTo>
                  <a:cubicBezTo>
                    <a:pt x="92" y="160"/>
                    <a:pt x="92" y="160"/>
                    <a:pt x="92" y="160"/>
                  </a:cubicBezTo>
                  <a:cubicBezTo>
                    <a:pt x="92" y="152"/>
                    <a:pt x="92" y="152"/>
                    <a:pt x="92" y="152"/>
                  </a:cubicBezTo>
                  <a:cubicBezTo>
                    <a:pt x="92" y="151"/>
                    <a:pt x="92" y="150"/>
                    <a:pt x="91" y="149"/>
                  </a:cubicBezTo>
                  <a:lnTo>
                    <a:pt x="80" y="138"/>
                  </a:lnTo>
                  <a:close/>
                  <a:moveTo>
                    <a:pt x="154" y="92"/>
                  </a:moveTo>
                  <a:cubicBezTo>
                    <a:pt x="158" y="56"/>
                    <a:pt x="170" y="36"/>
                    <a:pt x="180" y="36"/>
                  </a:cubicBezTo>
                  <a:cubicBezTo>
                    <a:pt x="193" y="36"/>
                    <a:pt x="208" y="70"/>
                    <a:pt x="208" y="120"/>
                  </a:cubicBezTo>
                  <a:cubicBezTo>
                    <a:pt x="208" y="170"/>
                    <a:pt x="193" y="204"/>
                    <a:pt x="180" y="204"/>
                  </a:cubicBezTo>
                  <a:cubicBezTo>
                    <a:pt x="171" y="204"/>
                    <a:pt x="161" y="187"/>
                    <a:pt x="156" y="162"/>
                  </a:cubicBezTo>
                  <a:cubicBezTo>
                    <a:pt x="156" y="132"/>
                    <a:pt x="156" y="132"/>
                    <a:pt x="156" y="132"/>
                  </a:cubicBezTo>
                  <a:cubicBezTo>
                    <a:pt x="164" y="132"/>
                    <a:pt x="164" y="132"/>
                    <a:pt x="164" y="132"/>
                  </a:cubicBezTo>
                  <a:cubicBezTo>
                    <a:pt x="165" y="150"/>
                    <a:pt x="168" y="184"/>
                    <a:pt x="180" y="184"/>
                  </a:cubicBezTo>
                  <a:cubicBezTo>
                    <a:pt x="196" y="184"/>
                    <a:pt x="196" y="127"/>
                    <a:pt x="196" y="120"/>
                  </a:cubicBezTo>
                  <a:cubicBezTo>
                    <a:pt x="196" y="113"/>
                    <a:pt x="196" y="56"/>
                    <a:pt x="180" y="56"/>
                  </a:cubicBezTo>
                  <a:cubicBezTo>
                    <a:pt x="168" y="56"/>
                    <a:pt x="165" y="90"/>
                    <a:pt x="164" y="108"/>
                  </a:cubicBezTo>
                  <a:cubicBezTo>
                    <a:pt x="156" y="108"/>
                    <a:pt x="156" y="108"/>
                    <a:pt x="156" y="108"/>
                  </a:cubicBezTo>
                  <a:cubicBezTo>
                    <a:pt x="156" y="96"/>
                    <a:pt x="156" y="96"/>
                    <a:pt x="156" y="96"/>
                  </a:cubicBezTo>
                  <a:cubicBezTo>
                    <a:pt x="156" y="96"/>
                    <a:pt x="156" y="95"/>
                    <a:pt x="156" y="95"/>
                  </a:cubicBezTo>
                  <a:cubicBezTo>
                    <a:pt x="156" y="94"/>
                    <a:pt x="156" y="94"/>
                    <a:pt x="156" y="94"/>
                  </a:cubicBezTo>
                  <a:cubicBezTo>
                    <a:pt x="155" y="94"/>
                    <a:pt x="155" y="94"/>
                    <a:pt x="155" y="93"/>
                  </a:cubicBezTo>
                  <a:cubicBezTo>
                    <a:pt x="155" y="93"/>
                    <a:pt x="155" y="93"/>
                    <a:pt x="155" y="93"/>
                  </a:cubicBezTo>
                  <a:cubicBezTo>
                    <a:pt x="154" y="93"/>
                    <a:pt x="154" y="93"/>
                    <a:pt x="154" y="92"/>
                  </a:cubicBezTo>
                  <a:close/>
                  <a:moveTo>
                    <a:pt x="92" y="168"/>
                  </a:moveTo>
                  <a:cubicBezTo>
                    <a:pt x="148" y="168"/>
                    <a:pt x="148" y="168"/>
                    <a:pt x="148" y="168"/>
                  </a:cubicBezTo>
                  <a:cubicBezTo>
                    <a:pt x="148" y="192"/>
                    <a:pt x="148" y="192"/>
                    <a:pt x="148" y="192"/>
                  </a:cubicBezTo>
                  <a:cubicBezTo>
                    <a:pt x="92" y="192"/>
                    <a:pt x="92" y="192"/>
                    <a:pt x="92" y="192"/>
                  </a:cubicBezTo>
                  <a:lnTo>
                    <a:pt x="92" y="168"/>
                  </a:lnTo>
                  <a:close/>
                  <a:moveTo>
                    <a:pt x="176" y="108"/>
                  </a:moveTo>
                  <a:cubicBezTo>
                    <a:pt x="172" y="108"/>
                    <a:pt x="172" y="108"/>
                    <a:pt x="172" y="108"/>
                  </a:cubicBezTo>
                  <a:cubicBezTo>
                    <a:pt x="173" y="82"/>
                    <a:pt x="177" y="68"/>
                    <a:pt x="180" y="64"/>
                  </a:cubicBezTo>
                  <a:cubicBezTo>
                    <a:pt x="183" y="68"/>
                    <a:pt x="188" y="87"/>
                    <a:pt x="188" y="120"/>
                  </a:cubicBezTo>
                  <a:cubicBezTo>
                    <a:pt x="188" y="153"/>
                    <a:pt x="183" y="172"/>
                    <a:pt x="180" y="176"/>
                  </a:cubicBezTo>
                  <a:cubicBezTo>
                    <a:pt x="177" y="172"/>
                    <a:pt x="173" y="158"/>
                    <a:pt x="172" y="132"/>
                  </a:cubicBezTo>
                  <a:cubicBezTo>
                    <a:pt x="176" y="132"/>
                    <a:pt x="176" y="132"/>
                    <a:pt x="176" y="132"/>
                  </a:cubicBezTo>
                  <a:cubicBezTo>
                    <a:pt x="178" y="132"/>
                    <a:pt x="180" y="130"/>
                    <a:pt x="180" y="128"/>
                  </a:cubicBezTo>
                  <a:cubicBezTo>
                    <a:pt x="180" y="112"/>
                    <a:pt x="180" y="112"/>
                    <a:pt x="180" y="112"/>
                  </a:cubicBezTo>
                  <a:cubicBezTo>
                    <a:pt x="180" y="110"/>
                    <a:pt x="178" y="108"/>
                    <a:pt x="176" y="108"/>
                  </a:cubicBezTo>
                  <a:close/>
                  <a:moveTo>
                    <a:pt x="168" y="116"/>
                  </a:moveTo>
                  <a:cubicBezTo>
                    <a:pt x="172" y="116"/>
                    <a:pt x="172" y="116"/>
                    <a:pt x="172" y="116"/>
                  </a:cubicBezTo>
                  <a:cubicBezTo>
                    <a:pt x="172" y="124"/>
                    <a:pt x="172" y="124"/>
                    <a:pt x="172" y="124"/>
                  </a:cubicBezTo>
                  <a:cubicBezTo>
                    <a:pt x="168" y="124"/>
                    <a:pt x="168" y="124"/>
                    <a:pt x="168" y="124"/>
                  </a:cubicBezTo>
                  <a:cubicBezTo>
                    <a:pt x="156" y="124"/>
                    <a:pt x="156" y="124"/>
                    <a:pt x="156" y="124"/>
                  </a:cubicBezTo>
                  <a:cubicBezTo>
                    <a:pt x="156" y="116"/>
                    <a:pt x="156" y="116"/>
                    <a:pt x="156" y="116"/>
                  </a:cubicBezTo>
                  <a:lnTo>
                    <a:pt x="168" y="116"/>
                  </a:lnTo>
                  <a:close/>
                  <a:moveTo>
                    <a:pt x="148" y="232"/>
                  </a:moveTo>
                  <a:cubicBezTo>
                    <a:pt x="92" y="232"/>
                    <a:pt x="92" y="232"/>
                    <a:pt x="92" y="232"/>
                  </a:cubicBezTo>
                  <a:cubicBezTo>
                    <a:pt x="92" y="200"/>
                    <a:pt x="92" y="200"/>
                    <a:pt x="92" y="200"/>
                  </a:cubicBezTo>
                  <a:cubicBezTo>
                    <a:pt x="148" y="200"/>
                    <a:pt x="148" y="200"/>
                    <a:pt x="148" y="200"/>
                  </a:cubicBezTo>
                  <a:cubicBezTo>
                    <a:pt x="148" y="220"/>
                    <a:pt x="148" y="220"/>
                    <a:pt x="148" y="220"/>
                  </a:cubicBezTo>
                  <a:lnTo>
                    <a:pt x="148" y="232"/>
                  </a:lnTo>
                  <a:close/>
                  <a:moveTo>
                    <a:pt x="180" y="232"/>
                  </a:moveTo>
                  <a:cubicBezTo>
                    <a:pt x="172" y="232"/>
                    <a:pt x="163" y="228"/>
                    <a:pt x="156" y="219"/>
                  </a:cubicBezTo>
                  <a:cubicBezTo>
                    <a:pt x="156" y="196"/>
                    <a:pt x="156" y="196"/>
                    <a:pt x="156" y="196"/>
                  </a:cubicBezTo>
                  <a:cubicBezTo>
                    <a:pt x="156" y="189"/>
                    <a:pt x="156" y="189"/>
                    <a:pt x="156" y="189"/>
                  </a:cubicBezTo>
                  <a:cubicBezTo>
                    <a:pt x="162" y="204"/>
                    <a:pt x="171" y="212"/>
                    <a:pt x="180" y="212"/>
                  </a:cubicBezTo>
                  <a:cubicBezTo>
                    <a:pt x="197" y="212"/>
                    <a:pt x="216" y="180"/>
                    <a:pt x="216" y="120"/>
                  </a:cubicBezTo>
                  <a:cubicBezTo>
                    <a:pt x="216" y="60"/>
                    <a:pt x="197" y="28"/>
                    <a:pt x="180" y="28"/>
                  </a:cubicBezTo>
                  <a:cubicBezTo>
                    <a:pt x="164" y="28"/>
                    <a:pt x="150" y="53"/>
                    <a:pt x="146" y="92"/>
                  </a:cubicBezTo>
                  <a:cubicBezTo>
                    <a:pt x="130" y="92"/>
                    <a:pt x="130" y="92"/>
                    <a:pt x="130" y="92"/>
                  </a:cubicBezTo>
                  <a:cubicBezTo>
                    <a:pt x="136" y="43"/>
                    <a:pt x="156" y="8"/>
                    <a:pt x="180" y="8"/>
                  </a:cubicBezTo>
                  <a:cubicBezTo>
                    <a:pt x="208" y="8"/>
                    <a:pt x="232" y="59"/>
                    <a:pt x="232" y="120"/>
                  </a:cubicBezTo>
                  <a:cubicBezTo>
                    <a:pt x="232" y="181"/>
                    <a:pt x="208" y="232"/>
                    <a:pt x="180" y="2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2" name="Rectangle 18"/>
            <p:cNvSpPr>
              <a:spLocks noChangeArrowheads="1"/>
            </p:cNvSpPr>
            <p:nvPr/>
          </p:nvSpPr>
          <p:spPr bwMode="auto">
            <a:xfrm>
              <a:off x="-1985963" y="4540250"/>
              <a:ext cx="180975"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3" name="Rectangle 19"/>
            <p:cNvSpPr>
              <a:spLocks noChangeArrowheads="1"/>
            </p:cNvSpPr>
            <p:nvPr/>
          </p:nvSpPr>
          <p:spPr bwMode="auto">
            <a:xfrm>
              <a:off x="-2046288" y="4540250"/>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4" name="Rectangle 20"/>
            <p:cNvSpPr>
              <a:spLocks noChangeArrowheads="1"/>
            </p:cNvSpPr>
            <p:nvPr/>
          </p:nvSpPr>
          <p:spPr bwMode="auto">
            <a:xfrm>
              <a:off x="-2105025" y="4540250"/>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5" name="Rectangle 21"/>
            <p:cNvSpPr>
              <a:spLocks noChangeArrowheads="1"/>
            </p:cNvSpPr>
            <p:nvPr/>
          </p:nvSpPr>
          <p:spPr bwMode="auto">
            <a:xfrm>
              <a:off x="-2046288" y="4600575"/>
              <a:ext cx="180975"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6" name="Rectangle 22"/>
            <p:cNvSpPr>
              <a:spLocks noChangeArrowheads="1"/>
            </p:cNvSpPr>
            <p:nvPr/>
          </p:nvSpPr>
          <p:spPr bwMode="auto">
            <a:xfrm>
              <a:off x="-2105025" y="4600575"/>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7" name="Rectangle 23"/>
            <p:cNvSpPr>
              <a:spLocks noChangeArrowheads="1"/>
            </p:cNvSpPr>
            <p:nvPr/>
          </p:nvSpPr>
          <p:spPr bwMode="auto">
            <a:xfrm>
              <a:off x="-2165350" y="4600575"/>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125" name="Group 124"/>
          <p:cNvGrpSpPr/>
          <p:nvPr/>
        </p:nvGrpSpPr>
        <p:grpSpPr>
          <a:xfrm>
            <a:off x="7523711" y="1749714"/>
            <a:ext cx="390511" cy="393665"/>
            <a:chOff x="-3659188" y="5145088"/>
            <a:chExt cx="982663" cy="990601"/>
          </a:xfrm>
          <a:solidFill>
            <a:schemeClr val="bg2"/>
          </a:solidFill>
        </p:grpSpPr>
        <p:sp>
          <p:nvSpPr>
            <p:cNvPr id="111" name="Freeform 28"/>
            <p:cNvSpPr>
              <a:spLocks/>
            </p:cNvSpPr>
            <p:nvPr/>
          </p:nvSpPr>
          <p:spPr bwMode="auto">
            <a:xfrm>
              <a:off x="-3178175" y="5197476"/>
              <a:ext cx="28575" cy="49213"/>
            </a:xfrm>
            <a:custGeom>
              <a:avLst/>
              <a:gdLst>
                <a:gd name="T0" fmla="*/ 4 w 8"/>
                <a:gd name="T1" fmla="*/ 13 h 13"/>
                <a:gd name="T2" fmla="*/ 8 w 8"/>
                <a:gd name="T3" fmla="*/ 9 h 13"/>
                <a:gd name="T4" fmla="*/ 8 w 8"/>
                <a:gd name="T5" fmla="*/ 4 h 13"/>
                <a:gd name="T6" fmla="*/ 4 w 8"/>
                <a:gd name="T7" fmla="*/ 0 h 13"/>
                <a:gd name="T8" fmla="*/ 0 w 8"/>
                <a:gd name="T9" fmla="*/ 4 h 13"/>
                <a:gd name="T10" fmla="*/ 0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6" y="13"/>
                    <a:pt x="8" y="12"/>
                    <a:pt x="8" y="9"/>
                  </a:cubicBezTo>
                  <a:cubicBezTo>
                    <a:pt x="8" y="4"/>
                    <a:pt x="8" y="4"/>
                    <a:pt x="8" y="4"/>
                  </a:cubicBezTo>
                  <a:cubicBezTo>
                    <a:pt x="8" y="2"/>
                    <a:pt x="6" y="0"/>
                    <a:pt x="4" y="0"/>
                  </a:cubicBezTo>
                  <a:cubicBezTo>
                    <a:pt x="1" y="0"/>
                    <a:pt x="0" y="2"/>
                    <a:pt x="0" y="4"/>
                  </a:cubicBezTo>
                  <a:cubicBezTo>
                    <a:pt x="0" y="9"/>
                    <a:pt x="0" y="9"/>
                    <a:pt x="0" y="9"/>
                  </a:cubicBezTo>
                  <a:cubicBezTo>
                    <a:pt x="0" y="12"/>
                    <a:pt x="1" y="13"/>
                    <a:pt x="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12" name="Freeform 29"/>
            <p:cNvSpPr>
              <a:spLocks/>
            </p:cNvSpPr>
            <p:nvPr/>
          </p:nvSpPr>
          <p:spPr bwMode="auto">
            <a:xfrm>
              <a:off x="-3178175" y="5475288"/>
              <a:ext cx="28575" cy="49213"/>
            </a:xfrm>
            <a:custGeom>
              <a:avLst/>
              <a:gdLst>
                <a:gd name="T0" fmla="*/ 8 w 8"/>
                <a:gd name="T1" fmla="*/ 9 h 13"/>
                <a:gd name="T2" fmla="*/ 8 w 8"/>
                <a:gd name="T3" fmla="*/ 4 h 13"/>
                <a:gd name="T4" fmla="*/ 4 w 8"/>
                <a:gd name="T5" fmla="*/ 0 h 13"/>
                <a:gd name="T6" fmla="*/ 0 w 8"/>
                <a:gd name="T7" fmla="*/ 4 h 13"/>
                <a:gd name="T8" fmla="*/ 0 w 8"/>
                <a:gd name="T9" fmla="*/ 9 h 13"/>
                <a:gd name="T10" fmla="*/ 4 w 8"/>
                <a:gd name="T11" fmla="*/ 13 h 13"/>
                <a:gd name="T12" fmla="*/ 8 w 8"/>
                <a:gd name="T13" fmla="*/ 9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8" y="9"/>
                  </a:moveTo>
                  <a:cubicBezTo>
                    <a:pt x="8" y="4"/>
                    <a:pt x="8" y="4"/>
                    <a:pt x="8" y="4"/>
                  </a:cubicBezTo>
                  <a:cubicBezTo>
                    <a:pt x="8" y="2"/>
                    <a:pt x="6" y="0"/>
                    <a:pt x="4" y="0"/>
                  </a:cubicBezTo>
                  <a:cubicBezTo>
                    <a:pt x="1" y="0"/>
                    <a:pt x="0" y="2"/>
                    <a:pt x="0" y="4"/>
                  </a:cubicBezTo>
                  <a:cubicBezTo>
                    <a:pt x="0" y="9"/>
                    <a:pt x="0" y="9"/>
                    <a:pt x="0" y="9"/>
                  </a:cubicBezTo>
                  <a:cubicBezTo>
                    <a:pt x="0" y="11"/>
                    <a:pt x="1" y="13"/>
                    <a:pt x="4" y="13"/>
                  </a:cubicBezTo>
                  <a:cubicBezTo>
                    <a:pt x="6" y="13"/>
                    <a:pt x="8" y="11"/>
                    <a:pt x="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13" name="Freeform 30"/>
            <p:cNvSpPr>
              <a:spLocks/>
            </p:cNvSpPr>
            <p:nvPr/>
          </p:nvSpPr>
          <p:spPr bwMode="auto">
            <a:xfrm>
              <a:off x="-3089275" y="5238751"/>
              <a:ext cx="46038" cy="46038"/>
            </a:xfrm>
            <a:custGeom>
              <a:avLst/>
              <a:gdLst>
                <a:gd name="T0" fmla="*/ 4 w 12"/>
                <a:gd name="T1" fmla="*/ 12 h 12"/>
                <a:gd name="T2" fmla="*/ 7 w 12"/>
                <a:gd name="T3" fmla="*/ 11 h 12"/>
                <a:gd name="T4" fmla="*/ 10 w 12"/>
                <a:gd name="T5" fmla="*/ 8 h 12"/>
                <a:gd name="T6" fmla="*/ 10 w 12"/>
                <a:gd name="T7" fmla="*/ 2 h 12"/>
                <a:gd name="T8" fmla="*/ 5 w 12"/>
                <a:gd name="T9" fmla="*/ 2 h 12"/>
                <a:gd name="T10" fmla="*/ 1 w 12"/>
                <a:gd name="T11" fmla="*/ 6 h 12"/>
                <a:gd name="T12" fmla="*/ 1 w 12"/>
                <a:gd name="T13" fmla="*/ 11 h 12"/>
                <a:gd name="T14" fmla="*/ 4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4" y="12"/>
                  </a:moveTo>
                  <a:cubicBezTo>
                    <a:pt x="5" y="12"/>
                    <a:pt x="6" y="12"/>
                    <a:pt x="7" y="11"/>
                  </a:cubicBezTo>
                  <a:cubicBezTo>
                    <a:pt x="10" y="8"/>
                    <a:pt x="10" y="8"/>
                    <a:pt x="10" y="8"/>
                  </a:cubicBezTo>
                  <a:cubicBezTo>
                    <a:pt x="12" y="6"/>
                    <a:pt x="12" y="4"/>
                    <a:pt x="10" y="2"/>
                  </a:cubicBezTo>
                  <a:cubicBezTo>
                    <a:pt x="9" y="0"/>
                    <a:pt x="6" y="0"/>
                    <a:pt x="5" y="2"/>
                  </a:cubicBezTo>
                  <a:cubicBezTo>
                    <a:pt x="1" y="6"/>
                    <a:pt x="1" y="6"/>
                    <a:pt x="1" y="6"/>
                  </a:cubicBezTo>
                  <a:cubicBezTo>
                    <a:pt x="0" y="7"/>
                    <a:pt x="0" y="10"/>
                    <a:pt x="1" y="11"/>
                  </a:cubicBezTo>
                  <a:cubicBezTo>
                    <a:pt x="2" y="12"/>
                    <a:pt x="3"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14" name="Freeform 31"/>
            <p:cNvSpPr>
              <a:spLocks/>
            </p:cNvSpPr>
            <p:nvPr/>
          </p:nvSpPr>
          <p:spPr bwMode="auto">
            <a:xfrm>
              <a:off x="-3287713" y="5438776"/>
              <a:ext cx="49213" cy="44450"/>
            </a:xfrm>
            <a:custGeom>
              <a:avLst/>
              <a:gdLst>
                <a:gd name="T0" fmla="*/ 5 w 13"/>
                <a:gd name="T1" fmla="*/ 1 h 12"/>
                <a:gd name="T2" fmla="*/ 2 w 13"/>
                <a:gd name="T3" fmla="*/ 5 h 12"/>
                <a:gd name="T4" fmla="*/ 2 w 13"/>
                <a:gd name="T5" fmla="*/ 10 h 12"/>
                <a:gd name="T6" fmla="*/ 5 w 13"/>
                <a:gd name="T7" fmla="*/ 12 h 12"/>
                <a:gd name="T8" fmla="*/ 7 w 13"/>
                <a:gd name="T9" fmla="*/ 10 h 12"/>
                <a:gd name="T10" fmla="*/ 11 w 13"/>
                <a:gd name="T11" fmla="*/ 7 h 12"/>
                <a:gd name="T12" fmla="*/ 11 w 13"/>
                <a:gd name="T13" fmla="*/ 1 h 12"/>
                <a:gd name="T14" fmla="*/ 5 w 13"/>
                <a:gd name="T15" fmla="*/ 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5" y="1"/>
                  </a:moveTo>
                  <a:cubicBezTo>
                    <a:pt x="2" y="5"/>
                    <a:pt x="2" y="5"/>
                    <a:pt x="2" y="5"/>
                  </a:cubicBezTo>
                  <a:cubicBezTo>
                    <a:pt x="0" y="6"/>
                    <a:pt x="0" y="9"/>
                    <a:pt x="2" y="10"/>
                  </a:cubicBezTo>
                  <a:cubicBezTo>
                    <a:pt x="3" y="11"/>
                    <a:pt x="4" y="12"/>
                    <a:pt x="5" y="12"/>
                  </a:cubicBezTo>
                  <a:cubicBezTo>
                    <a:pt x="6" y="12"/>
                    <a:pt x="7" y="11"/>
                    <a:pt x="7" y="10"/>
                  </a:cubicBezTo>
                  <a:cubicBezTo>
                    <a:pt x="11" y="7"/>
                    <a:pt x="11" y="7"/>
                    <a:pt x="11" y="7"/>
                  </a:cubicBezTo>
                  <a:cubicBezTo>
                    <a:pt x="13" y="5"/>
                    <a:pt x="13" y="3"/>
                    <a:pt x="11" y="1"/>
                  </a:cubicBezTo>
                  <a:cubicBezTo>
                    <a:pt x="9" y="0"/>
                    <a:pt x="7"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15" name="Freeform 32"/>
            <p:cNvSpPr>
              <a:spLocks/>
            </p:cNvSpPr>
            <p:nvPr/>
          </p:nvSpPr>
          <p:spPr bwMode="auto">
            <a:xfrm>
              <a:off x="-3051175" y="5348288"/>
              <a:ext cx="49213" cy="30163"/>
            </a:xfrm>
            <a:custGeom>
              <a:avLst/>
              <a:gdLst>
                <a:gd name="T0" fmla="*/ 0 w 13"/>
                <a:gd name="T1" fmla="*/ 4 h 8"/>
                <a:gd name="T2" fmla="*/ 4 w 13"/>
                <a:gd name="T3" fmla="*/ 8 h 8"/>
                <a:gd name="T4" fmla="*/ 9 w 13"/>
                <a:gd name="T5" fmla="*/ 8 h 8"/>
                <a:gd name="T6" fmla="*/ 13 w 13"/>
                <a:gd name="T7" fmla="*/ 4 h 8"/>
                <a:gd name="T8" fmla="*/ 9 w 13"/>
                <a:gd name="T9" fmla="*/ 0 h 8"/>
                <a:gd name="T10" fmla="*/ 4 w 13"/>
                <a:gd name="T11" fmla="*/ 0 h 8"/>
                <a:gd name="T12" fmla="*/ 0 w 13"/>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0" y="4"/>
                  </a:moveTo>
                  <a:cubicBezTo>
                    <a:pt x="0" y="6"/>
                    <a:pt x="2" y="8"/>
                    <a:pt x="4" y="8"/>
                  </a:cubicBezTo>
                  <a:cubicBezTo>
                    <a:pt x="9" y="8"/>
                    <a:pt x="9" y="8"/>
                    <a:pt x="9" y="8"/>
                  </a:cubicBezTo>
                  <a:cubicBezTo>
                    <a:pt x="11" y="8"/>
                    <a:pt x="13" y="6"/>
                    <a:pt x="13" y="4"/>
                  </a:cubicBezTo>
                  <a:cubicBezTo>
                    <a:pt x="13" y="2"/>
                    <a:pt x="11" y="0"/>
                    <a:pt x="9"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16" name="Freeform 33"/>
            <p:cNvSpPr>
              <a:spLocks/>
            </p:cNvSpPr>
            <p:nvPr/>
          </p:nvSpPr>
          <p:spPr bwMode="auto">
            <a:xfrm>
              <a:off x="-3328988" y="5348288"/>
              <a:ext cx="49213" cy="30163"/>
            </a:xfrm>
            <a:custGeom>
              <a:avLst/>
              <a:gdLst>
                <a:gd name="T0" fmla="*/ 13 w 13"/>
                <a:gd name="T1" fmla="*/ 4 h 8"/>
                <a:gd name="T2" fmla="*/ 9 w 13"/>
                <a:gd name="T3" fmla="*/ 0 h 8"/>
                <a:gd name="T4" fmla="*/ 4 w 13"/>
                <a:gd name="T5" fmla="*/ 0 h 8"/>
                <a:gd name="T6" fmla="*/ 0 w 13"/>
                <a:gd name="T7" fmla="*/ 4 h 8"/>
                <a:gd name="T8" fmla="*/ 4 w 13"/>
                <a:gd name="T9" fmla="*/ 8 h 8"/>
                <a:gd name="T10" fmla="*/ 9 w 13"/>
                <a:gd name="T11" fmla="*/ 8 h 8"/>
                <a:gd name="T12" fmla="*/ 13 w 13"/>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13" y="4"/>
                  </a:moveTo>
                  <a:cubicBezTo>
                    <a:pt x="13" y="2"/>
                    <a:pt x="11" y="0"/>
                    <a:pt x="9" y="0"/>
                  </a:cubicBezTo>
                  <a:cubicBezTo>
                    <a:pt x="4" y="0"/>
                    <a:pt x="4" y="0"/>
                    <a:pt x="4" y="0"/>
                  </a:cubicBezTo>
                  <a:cubicBezTo>
                    <a:pt x="2" y="0"/>
                    <a:pt x="0" y="2"/>
                    <a:pt x="0" y="4"/>
                  </a:cubicBezTo>
                  <a:cubicBezTo>
                    <a:pt x="0" y="6"/>
                    <a:pt x="2" y="8"/>
                    <a:pt x="4" y="8"/>
                  </a:cubicBezTo>
                  <a:cubicBezTo>
                    <a:pt x="9" y="8"/>
                    <a:pt x="9" y="8"/>
                    <a:pt x="9" y="8"/>
                  </a:cubicBezTo>
                  <a:cubicBezTo>
                    <a:pt x="11" y="8"/>
                    <a:pt x="13" y="6"/>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17" name="Freeform 34"/>
            <p:cNvSpPr>
              <a:spLocks/>
            </p:cNvSpPr>
            <p:nvPr/>
          </p:nvSpPr>
          <p:spPr bwMode="auto">
            <a:xfrm>
              <a:off x="-3089275" y="5438776"/>
              <a:ext cx="46038" cy="44450"/>
            </a:xfrm>
            <a:custGeom>
              <a:avLst/>
              <a:gdLst>
                <a:gd name="T0" fmla="*/ 5 w 12"/>
                <a:gd name="T1" fmla="*/ 10 h 12"/>
                <a:gd name="T2" fmla="*/ 7 w 12"/>
                <a:gd name="T3" fmla="*/ 12 h 12"/>
                <a:gd name="T4" fmla="*/ 10 w 12"/>
                <a:gd name="T5" fmla="*/ 10 h 12"/>
                <a:gd name="T6" fmla="*/ 10 w 12"/>
                <a:gd name="T7" fmla="*/ 5 h 12"/>
                <a:gd name="T8" fmla="*/ 7 w 12"/>
                <a:gd name="T9" fmla="*/ 1 h 12"/>
                <a:gd name="T10" fmla="*/ 1 w 12"/>
                <a:gd name="T11" fmla="*/ 1 h 12"/>
                <a:gd name="T12" fmla="*/ 1 w 12"/>
                <a:gd name="T13" fmla="*/ 7 h 12"/>
                <a:gd name="T14" fmla="*/ 5 w 12"/>
                <a:gd name="T15" fmla="*/ 1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5" y="10"/>
                  </a:moveTo>
                  <a:cubicBezTo>
                    <a:pt x="5" y="11"/>
                    <a:pt x="6" y="12"/>
                    <a:pt x="7" y="12"/>
                  </a:cubicBezTo>
                  <a:cubicBezTo>
                    <a:pt x="9" y="12"/>
                    <a:pt x="10" y="11"/>
                    <a:pt x="10" y="10"/>
                  </a:cubicBezTo>
                  <a:cubicBezTo>
                    <a:pt x="12" y="9"/>
                    <a:pt x="12" y="6"/>
                    <a:pt x="10" y="5"/>
                  </a:cubicBezTo>
                  <a:cubicBezTo>
                    <a:pt x="7" y="1"/>
                    <a:pt x="7" y="1"/>
                    <a:pt x="7" y="1"/>
                  </a:cubicBezTo>
                  <a:cubicBezTo>
                    <a:pt x="5" y="0"/>
                    <a:pt x="3" y="0"/>
                    <a:pt x="1" y="1"/>
                  </a:cubicBezTo>
                  <a:cubicBezTo>
                    <a:pt x="0" y="3"/>
                    <a:pt x="0" y="5"/>
                    <a:pt x="1" y="7"/>
                  </a:cubicBezTo>
                  <a:lnTo>
                    <a:pt x="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18" name="Freeform 35"/>
            <p:cNvSpPr>
              <a:spLocks/>
            </p:cNvSpPr>
            <p:nvPr/>
          </p:nvSpPr>
          <p:spPr bwMode="auto">
            <a:xfrm>
              <a:off x="-3287713" y="5238751"/>
              <a:ext cx="49213" cy="46038"/>
            </a:xfrm>
            <a:custGeom>
              <a:avLst/>
              <a:gdLst>
                <a:gd name="T0" fmla="*/ 7 w 13"/>
                <a:gd name="T1" fmla="*/ 2 h 12"/>
                <a:gd name="T2" fmla="*/ 2 w 13"/>
                <a:gd name="T3" fmla="*/ 2 h 12"/>
                <a:gd name="T4" fmla="*/ 2 w 13"/>
                <a:gd name="T5" fmla="*/ 8 h 12"/>
                <a:gd name="T6" fmla="*/ 5 w 13"/>
                <a:gd name="T7" fmla="*/ 11 h 12"/>
                <a:gd name="T8" fmla="*/ 8 w 13"/>
                <a:gd name="T9" fmla="*/ 12 h 12"/>
                <a:gd name="T10" fmla="*/ 11 w 13"/>
                <a:gd name="T11" fmla="*/ 11 h 12"/>
                <a:gd name="T12" fmla="*/ 11 w 13"/>
                <a:gd name="T13" fmla="*/ 6 h 12"/>
                <a:gd name="T14" fmla="*/ 7 w 13"/>
                <a:gd name="T15" fmla="*/ 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7" y="2"/>
                  </a:moveTo>
                  <a:cubicBezTo>
                    <a:pt x="6" y="0"/>
                    <a:pt x="3" y="0"/>
                    <a:pt x="2" y="2"/>
                  </a:cubicBezTo>
                  <a:cubicBezTo>
                    <a:pt x="0" y="4"/>
                    <a:pt x="0" y="6"/>
                    <a:pt x="2" y="8"/>
                  </a:cubicBezTo>
                  <a:cubicBezTo>
                    <a:pt x="5" y="11"/>
                    <a:pt x="5" y="11"/>
                    <a:pt x="5" y="11"/>
                  </a:cubicBezTo>
                  <a:cubicBezTo>
                    <a:pt x="6" y="12"/>
                    <a:pt x="7" y="12"/>
                    <a:pt x="8" y="12"/>
                  </a:cubicBezTo>
                  <a:cubicBezTo>
                    <a:pt x="9" y="12"/>
                    <a:pt x="10" y="12"/>
                    <a:pt x="11" y="11"/>
                  </a:cubicBezTo>
                  <a:cubicBezTo>
                    <a:pt x="13" y="10"/>
                    <a:pt x="13" y="7"/>
                    <a:pt x="11" y="6"/>
                  </a:cubicBez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19" name="Freeform 36"/>
            <p:cNvSpPr>
              <a:spLocks/>
            </p:cNvSpPr>
            <p:nvPr/>
          </p:nvSpPr>
          <p:spPr bwMode="auto">
            <a:xfrm>
              <a:off x="-3216275" y="5265738"/>
              <a:ext cx="66675" cy="146050"/>
            </a:xfrm>
            <a:custGeom>
              <a:avLst/>
              <a:gdLst>
                <a:gd name="T0" fmla="*/ 18 w 18"/>
                <a:gd name="T1" fmla="*/ 27 h 39"/>
                <a:gd name="T2" fmla="*/ 18 w 18"/>
                <a:gd name="T3" fmla="*/ 4 h 39"/>
                <a:gd name="T4" fmla="*/ 14 w 18"/>
                <a:gd name="T5" fmla="*/ 0 h 39"/>
                <a:gd name="T6" fmla="*/ 10 w 18"/>
                <a:gd name="T7" fmla="*/ 4 h 39"/>
                <a:gd name="T8" fmla="*/ 10 w 18"/>
                <a:gd name="T9" fmla="*/ 25 h 39"/>
                <a:gd name="T10" fmla="*/ 2 w 18"/>
                <a:gd name="T11" fmla="*/ 32 h 39"/>
                <a:gd name="T12" fmla="*/ 1 w 18"/>
                <a:gd name="T13" fmla="*/ 38 h 39"/>
                <a:gd name="T14" fmla="*/ 4 w 18"/>
                <a:gd name="T15" fmla="*/ 39 h 39"/>
                <a:gd name="T16" fmla="*/ 7 w 18"/>
                <a:gd name="T17" fmla="*/ 38 h 39"/>
                <a:gd name="T18" fmla="*/ 16 w 18"/>
                <a:gd name="T19" fmla="*/ 30 h 39"/>
                <a:gd name="T20" fmla="*/ 18 w 18"/>
                <a:gd name="T21"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39">
                  <a:moveTo>
                    <a:pt x="18" y="27"/>
                  </a:moveTo>
                  <a:cubicBezTo>
                    <a:pt x="18" y="4"/>
                    <a:pt x="18" y="4"/>
                    <a:pt x="18" y="4"/>
                  </a:cubicBezTo>
                  <a:cubicBezTo>
                    <a:pt x="18" y="1"/>
                    <a:pt x="16" y="0"/>
                    <a:pt x="14" y="0"/>
                  </a:cubicBezTo>
                  <a:cubicBezTo>
                    <a:pt x="11" y="0"/>
                    <a:pt x="10" y="1"/>
                    <a:pt x="10" y="4"/>
                  </a:cubicBezTo>
                  <a:cubicBezTo>
                    <a:pt x="10" y="25"/>
                    <a:pt x="10" y="25"/>
                    <a:pt x="10" y="25"/>
                  </a:cubicBezTo>
                  <a:cubicBezTo>
                    <a:pt x="2" y="32"/>
                    <a:pt x="2" y="32"/>
                    <a:pt x="2" y="32"/>
                  </a:cubicBezTo>
                  <a:cubicBezTo>
                    <a:pt x="0" y="33"/>
                    <a:pt x="0" y="36"/>
                    <a:pt x="1" y="38"/>
                  </a:cubicBezTo>
                  <a:cubicBezTo>
                    <a:pt x="2" y="39"/>
                    <a:pt x="3" y="39"/>
                    <a:pt x="4" y="39"/>
                  </a:cubicBezTo>
                  <a:cubicBezTo>
                    <a:pt x="5" y="39"/>
                    <a:pt x="6" y="39"/>
                    <a:pt x="7" y="38"/>
                  </a:cubicBezTo>
                  <a:cubicBezTo>
                    <a:pt x="16" y="30"/>
                    <a:pt x="16" y="30"/>
                    <a:pt x="16" y="30"/>
                  </a:cubicBezTo>
                  <a:cubicBezTo>
                    <a:pt x="17" y="29"/>
                    <a:pt x="18" y="28"/>
                    <a:pt x="18"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20" name="Freeform 37"/>
            <p:cNvSpPr>
              <a:spLocks noEditPoints="1"/>
            </p:cNvSpPr>
            <p:nvPr/>
          </p:nvSpPr>
          <p:spPr bwMode="auto">
            <a:xfrm>
              <a:off x="-3659188" y="5956301"/>
              <a:ext cx="303213" cy="179388"/>
            </a:xfrm>
            <a:custGeom>
              <a:avLst/>
              <a:gdLst>
                <a:gd name="T0" fmla="*/ 4 w 81"/>
                <a:gd name="T1" fmla="*/ 48 h 48"/>
                <a:gd name="T2" fmla="*/ 77 w 81"/>
                <a:gd name="T3" fmla="*/ 48 h 48"/>
                <a:gd name="T4" fmla="*/ 81 w 81"/>
                <a:gd name="T5" fmla="*/ 44 h 48"/>
                <a:gd name="T6" fmla="*/ 81 w 81"/>
                <a:gd name="T7" fmla="*/ 25 h 48"/>
                <a:gd name="T8" fmla="*/ 57 w 81"/>
                <a:gd name="T9" fmla="*/ 0 h 48"/>
                <a:gd name="T10" fmla="*/ 57 w 81"/>
                <a:gd name="T11" fmla="*/ 0 h 48"/>
                <a:gd name="T12" fmla="*/ 56 w 81"/>
                <a:gd name="T13" fmla="*/ 0 h 48"/>
                <a:gd name="T14" fmla="*/ 55 w 81"/>
                <a:gd name="T15" fmla="*/ 0 h 48"/>
                <a:gd name="T16" fmla="*/ 54 w 81"/>
                <a:gd name="T17" fmla="*/ 0 h 48"/>
                <a:gd name="T18" fmla="*/ 54 w 81"/>
                <a:gd name="T19" fmla="*/ 1 h 48"/>
                <a:gd name="T20" fmla="*/ 53 w 81"/>
                <a:gd name="T21" fmla="*/ 1 h 48"/>
                <a:gd name="T22" fmla="*/ 53 w 81"/>
                <a:gd name="T23" fmla="*/ 2 h 48"/>
                <a:gd name="T24" fmla="*/ 53 w 81"/>
                <a:gd name="T25" fmla="*/ 2 h 48"/>
                <a:gd name="T26" fmla="*/ 40 w 81"/>
                <a:gd name="T27" fmla="*/ 10 h 48"/>
                <a:gd name="T28" fmla="*/ 28 w 81"/>
                <a:gd name="T29" fmla="*/ 2 h 48"/>
                <a:gd name="T30" fmla="*/ 28 w 81"/>
                <a:gd name="T31" fmla="*/ 2 h 48"/>
                <a:gd name="T32" fmla="*/ 27 w 81"/>
                <a:gd name="T33" fmla="*/ 1 h 48"/>
                <a:gd name="T34" fmla="*/ 27 w 81"/>
                <a:gd name="T35" fmla="*/ 1 h 48"/>
                <a:gd name="T36" fmla="*/ 26 w 81"/>
                <a:gd name="T37" fmla="*/ 0 h 48"/>
                <a:gd name="T38" fmla="*/ 25 w 81"/>
                <a:gd name="T39" fmla="*/ 0 h 48"/>
                <a:gd name="T40" fmla="*/ 25 w 81"/>
                <a:gd name="T41" fmla="*/ 0 h 48"/>
                <a:gd name="T42" fmla="*/ 24 w 81"/>
                <a:gd name="T43" fmla="*/ 0 h 48"/>
                <a:gd name="T44" fmla="*/ 24 w 81"/>
                <a:gd name="T45" fmla="*/ 0 h 48"/>
                <a:gd name="T46" fmla="*/ 0 w 81"/>
                <a:gd name="T47" fmla="*/ 25 h 48"/>
                <a:gd name="T48" fmla="*/ 0 w 81"/>
                <a:gd name="T49" fmla="*/ 44 h 48"/>
                <a:gd name="T50" fmla="*/ 4 w 81"/>
                <a:gd name="T51" fmla="*/ 48 h 48"/>
                <a:gd name="T52" fmla="*/ 8 w 81"/>
                <a:gd name="T53" fmla="*/ 25 h 48"/>
                <a:gd name="T54" fmla="*/ 22 w 81"/>
                <a:gd name="T55" fmla="*/ 8 h 48"/>
                <a:gd name="T56" fmla="*/ 40 w 81"/>
                <a:gd name="T57" fmla="*/ 18 h 48"/>
                <a:gd name="T58" fmla="*/ 58 w 81"/>
                <a:gd name="T59" fmla="*/ 8 h 48"/>
                <a:gd name="T60" fmla="*/ 73 w 81"/>
                <a:gd name="T61" fmla="*/ 25 h 48"/>
                <a:gd name="T62" fmla="*/ 73 w 81"/>
                <a:gd name="T63" fmla="*/ 40 h 48"/>
                <a:gd name="T64" fmla="*/ 63 w 81"/>
                <a:gd name="T65" fmla="*/ 40 h 48"/>
                <a:gd name="T66" fmla="*/ 63 w 81"/>
                <a:gd name="T67" fmla="*/ 29 h 48"/>
                <a:gd name="T68" fmla="*/ 59 w 81"/>
                <a:gd name="T69" fmla="*/ 25 h 48"/>
                <a:gd name="T70" fmla="*/ 55 w 81"/>
                <a:gd name="T71" fmla="*/ 29 h 48"/>
                <a:gd name="T72" fmla="*/ 55 w 81"/>
                <a:gd name="T73" fmla="*/ 40 h 48"/>
                <a:gd name="T74" fmla="*/ 25 w 81"/>
                <a:gd name="T75" fmla="*/ 40 h 48"/>
                <a:gd name="T76" fmla="*/ 25 w 81"/>
                <a:gd name="T77" fmla="*/ 29 h 48"/>
                <a:gd name="T78" fmla="*/ 21 w 81"/>
                <a:gd name="T79" fmla="*/ 25 h 48"/>
                <a:gd name="T80" fmla="*/ 17 w 81"/>
                <a:gd name="T81" fmla="*/ 29 h 48"/>
                <a:gd name="T82" fmla="*/ 17 w 81"/>
                <a:gd name="T83" fmla="*/ 40 h 48"/>
                <a:gd name="T84" fmla="*/ 8 w 81"/>
                <a:gd name="T85" fmla="*/ 40 h 48"/>
                <a:gd name="T86" fmla="*/ 8 w 81"/>
                <a:gd name="T87" fmla="*/ 2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 h="48">
                  <a:moveTo>
                    <a:pt x="4" y="48"/>
                  </a:moveTo>
                  <a:cubicBezTo>
                    <a:pt x="77" y="48"/>
                    <a:pt x="77" y="48"/>
                    <a:pt x="77" y="48"/>
                  </a:cubicBezTo>
                  <a:cubicBezTo>
                    <a:pt x="79" y="48"/>
                    <a:pt x="81" y="46"/>
                    <a:pt x="81" y="44"/>
                  </a:cubicBezTo>
                  <a:cubicBezTo>
                    <a:pt x="81" y="25"/>
                    <a:pt x="81" y="25"/>
                    <a:pt x="81" y="25"/>
                  </a:cubicBezTo>
                  <a:cubicBezTo>
                    <a:pt x="81" y="12"/>
                    <a:pt x="70" y="1"/>
                    <a:pt x="57" y="0"/>
                  </a:cubicBezTo>
                  <a:cubicBezTo>
                    <a:pt x="57" y="0"/>
                    <a:pt x="57" y="0"/>
                    <a:pt x="57" y="0"/>
                  </a:cubicBezTo>
                  <a:cubicBezTo>
                    <a:pt x="56" y="0"/>
                    <a:pt x="56" y="0"/>
                    <a:pt x="56" y="0"/>
                  </a:cubicBezTo>
                  <a:cubicBezTo>
                    <a:pt x="55" y="0"/>
                    <a:pt x="55" y="0"/>
                    <a:pt x="55" y="0"/>
                  </a:cubicBezTo>
                  <a:cubicBezTo>
                    <a:pt x="55" y="0"/>
                    <a:pt x="54" y="0"/>
                    <a:pt x="54" y="0"/>
                  </a:cubicBezTo>
                  <a:cubicBezTo>
                    <a:pt x="54" y="0"/>
                    <a:pt x="54" y="0"/>
                    <a:pt x="54" y="1"/>
                  </a:cubicBezTo>
                  <a:cubicBezTo>
                    <a:pt x="54" y="1"/>
                    <a:pt x="53" y="1"/>
                    <a:pt x="53" y="1"/>
                  </a:cubicBezTo>
                  <a:cubicBezTo>
                    <a:pt x="53" y="1"/>
                    <a:pt x="53" y="2"/>
                    <a:pt x="53" y="2"/>
                  </a:cubicBezTo>
                  <a:cubicBezTo>
                    <a:pt x="53" y="2"/>
                    <a:pt x="53" y="2"/>
                    <a:pt x="53" y="2"/>
                  </a:cubicBezTo>
                  <a:cubicBezTo>
                    <a:pt x="50" y="7"/>
                    <a:pt x="46" y="10"/>
                    <a:pt x="40" y="10"/>
                  </a:cubicBezTo>
                  <a:cubicBezTo>
                    <a:pt x="35" y="10"/>
                    <a:pt x="30" y="7"/>
                    <a:pt x="28" y="2"/>
                  </a:cubicBezTo>
                  <a:cubicBezTo>
                    <a:pt x="28" y="2"/>
                    <a:pt x="28" y="2"/>
                    <a:pt x="28" y="2"/>
                  </a:cubicBezTo>
                  <a:cubicBezTo>
                    <a:pt x="27" y="2"/>
                    <a:pt x="27" y="1"/>
                    <a:pt x="27" y="1"/>
                  </a:cubicBezTo>
                  <a:cubicBezTo>
                    <a:pt x="27" y="1"/>
                    <a:pt x="27" y="1"/>
                    <a:pt x="27" y="1"/>
                  </a:cubicBezTo>
                  <a:cubicBezTo>
                    <a:pt x="26" y="0"/>
                    <a:pt x="26" y="0"/>
                    <a:pt x="26" y="0"/>
                  </a:cubicBezTo>
                  <a:cubicBezTo>
                    <a:pt x="26" y="0"/>
                    <a:pt x="26" y="0"/>
                    <a:pt x="25" y="0"/>
                  </a:cubicBezTo>
                  <a:cubicBezTo>
                    <a:pt x="25" y="0"/>
                    <a:pt x="25" y="0"/>
                    <a:pt x="25" y="0"/>
                  </a:cubicBezTo>
                  <a:cubicBezTo>
                    <a:pt x="24" y="0"/>
                    <a:pt x="24" y="0"/>
                    <a:pt x="24" y="0"/>
                  </a:cubicBezTo>
                  <a:cubicBezTo>
                    <a:pt x="24" y="0"/>
                    <a:pt x="24" y="0"/>
                    <a:pt x="24" y="0"/>
                  </a:cubicBezTo>
                  <a:cubicBezTo>
                    <a:pt x="10" y="1"/>
                    <a:pt x="0" y="12"/>
                    <a:pt x="0" y="25"/>
                  </a:cubicBezTo>
                  <a:cubicBezTo>
                    <a:pt x="0" y="44"/>
                    <a:pt x="0" y="44"/>
                    <a:pt x="0" y="44"/>
                  </a:cubicBezTo>
                  <a:cubicBezTo>
                    <a:pt x="0" y="46"/>
                    <a:pt x="1" y="48"/>
                    <a:pt x="4" y="48"/>
                  </a:cubicBezTo>
                  <a:close/>
                  <a:moveTo>
                    <a:pt x="8" y="25"/>
                  </a:moveTo>
                  <a:cubicBezTo>
                    <a:pt x="8" y="17"/>
                    <a:pt x="14" y="10"/>
                    <a:pt x="22" y="8"/>
                  </a:cubicBezTo>
                  <a:cubicBezTo>
                    <a:pt x="26" y="14"/>
                    <a:pt x="33" y="18"/>
                    <a:pt x="40" y="18"/>
                  </a:cubicBezTo>
                  <a:cubicBezTo>
                    <a:pt x="48" y="18"/>
                    <a:pt x="54" y="14"/>
                    <a:pt x="58" y="8"/>
                  </a:cubicBezTo>
                  <a:cubicBezTo>
                    <a:pt x="67" y="10"/>
                    <a:pt x="73" y="17"/>
                    <a:pt x="73" y="25"/>
                  </a:cubicBezTo>
                  <a:cubicBezTo>
                    <a:pt x="73" y="40"/>
                    <a:pt x="73" y="40"/>
                    <a:pt x="73" y="40"/>
                  </a:cubicBezTo>
                  <a:cubicBezTo>
                    <a:pt x="63" y="40"/>
                    <a:pt x="63" y="40"/>
                    <a:pt x="63" y="40"/>
                  </a:cubicBezTo>
                  <a:cubicBezTo>
                    <a:pt x="63" y="29"/>
                    <a:pt x="63" y="29"/>
                    <a:pt x="63" y="29"/>
                  </a:cubicBezTo>
                  <a:cubicBezTo>
                    <a:pt x="63" y="27"/>
                    <a:pt x="62" y="25"/>
                    <a:pt x="59" y="25"/>
                  </a:cubicBezTo>
                  <a:cubicBezTo>
                    <a:pt x="57" y="25"/>
                    <a:pt x="55" y="27"/>
                    <a:pt x="55" y="29"/>
                  </a:cubicBezTo>
                  <a:cubicBezTo>
                    <a:pt x="55" y="40"/>
                    <a:pt x="55" y="40"/>
                    <a:pt x="55" y="40"/>
                  </a:cubicBezTo>
                  <a:cubicBezTo>
                    <a:pt x="25" y="40"/>
                    <a:pt x="25" y="40"/>
                    <a:pt x="25" y="40"/>
                  </a:cubicBezTo>
                  <a:cubicBezTo>
                    <a:pt x="25" y="29"/>
                    <a:pt x="25" y="29"/>
                    <a:pt x="25" y="29"/>
                  </a:cubicBezTo>
                  <a:cubicBezTo>
                    <a:pt x="25" y="27"/>
                    <a:pt x="23" y="25"/>
                    <a:pt x="21" y="25"/>
                  </a:cubicBezTo>
                  <a:cubicBezTo>
                    <a:pt x="19" y="25"/>
                    <a:pt x="17" y="27"/>
                    <a:pt x="17" y="29"/>
                  </a:cubicBezTo>
                  <a:cubicBezTo>
                    <a:pt x="17" y="40"/>
                    <a:pt x="17" y="40"/>
                    <a:pt x="17" y="40"/>
                  </a:cubicBezTo>
                  <a:cubicBezTo>
                    <a:pt x="8" y="40"/>
                    <a:pt x="8" y="40"/>
                    <a:pt x="8" y="40"/>
                  </a:cubicBezTo>
                  <a:lnTo>
                    <a:pt x="8"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21" name="Freeform 38"/>
            <p:cNvSpPr>
              <a:spLocks noEditPoints="1"/>
            </p:cNvSpPr>
            <p:nvPr/>
          </p:nvSpPr>
          <p:spPr bwMode="auto">
            <a:xfrm>
              <a:off x="-3595688" y="5764213"/>
              <a:ext cx="173038" cy="195263"/>
            </a:xfrm>
            <a:custGeom>
              <a:avLst/>
              <a:gdLst>
                <a:gd name="T0" fmla="*/ 23 w 46"/>
                <a:gd name="T1" fmla="*/ 52 h 52"/>
                <a:gd name="T2" fmla="*/ 46 w 46"/>
                <a:gd name="T3" fmla="*/ 23 h 52"/>
                <a:gd name="T4" fmla="*/ 23 w 46"/>
                <a:gd name="T5" fmla="*/ 0 h 52"/>
                <a:gd name="T6" fmla="*/ 0 w 46"/>
                <a:gd name="T7" fmla="*/ 23 h 52"/>
                <a:gd name="T8" fmla="*/ 23 w 46"/>
                <a:gd name="T9" fmla="*/ 52 h 52"/>
                <a:gd name="T10" fmla="*/ 23 w 46"/>
                <a:gd name="T11" fmla="*/ 8 h 52"/>
                <a:gd name="T12" fmla="*/ 38 w 46"/>
                <a:gd name="T13" fmla="*/ 23 h 52"/>
                <a:gd name="T14" fmla="*/ 23 w 46"/>
                <a:gd name="T15" fmla="*/ 44 h 52"/>
                <a:gd name="T16" fmla="*/ 8 w 46"/>
                <a:gd name="T17" fmla="*/ 23 h 52"/>
                <a:gd name="T18" fmla="*/ 23 w 46"/>
                <a:gd name="T19"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52">
                  <a:moveTo>
                    <a:pt x="23" y="52"/>
                  </a:moveTo>
                  <a:cubicBezTo>
                    <a:pt x="36" y="52"/>
                    <a:pt x="46" y="35"/>
                    <a:pt x="46" y="23"/>
                  </a:cubicBezTo>
                  <a:cubicBezTo>
                    <a:pt x="46" y="11"/>
                    <a:pt x="36" y="0"/>
                    <a:pt x="23" y="0"/>
                  </a:cubicBezTo>
                  <a:cubicBezTo>
                    <a:pt x="11" y="0"/>
                    <a:pt x="0" y="11"/>
                    <a:pt x="0" y="23"/>
                  </a:cubicBezTo>
                  <a:cubicBezTo>
                    <a:pt x="0" y="35"/>
                    <a:pt x="10" y="52"/>
                    <a:pt x="23" y="52"/>
                  </a:cubicBezTo>
                  <a:close/>
                  <a:moveTo>
                    <a:pt x="23" y="8"/>
                  </a:moveTo>
                  <a:cubicBezTo>
                    <a:pt x="31" y="8"/>
                    <a:pt x="38" y="15"/>
                    <a:pt x="38" y="23"/>
                  </a:cubicBezTo>
                  <a:cubicBezTo>
                    <a:pt x="38" y="32"/>
                    <a:pt x="30" y="44"/>
                    <a:pt x="23" y="44"/>
                  </a:cubicBezTo>
                  <a:cubicBezTo>
                    <a:pt x="16" y="44"/>
                    <a:pt x="8" y="32"/>
                    <a:pt x="8" y="23"/>
                  </a:cubicBezTo>
                  <a:cubicBezTo>
                    <a:pt x="8" y="15"/>
                    <a:pt x="15"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22" name="Freeform 39"/>
            <p:cNvSpPr>
              <a:spLocks noEditPoints="1"/>
            </p:cNvSpPr>
            <p:nvPr/>
          </p:nvSpPr>
          <p:spPr bwMode="auto">
            <a:xfrm>
              <a:off x="-3524250" y="5145088"/>
              <a:ext cx="712788" cy="593725"/>
            </a:xfrm>
            <a:custGeom>
              <a:avLst/>
              <a:gdLst>
                <a:gd name="T0" fmla="*/ 4 w 190"/>
                <a:gd name="T1" fmla="*/ 158 h 158"/>
                <a:gd name="T2" fmla="*/ 8 w 190"/>
                <a:gd name="T3" fmla="*/ 154 h 158"/>
                <a:gd name="T4" fmla="*/ 8 w 190"/>
                <a:gd name="T5" fmla="*/ 140 h 158"/>
                <a:gd name="T6" fmla="*/ 182 w 190"/>
                <a:gd name="T7" fmla="*/ 140 h 158"/>
                <a:gd name="T8" fmla="*/ 182 w 190"/>
                <a:gd name="T9" fmla="*/ 154 h 158"/>
                <a:gd name="T10" fmla="*/ 186 w 190"/>
                <a:gd name="T11" fmla="*/ 158 h 158"/>
                <a:gd name="T12" fmla="*/ 190 w 190"/>
                <a:gd name="T13" fmla="*/ 154 h 158"/>
                <a:gd name="T14" fmla="*/ 190 w 190"/>
                <a:gd name="T15" fmla="*/ 136 h 158"/>
                <a:gd name="T16" fmla="*/ 186 w 190"/>
                <a:gd name="T17" fmla="*/ 132 h 158"/>
                <a:gd name="T18" fmla="*/ 100 w 190"/>
                <a:gd name="T19" fmla="*/ 132 h 158"/>
                <a:gd name="T20" fmla="*/ 100 w 190"/>
                <a:gd name="T21" fmla="*/ 115 h 158"/>
                <a:gd name="T22" fmla="*/ 153 w 190"/>
                <a:gd name="T23" fmla="*/ 58 h 158"/>
                <a:gd name="T24" fmla="*/ 96 w 190"/>
                <a:gd name="T25" fmla="*/ 0 h 158"/>
                <a:gd name="T26" fmla="*/ 38 w 190"/>
                <a:gd name="T27" fmla="*/ 58 h 158"/>
                <a:gd name="T28" fmla="*/ 92 w 190"/>
                <a:gd name="T29" fmla="*/ 115 h 158"/>
                <a:gd name="T30" fmla="*/ 92 w 190"/>
                <a:gd name="T31" fmla="*/ 132 h 158"/>
                <a:gd name="T32" fmla="*/ 4 w 190"/>
                <a:gd name="T33" fmla="*/ 132 h 158"/>
                <a:gd name="T34" fmla="*/ 0 w 190"/>
                <a:gd name="T35" fmla="*/ 136 h 158"/>
                <a:gd name="T36" fmla="*/ 0 w 190"/>
                <a:gd name="T37" fmla="*/ 154 h 158"/>
                <a:gd name="T38" fmla="*/ 4 w 190"/>
                <a:gd name="T39" fmla="*/ 158 h 158"/>
                <a:gd name="T40" fmla="*/ 46 w 190"/>
                <a:gd name="T41" fmla="*/ 58 h 158"/>
                <a:gd name="T42" fmla="*/ 96 w 190"/>
                <a:gd name="T43" fmla="*/ 8 h 158"/>
                <a:gd name="T44" fmla="*/ 145 w 190"/>
                <a:gd name="T45" fmla="*/ 58 h 158"/>
                <a:gd name="T46" fmla="*/ 96 w 190"/>
                <a:gd name="T47" fmla="*/ 107 h 158"/>
                <a:gd name="T48" fmla="*/ 46 w 190"/>
                <a:gd name="T49"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 h="158">
                  <a:moveTo>
                    <a:pt x="4" y="158"/>
                  </a:moveTo>
                  <a:cubicBezTo>
                    <a:pt x="6" y="158"/>
                    <a:pt x="8" y="156"/>
                    <a:pt x="8" y="154"/>
                  </a:cubicBezTo>
                  <a:cubicBezTo>
                    <a:pt x="8" y="140"/>
                    <a:pt x="8" y="140"/>
                    <a:pt x="8" y="140"/>
                  </a:cubicBezTo>
                  <a:cubicBezTo>
                    <a:pt x="182" y="140"/>
                    <a:pt x="182" y="140"/>
                    <a:pt x="182" y="140"/>
                  </a:cubicBezTo>
                  <a:cubicBezTo>
                    <a:pt x="182" y="154"/>
                    <a:pt x="182" y="154"/>
                    <a:pt x="182" y="154"/>
                  </a:cubicBezTo>
                  <a:cubicBezTo>
                    <a:pt x="182" y="156"/>
                    <a:pt x="184" y="158"/>
                    <a:pt x="186" y="158"/>
                  </a:cubicBezTo>
                  <a:cubicBezTo>
                    <a:pt x="188" y="158"/>
                    <a:pt x="190" y="156"/>
                    <a:pt x="190" y="154"/>
                  </a:cubicBezTo>
                  <a:cubicBezTo>
                    <a:pt x="190" y="136"/>
                    <a:pt x="190" y="136"/>
                    <a:pt x="190" y="136"/>
                  </a:cubicBezTo>
                  <a:cubicBezTo>
                    <a:pt x="190" y="134"/>
                    <a:pt x="188" y="132"/>
                    <a:pt x="186" y="132"/>
                  </a:cubicBezTo>
                  <a:cubicBezTo>
                    <a:pt x="100" y="132"/>
                    <a:pt x="100" y="132"/>
                    <a:pt x="100" y="132"/>
                  </a:cubicBezTo>
                  <a:cubicBezTo>
                    <a:pt x="100" y="115"/>
                    <a:pt x="100" y="115"/>
                    <a:pt x="100" y="115"/>
                  </a:cubicBezTo>
                  <a:cubicBezTo>
                    <a:pt x="130" y="113"/>
                    <a:pt x="153" y="88"/>
                    <a:pt x="153" y="58"/>
                  </a:cubicBezTo>
                  <a:cubicBezTo>
                    <a:pt x="153" y="26"/>
                    <a:pt x="127" y="0"/>
                    <a:pt x="96" y="0"/>
                  </a:cubicBezTo>
                  <a:cubicBezTo>
                    <a:pt x="64" y="0"/>
                    <a:pt x="38" y="26"/>
                    <a:pt x="38" y="58"/>
                  </a:cubicBezTo>
                  <a:cubicBezTo>
                    <a:pt x="38" y="88"/>
                    <a:pt x="62" y="113"/>
                    <a:pt x="92" y="115"/>
                  </a:cubicBezTo>
                  <a:cubicBezTo>
                    <a:pt x="92" y="132"/>
                    <a:pt x="92" y="132"/>
                    <a:pt x="92" y="132"/>
                  </a:cubicBezTo>
                  <a:cubicBezTo>
                    <a:pt x="4" y="132"/>
                    <a:pt x="4" y="132"/>
                    <a:pt x="4" y="132"/>
                  </a:cubicBezTo>
                  <a:cubicBezTo>
                    <a:pt x="2" y="132"/>
                    <a:pt x="0" y="134"/>
                    <a:pt x="0" y="136"/>
                  </a:cubicBezTo>
                  <a:cubicBezTo>
                    <a:pt x="0" y="154"/>
                    <a:pt x="0" y="154"/>
                    <a:pt x="0" y="154"/>
                  </a:cubicBezTo>
                  <a:cubicBezTo>
                    <a:pt x="0" y="156"/>
                    <a:pt x="2" y="158"/>
                    <a:pt x="4" y="158"/>
                  </a:cubicBezTo>
                  <a:close/>
                  <a:moveTo>
                    <a:pt x="46" y="58"/>
                  </a:moveTo>
                  <a:cubicBezTo>
                    <a:pt x="46" y="30"/>
                    <a:pt x="68" y="8"/>
                    <a:pt x="96" y="8"/>
                  </a:cubicBezTo>
                  <a:cubicBezTo>
                    <a:pt x="123" y="8"/>
                    <a:pt x="145" y="30"/>
                    <a:pt x="145" y="58"/>
                  </a:cubicBezTo>
                  <a:cubicBezTo>
                    <a:pt x="145" y="85"/>
                    <a:pt x="123" y="107"/>
                    <a:pt x="96" y="107"/>
                  </a:cubicBezTo>
                  <a:cubicBezTo>
                    <a:pt x="68" y="107"/>
                    <a:pt x="46" y="85"/>
                    <a:pt x="4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23" name="Freeform 40"/>
            <p:cNvSpPr>
              <a:spLocks noEditPoints="1"/>
            </p:cNvSpPr>
            <p:nvPr/>
          </p:nvSpPr>
          <p:spPr bwMode="auto">
            <a:xfrm>
              <a:off x="-2979738" y="5956301"/>
              <a:ext cx="303213" cy="179388"/>
            </a:xfrm>
            <a:custGeom>
              <a:avLst/>
              <a:gdLst>
                <a:gd name="T0" fmla="*/ 57 w 81"/>
                <a:gd name="T1" fmla="*/ 0 h 48"/>
                <a:gd name="T2" fmla="*/ 56 w 81"/>
                <a:gd name="T3" fmla="*/ 0 h 48"/>
                <a:gd name="T4" fmla="*/ 56 w 81"/>
                <a:gd name="T5" fmla="*/ 0 h 48"/>
                <a:gd name="T6" fmla="*/ 55 w 81"/>
                <a:gd name="T7" fmla="*/ 0 h 48"/>
                <a:gd name="T8" fmla="*/ 55 w 81"/>
                <a:gd name="T9" fmla="*/ 1 h 48"/>
                <a:gd name="T10" fmla="*/ 54 w 81"/>
                <a:gd name="T11" fmla="*/ 1 h 48"/>
                <a:gd name="T12" fmla="*/ 54 w 81"/>
                <a:gd name="T13" fmla="*/ 2 h 48"/>
                <a:gd name="T14" fmla="*/ 53 w 81"/>
                <a:gd name="T15" fmla="*/ 2 h 48"/>
                <a:gd name="T16" fmla="*/ 41 w 81"/>
                <a:gd name="T17" fmla="*/ 10 h 48"/>
                <a:gd name="T18" fmla="*/ 28 w 81"/>
                <a:gd name="T19" fmla="*/ 2 h 48"/>
                <a:gd name="T20" fmla="*/ 28 w 81"/>
                <a:gd name="T21" fmla="*/ 2 h 48"/>
                <a:gd name="T22" fmla="*/ 28 w 81"/>
                <a:gd name="T23" fmla="*/ 1 h 48"/>
                <a:gd name="T24" fmla="*/ 27 w 81"/>
                <a:gd name="T25" fmla="*/ 1 h 48"/>
                <a:gd name="T26" fmla="*/ 27 w 81"/>
                <a:gd name="T27" fmla="*/ 0 h 48"/>
                <a:gd name="T28" fmla="*/ 26 w 81"/>
                <a:gd name="T29" fmla="*/ 0 h 48"/>
                <a:gd name="T30" fmla="*/ 25 w 81"/>
                <a:gd name="T31" fmla="*/ 0 h 48"/>
                <a:gd name="T32" fmla="*/ 24 w 81"/>
                <a:gd name="T33" fmla="*/ 0 h 48"/>
                <a:gd name="T34" fmla="*/ 24 w 81"/>
                <a:gd name="T35" fmla="*/ 0 h 48"/>
                <a:gd name="T36" fmla="*/ 0 w 81"/>
                <a:gd name="T37" fmla="*/ 25 h 48"/>
                <a:gd name="T38" fmla="*/ 0 w 81"/>
                <a:gd name="T39" fmla="*/ 44 h 48"/>
                <a:gd name="T40" fmla="*/ 4 w 81"/>
                <a:gd name="T41" fmla="*/ 48 h 48"/>
                <a:gd name="T42" fmla="*/ 77 w 81"/>
                <a:gd name="T43" fmla="*/ 48 h 48"/>
                <a:gd name="T44" fmla="*/ 81 w 81"/>
                <a:gd name="T45" fmla="*/ 44 h 48"/>
                <a:gd name="T46" fmla="*/ 81 w 81"/>
                <a:gd name="T47" fmla="*/ 25 h 48"/>
                <a:gd name="T48" fmla="*/ 57 w 81"/>
                <a:gd name="T49" fmla="*/ 0 h 48"/>
                <a:gd name="T50" fmla="*/ 57 w 81"/>
                <a:gd name="T51" fmla="*/ 0 h 48"/>
                <a:gd name="T52" fmla="*/ 73 w 81"/>
                <a:gd name="T53" fmla="*/ 25 h 48"/>
                <a:gd name="T54" fmla="*/ 73 w 81"/>
                <a:gd name="T55" fmla="*/ 40 h 48"/>
                <a:gd name="T56" fmla="*/ 64 w 81"/>
                <a:gd name="T57" fmla="*/ 40 h 48"/>
                <a:gd name="T58" fmla="*/ 64 w 81"/>
                <a:gd name="T59" fmla="*/ 29 h 48"/>
                <a:gd name="T60" fmla="*/ 60 w 81"/>
                <a:gd name="T61" fmla="*/ 25 h 48"/>
                <a:gd name="T62" fmla="*/ 56 w 81"/>
                <a:gd name="T63" fmla="*/ 29 h 48"/>
                <a:gd name="T64" fmla="*/ 56 w 81"/>
                <a:gd name="T65" fmla="*/ 40 h 48"/>
                <a:gd name="T66" fmla="*/ 26 w 81"/>
                <a:gd name="T67" fmla="*/ 40 h 48"/>
                <a:gd name="T68" fmla="*/ 26 w 81"/>
                <a:gd name="T69" fmla="*/ 29 h 48"/>
                <a:gd name="T70" fmla="*/ 22 w 81"/>
                <a:gd name="T71" fmla="*/ 25 h 48"/>
                <a:gd name="T72" fmla="*/ 18 w 81"/>
                <a:gd name="T73" fmla="*/ 29 h 48"/>
                <a:gd name="T74" fmla="*/ 18 w 81"/>
                <a:gd name="T75" fmla="*/ 40 h 48"/>
                <a:gd name="T76" fmla="*/ 8 w 81"/>
                <a:gd name="T77" fmla="*/ 40 h 48"/>
                <a:gd name="T78" fmla="*/ 8 w 81"/>
                <a:gd name="T79" fmla="*/ 25 h 48"/>
                <a:gd name="T80" fmla="*/ 23 w 81"/>
                <a:gd name="T81" fmla="*/ 8 h 48"/>
                <a:gd name="T82" fmla="*/ 41 w 81"/>
                <a:gd name="T83" fmla="*/ 18 h 48"/>
                <a:gd name="T84" fmla="*/ 59 w 81"/>
                <a:gd name="T85" fmla="*/ 8 h 48"/>
                <a:gd name="T86" fmla="*/ 73 w 81"/>
                <a:gd name="T87" fmla="*/ 2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 h="48">
                  <a:moveTo>
                    <a:pt x="57" y="0"/>
                  </a:moveTo>
                  <a:cubicBezTo>
                    <a:pt x="57" y="0"/>
                    <a:pt x="57" y="0"/>
                    <a:pt x="56" y="0"/>
                  </a:cubicBezTo>
                  <a:cubicBezTo>
                    <a:pt x="56" y="0"/>
                    <a:pt x="56" y="0"/>
                    <a:pt x="56" y="0"/>
                  </a:cubicBezTo>
                  <a:cubicBezTo>
                    <a:pt x="55" y="0"/>
                    <a:pt x="55" y="0"/>
                    <a:pt x="55" y="0"/>
                  </a:cubicBezTo>
                  <a:cubicBezTo>
                    <a:pt x="55" y="0"/>
                    <a:pt x="55" y="0"/>
                    <a:pt x="55" y="1"/>
                  </a:cubicBezTo>
                  <a:cubicBezTo>
                    <a:pt x="54" y="1"/>
                    <a:pt x="54" y="1"/>
                    <a:pt x="54" y="1"/>
                  </a:cubicBezTo>
                  <a:cubicBezTo>
                    <a:pt x="54" y="1"/>
                    <a:pt x="54" y="2"/>
                    <a:pt x="54" y="2"/>
                  </a:cubicBezTo>
                  <a:cubicBezTo>
                    <a:pt x="53" y="2"/>
                    <a:pt x="53" y="2"/>
                    <a:pt x="53" y="2"/>
                  </a:cubicBezTo>
                  <a:cubicBezTo>
                    <a:pt x="51" y="7"/>
                    <a:pt x="46" y="10"/>
                    <a:pt x="41" y="10"/>
                  </a:cubicBezTo>
                  <a:cubicBezTo>
                    <a:pt x="36" y="10"/>
                    <a:pt x="31" y="7"/>
                    <a:pt x="28" y="2"/>
                  </a:cubicBezTo>
                  <a:cubicBezTo>
                    <a:pt x="28" y="2"/>
                    <a:pt x="28" y="2"/>
                    <a:pt x="28" y="2"/>
                  </a:cubicBezTo>
                  <a:cubicBezTo>
                    <a:pt x="28" y="2"/>
                    <a:pt x="28" y="1"/>
                    <a:pt x="28" y="1"/>
                  </a:cubicBezTo>
                  <a:cubicBezTo>
                    <a:pt x="28" y="1"/>
                    <a:pt x="27" y="1"/>
                    <a:pt x="27" y="1"/>
                  </a:cubicBezTo>
                  <a:cubicBezTo>
                    <a:pt x="27" y="0"/>
                    <a:pt x="27" y="0"/>
                    <a:pt x="27" y="0"/>
                  </a:cubicBezTo>
                  <a:cubicBezTo>
                    <a:pt x="27" y="0"/>
                    <a:pt x="26" y="0"/>
                    <a:pt x="26" y="0"/>
                  </a:cubicBezTo>
                  <a:cubicBezTo>
                    <a:pt x="26" y="0"/>
                    <a:pt x="26" y="0"/>
                    <a:pt x="25" y="0"/>
                  </a:cubicBezTo>
                  <a:cubicBezTo>
                    <a:pt x="25" y="0"/>
                    <a:pt x="25" y="0"/>
                    <a:pt x="24" y="0"/>
                  </a:cubicBezTo>
                  <a:cubicBezTo>
                    <a:pt x="24" y="0"/>
                    <a:pt x="24" y="0"/>
                    <a:pt x="24" y="0"/>
                  </a:cubicBezTo>
                  <a:cubicBezTo>
                    <a:pt x="11" y="1"/>
                    <a:pt x="0" y="12"/>
                    <a:pt x="0" y="25"/>
                  </a:cubicBezTo>
                  <a:cubicBezTo>
                    <a:pt x="0" y="44"/>
                    <a:pt x="0" y="44"/>
                    <a:pt x="0" y="44"/>
                  </a:cubicBezTo>
                  <a:cubicBezTo>
                    <a:pt x="0" y="46"/>
                    <a:pt x="2" y="48"/>
                    <a:pt x="4" y="48"/>
                  </a:cubicBezTo>
                  <a:cubicBezTo>
                    <a:pt x="77" y="48"/>
                    <a:pt x="77" y="48"/>
                    <a:pt x="77" y="48"/>
                  </a:cubicBezTo>
                  <a:cubicBezTo>
                    <a:pt x="80" y="48"/>
                    <a:pt x="81" y="46"/>
                    <a:pt x="81" y="44"/>
                  </a:cubicBezTo>
                  <a:cubicBezTo>
                    <a:pt x="81" y="25"/>
                    <a:pt x="81" y="25"/>
                    <a:pt x="81" y="25"/>
                  </a:cubicBezTo>
                  <a:cubicBezTo>
                    <a:pt x="81" y="12"/>
                    <a:pt x="71" y="1"/>
                    <a:pt x="57" y="0"/>
                  </a:cubicBezTo>
                  <a:cubicBezTo>
                    <a:pt x="57" y="0"/>
                    <a:pt x="57" y="0"/>
                    <a:pt x="57" y="0"/>
                  </a:cubicBezTo>
                  <a:close/>
                  <a:moveTo>
                    <a:pt x="73" y="25"/>
                  </a:moveTo>
                  <a:cubicBezTo>
                    <a:pt x="73" y="40"/>
                    <a:pt x="73" y="40"/>
                    <a:pt x="73" y="40"/>
                  </a:cubicBezTo>
                  <a:cubicBezTo>
                    <a:pt x="64" y="40"/>
                    <a:pt x="64" y="40"/>
                    <a:pt x="64" y="40"/>
                  </a:cubicBezTo>
                  <a:cubicBezTo>
                    <a:pt x="64" y="29"/>
                    <a:pt x="64" y="29"/>
                    <a:pt x="64" y="29"/>
                  </a:cubicBezTo>
                  <a:cubicBezTo>
                    <a:pt x="64" y="27"/>
                    <a:pt x="62" y="25"/>
                    <a:pt x="60" y="25"/>
                  </a:cubicBezTo>
                  <a:cubicBezTo>
                    <a:pt x="58" y="25"/>
                    <a:pt x="56" y="27"/>
                    <a:pt x="56" y="29"/>
                  </a:cubicBezTo>
                  <a:cubicBezTo>
                    <a:pt x="56" y="40"/>
                    <a:pt x="56" y="40"/>
                    <a:pt x="56" y="40"/>
                  </a:cubicBezTo>
                  <a:cubicBezTo>
                    <a:pt x="26" y="40"/>
                    <a:pt x="26" y="40"/>
                    <a:pt x="26" y="40"/>
                  </a:cubicBezTo>
                  <a:cubicBezTo>
                    <a:pt x="26" y="29"/>
                    <a:pt x="26" y="29"/>
                    <a:pt x="26" y="29"/>
                  </a:cubicBezTo>
                  <a:cubicBezTo>
                    <a:pt x="26" y="27"/>
                    <a:pt x="24" y="25"/>
                    <a:pt x="22" y="25"/>
                  </a:cubicBezTo>
                  <a:cubicBezTo>
                    <a:pt x="19" y="25"/>
                    <a:pt x="18" y="27"/>
                    <a:pt x="18" y="29"/>
                  </a:cubicBezTo>
                  <a:cubicBezTo>
                    <a:pt x="18" y="40"/>
                    <a:pt x="18" y="40"/>
                    <a:pt x="18" y="40"/>
                  </a:cubicBezTo>
                  <a:cubicBezTo>
                    <a:pt x="8" y="40"/>
                    <a:pt x="8" y="40"/>
                    <a:pt x="8" y="40"/>
                  </a:cubicBezTo>
                  <a:cubicBezTo>
                    <a:pt x="8" y="25"/>
                    <a:pt x="8" y="25"/>
                    <a:pt x="8" y="25"/>
                  </a:cubicBezTo>
                  <a:cubicBezTo>
                    <a:pt x="8" y="17"/>
                    <a:pt x="14" y="10"/>
                    <a:pt x="23" y="8"/>
                  </a:cubicBezTo>
                  <a:cubicBezTo>
                    <a:pt x="27" y="14"/>
                    <a:pt x="33" y="18"/>
                    <a:pt x="41" y="18"/>
                  </a:cubicBezTo>
                  <a:cubicBezTo>
                    <a:pt x="48" y="18"/>
                    <a:pt x="55" y="14"/>
                    <a:pt x="59" y="8"/>
                  </a:cubicBezTo>
                  <a:cubicBezTo>
                    <a:pt x="67" y="10"/>
                    <a:pt x="73" y="17"/>
                    <a:pt x="7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24" name="Freeform 41"/>
            <p:cNvSpPr>
              <a:spLocks noEditPoints="1"/>
            </p:cNvSpPr>
            <p:nvPr/>
          </p:nvSpPr>
          <p:spPr bwMode="auto">
            <a:xfrm>
              <a:off x="-2913063" y="5764213"/>
              <a:ext cx="173038" cy="195263"/>
            </a:xfrm>
            <a:custGeom>
              <a:avLst/>
              <a:gdLst>
                <a:gd name="T0" fmla="*/ 0 w 46"/>
                <a:gd name="T1" fmla="*/ 23 h 52"/>
                <a:gd name="T2" fmla="*/ 23 w 46"/>
                <a:gd name="T3" fmla="*/ 52 h 52"/>
                <a:gd name="T4" fmla="*/ 46 w 46"/>
                <a:gd name="T5" fmla="*/ 23 h 52"/>
                <a:gd name="T6" fmla="*/ 23 w 46"/>
                <a:gd name="T7" fmla="*/ 0 h 52"/>
                <a:gd name="T8" fmla="*/ 0 w 46"/>
                <a:gd name="T9" fmla="*/ 23 h 52"/>
                <a:gd name="T10" fmla="*/ 38 w 46"/>
                <a:gd name="T11" fmla="*/ 23 h 52"/>
                <a:gd name="T12" fmla="*/ 23 w 46"/>
                <a:gd name="T13" fmla="*/ 44 h 52"/>
                <a:gd name="T14" fmla="*/ 8 w 46"/>
                <a:gd name="T15" fmla="*/ 23 h 52"/>
                <a:gd name="T16" fmla="*/ 23 w 46"/>
                <a:gd name="T17" fmla="*/ 8 h 52"/>
                <a:gd name="T18" fmla="*/ 38 w 46"/>
                <a:gd name="T19" fmla="*/ 2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52">
                  <a:moveTo>
                    <a:pt x="0" y="23"/>
                  </a:moveTo>
                  <a:cubicBezTo>
                    <a:pt x="0" y="35"/>
                    <a:pt x="10" y="52"/>
                    <a:pt x="23" y="52"/>
                  </a:cubicBezTo>
                  <a:cubicBezTo>
                    <a:pt x="36" y="52"/>
                    <a:pt x="46" y="35"/>
                    <a:pt x="46" y="23"/>
                  </a:cubicBezTo>
                  <a:cubicBezTo>
                    <a:pt x="46" y="11"/>
                    <a:pt x="35" y="0"/>
                    <a:pt x="23" y="0"/>
                  </a:cubicBezTo>
                  <a:cubicBezTo>
                    <a:pt x="10" y="0"/>
                    <a:pt x="0" y="11"/>
                    <a:pt x="0" y="23"/>
                  </a:cubicBezTo>
                  <a:close/>
                  <a:moveTo>
                    <a:pt x="38" y="23"/>
                  </a:moveTo>
                  <a:cubicBezTo>
                    <a:pt x="38" y="32"/>
                    <a:pt x="30" y="44"/>
                    <a:pt x="23" y="44"/>
                  </a:cubicBezTo>
                  <a:cubicBezTo>
                    <a:pt x="16" y="44"/>
                    <a:pt x="8" y="32"/>
                    <a:pt x="8" y="23"/>
                  </a:cubicBezTo>
                  <a:cubicBezTo>
                    <a:pt x="8" y="15"/>
                    <a:pt x="15" y="8"/>
                    <a:pt x="23" y="8"/>
                  </a:cubicBezTo>
                  <a:cubicBezTo>
                    <a:pt x="31" y="8"/>
                    <a:pt x="38" y="15"/>
                    <a:pt x="3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5124" name="Group 5123"/>
          <p:cNvGrpSpPr/>
          <p:nvPr/>
        </p:nvGrpSpPr>
        <p:grpSpPr>
          <a:xfrm>
            <a:off x="9240762" y="1816918"/>
            <a:ext cx="327633" cy="284652"/>
            <a:chOff x="-3581401" y="4908550"/>
            <a:chExt cx="1379538" cy="1198563"/>
          </a:xfrm>
          <a:solidFill>
            <a:schemeClr val="bg2"/>
          </a:solidFill>
        </p:grpSpPr>
        <p:sp>
          <p:nvSpPr>
            <p:cNvPr id="5120" name="Freeform 46"/>
            <p:cNvSpPr>
              <a:spLocks noEditPoints="1"/>
            </p:cNvSpPr>
            <p:nvPr/>
          </p:nvSpPr>
          <p:spPr bwMode="auto">
            <a:xfrm>
              <a:off x="-3581401" y="4908550"/>
              <a:ext cx="1379538" cy="1198563"/>
            </a:xfrm>
            <a:custGeom>
              <a:avLst/>
              <a:gdLst>
                <a:gd name="T0" fmla="*/ 359 w 368"/>
                <a:gd name="T1" fmla="*/ 250 h 320"/>
                <a:gd name="T2" fmla="*/ 225 w 368"/>
                <a:gd name="T3" fmla="*/ 23 h 320"/>
                <a:gd name="T4" fmla="*/ 184 w 368"/>
                <a:gd name="T5" fmla="*/ 0 h 320"/>
                <a:gd name="T6" fmla="*/ 143 w 368"/>
                <a:gd name="T7" fmla="*/ 23 h 320"/>
                <a:gd name="T8" fmla="*/ 9 w 368"/>
                <a:gd name="T9" fmla="*/ 250 h 320"/>
                <a:gd name="T10" fmla="*/ 9 w 368"/>
                <a:gd name="T11" fmla="*/ 296 h 320"/>
                <a:gd name="T12" fmla="*/ 50 w 368"/>
                <a:gd name="T13" fmla="*/ 320 h 320"/>
                <a:gd name="T14" fmla="*/ 318 w 368"/>
                <a:gd name="T15" fmla="*/ 320 h 320"/>
                <a:gd name="T16" fmla="*/ 359 w 368"/>
                <a:gd name="T17" fmla="*/ 296 h 320"/>
                <a:gd name="T18" fmla="*/ 359 w 368"/>
                <a:gd name="T19" fmla="*/ 250 h 320"/>
                <a:gd name="T20" fmla="*/ 343 w 368"/>
                <a:gd name="T21" fmla="*/ 287 h 320"/>
                <a:gd name="T22" fmla="*/ 319 w 368"/>
                <a:gd name="T23" fmla="*/ 302 h 320"/>
                <a:gd name="T24" fmla="*/ 49 w 368"/>
                <a:gd name="T25" fmla="*/ 302 h 320"/>
                <a:gd name="T26" fmla="*/ 25 w 368"/>
                <a:gd name="T27" fmla="*/ 287 h 320"/>
                <a:gd name="T28" fmla="*/ 25 w 368"/>
                <a:gd name="T29" fmla="*/ 259 h 320"/>
                <a:gd name="T30" fmla="*/ 160 w 368"/>
                <a:gd name="T31" fmla="*/ 32 h 320"/>
                <a:gd name="T32" fmla="*/ 184 w 368"/>
                <a:gd name="T33" fmla="*/ 18 h 320"/>
                <a:gd name="T34" fmla="*/ 208 w 368"/>
                <a:gd name="T35" fmla="*/ 32 h 320"/>
                <a:gd name="T36" fmla="*/ 343 w 368"/>
                <a:gd name="T37" fmla="*/ 259 h 320"/>
                <a:gd name="T38" fmla="*/ 343 w 368"/>
                <a:gd name="T39" fmla="*/ 28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8" h="320">
                  <a:moveTo>
                    <a:pt x="359" y="250"/>
                  </a:moveTo>
                  <a:cubicBezTo>
                    <a:pt x="225" y="23"/>
                    <a:pt x="225" y="23"/>
                    <a:pt x="225" y="23"/>
                  </a:cubicBezTo>
                  <a:cubicBezTo>
                    <a:pt x="216" y="8"/>
                    <a:pt x="201" y="0"/>
                    <a:pt x="184" y="0"/>
                  </a:cubicBezTo>
                  <a:cubicBezTo>
                    <a:pt x="167" y="0"/>
                    <a:pt x="152" y="8"/>
                    <a:pt x="143" y="23"/>
                  </a:cubicBezTo>
                  <a:cubicBezTo>
                    <a:pt x="9" y="250"/>
                    <a:pt x="9" y="250"/>
                    <a:pt x="9" y="250"/>
                  </a:cubicBezTo>
                  <a:cubicBezTo>
                    <a:pt x="0" y="264"/>
                    <a:pt x="0" y="282"/>
                    <a:pt x="9" y="296"/>
                  </a:cubicBezTo>
                  <a:cubicBezTo>
                    <a:pt x="18" y="312"/>
                    <a:pt x="33" y="320"/>
                    <a:pt x="50" y="320"/>
                  </a:cubicBezTo>
                  <a:cubicBezTo>
                    <a:pt x="318" y="320"/>
                    <a:pt x="318" y="320"/>
                    <a:pt x="318" y="320"/>
                  </a:cubicBezTo>
                  <a:cubicBezTo>
                    <a:pt x="335" y="320"/>
                    <a:pt x="351" y="312"/>
                    <a:pt x="359" y="296"/>
                  </a:cubicBezTo>
                  <a:cubicBezTo>
                    <a:pt x="368" y="282"/>
                    <a:pt x="368" y="264"/>
                    <a:pt x="359" y="250"/>
                  </a:cubicBezTo>
                  <a:close/>
                  <a:moveTo>
                    <a:pt x="343" y="287"/>
                  </a:moveTo>
                  <a:cubicBezTo>
                    <a:pt x="338" y="296"/>
                    <a:pt x="329" y="302"/>
                    <a:pt x="319" y="302"/>
                  </a:cubicBezTo>
                  <a:cubicBezTo>
                    <a:pt x="49" y="302"/>
                    <a:pt x="49" y="302"/>
                    <a:pt x="49" y="302"/>
                  </a:cubicBezTo>
                  <a:cubicBezTo>
                    <a:pt x="39" y="302"/>
                    <a:pt x="30" y="296"/>
                    <a:pt x="25" y="287"/>
                  </a:cubicBezTo>
                  <a:cubicBezTo>
                    <a:pt x="20" y="278"/>
                    <a:pt x="20" y="268"/>
                    <a:pt x="25" y="259"/>
                  </a:cubicBezTo>
                  <a:cubicBezTo>
                    <a:pt x="160" y="32"/>
                    <a:pt x="160" y="32"/>
                    <a:pt x="160" y="32"/>
                  </a:cubicBezTo>
                  <a:cubicBezTo>
                    <a:pt x="165" y="23"/>
                    <a:pt x="174" y="18"/>
                    <a:pt x="184" y="18"/>
                  </a:cubicBezTo>
                  <a:cubicBezTo>
                    <a:pt x="194" y="18"/>
                    <a:pt x="204" y="24"/>
                    <a:pt x="208" y="32"/>
                  </a:cubicBezTo>
                  <a:cubicBezTo>
                    <a:pt x="343" y="259"/>
                    <a:pt x="343" y="259"/>
                    <a:pt x="343" y="259"/>
                  </a:cubicBezTo>
                  <a:cubicBezTo>
                    <a:pt x="348" y="268"/>
                    <a:pt x="348" y="278"/>
                    <a:pt x="343"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21" name="Freeform 47"/>
            <p:cNvSpPr>
              <a:spLocks/>
            </p:cNvSpPr>
            <p:nvPr/>
          </p:nvSpPr>
          <p:spPr bwMode="auto">
            <a:xfrm>
              <a:off x="-2936875" y="5230813"/>
              <a:ext cx="90488" cy="468313"/>
            </a:xfrm>
            <a:custGeom>
              <a:avLst/>
              <a:gdLst>
                <a:gd name="T0" fmla="*/ 12 w 24"/>
                <a:gd name="T1" fmla="*/ 0 h 125"/>
                <a:gd name="T2" fmla="*/ 0 w 24"/>
                <a:gd name="T3" fmla="*/ 12 h 125"/>
                <a:gd name="T4" fmla="*/ 0 w 24"/>
                <a:gd name="T5" fmla="*/ 113 h 125"/>
                <a:gd name="T6" fmla="*/ 12 w 24"/>
                <a:gd name="T7" fmla="*/ 125 h 125"/>
                <a:gd name="T8" fmla="*/ 24 w 24"/>
                <a:gd name="T9" fmla="*/ 113 h 125"/>
                <a:gd name="T10" fmla="*/ 24 w 24"/>
                <a:gd name="T11" fmla="*/ 12 h 125"/>
                <a:gd name="T12" fmla="*/ 12 w 24"/>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24" h="125">
                  <a:moveTo>
                    <a:pt x="12" y="0"/>
                  </a:moveTo>
                  <a:cubicBezTo>
                    <a:pt x="5" y="0"/>
                    <a:pt x="0" y="6"/>
                    <a:pt x="0" y="12"/>
                  </a:cubicBezTo>
                  <a:cubicBezTo>
                    <a:pt x="0" y="113"/>
                    <a:pt x="0" y="113"/>
                    <a:pt x="0" y="113"/>
                  </a:cubicBezTo>
                  <a:cubicBezTo>
                    <a:pt x="0" y="120"/>
                    <a:pt x="5" y="125"/>
                    <a:pt x="12" y="125"/>
                  </a:cubicBezTo>
                  <a:cubicBezTo>
                    <a:pt x="19" y="125"/>
                    <a:pt x="24" y="120"/>
                    <a:pt x="24" y="113"/>
                  </a:cubicBezTo>
                  <a:cubicBezTo>
                    <a:pt x="24" y="12"/>
                    <a:pt x="24" y="12"/>
                    <a:pt x="24" y="12"/>
                  </a:cubicBezTo>
                  <a:cubicBezTo>
                    <a:pt x="24" y="6"/>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23" name="Freeform 48"/>
            <p:cNvSpPr>
              <a:spLocks/>
            </p:cNvSpPr>
            <p:nvPr/>
          </p:nvSpPr>
          <p:spPr bwMode="auto">
            <a:xfrm>
              <a:off x="-2936875" y="5784850"/>
              <a:ext cx="90488" cy="117475"/>
            </a:xfrm>
            <a:custGeom>
              <a:avLst/>
              <a:gdLst>
                <a:gd name="T0" fmla="*/ 12 w 24"/>
                <a:gd name="T1" fmla="*/ 0 h 31"/>
                <a:gd name="T2" fmla="*/ 0 w 24"/>
                <a:gd name="T3" fmla="*/ 12 h 31"/>
                <a:gd name="T4" fmla="*/ 0 w 24"/>
                <a:gd name="T5" fmla="*/ 19 h 31"/>
                <a:gd name="T6" fmla="*/ 12 w 24"/>
                <a:gd name="T7" fmla="*/ 31 h 31"/>
                <a:gd name="T8" fmla="*/ 24 w 24"/>
                <a:gd name="T9" fmla="*/ 19 h 31"/>
                <a:gd name="T10" fmla="*/ 24 w 24"/>
                <a:gd name="T11" fmla="*/ 12 h 31"/>
                <a:gd name="T12" fmla="*/ 12 w 24"/>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24" h="31">
                  <a:moveTo>
                    <a:pt x="12" y="0"/>
                  </a:moveTo>
                  <a:cubicBezTo>
                    <a:pt x="5" y="0"/>
                    <a:pt x="0" y="6"/>
                    <a:pt x="0" y="12"/>
                  </a:cubicBezTo>
                  <a:cubicBezTo>
                    <a:pt x="0" y="19"/>
                    <a:pt x="0" y="19"/>
                    <a:pt x="0" y="19"/>
                  </a:cubicBezTo>
                  <a:cubicBezTo>
                    <a:pt x="0" y="26"/>
                    <a:pt x="5" y="31"/>
                    <a:pt x="12" y="31"/>
                  </a:cubicBezTo>
                  <a:cubicBezTo>
                    <a:pt x="19" y="31"/>
                    <a:pt x="24" y="26"/>
                    <a:pt x="24" y="19"/>
                  </a:cubicBezTo>
                  <a:cubicBezTo>
                    <a:pt x="24" y="12"/>
                    <a:pt x="24" y="12"/>
                    <a:pt x="24" y="12"/>
                  </a:cubicBezTo>
                  <a:cubicBezTo>
                    <a:pt x="24" y="5"/>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5140" name="Group 5139"/>
          <p:cNvGrpSpPr/>
          <p:nvPr/>
        </p:nvGrpSpPr>
        <p:grpSpPr>
          <a:xfrm>
            <a:off x="10785365" y="1783946"/>
            <a:ext cx="351196" cy="350596"/>
            <a:chOff x="-1590675" y="4830763"/>
            <a:chExt cx="930275" cy="928687"/>
          </a:xfrm>
          <a:solidFill>
            <a:schemeClr val="bg2"/>
          </a:solidFill>
        </p:grpSpPr>
        <p:sp>
          <p:nvSpPr>
            <p:cNvPr id="5128" name="Freeform 53"/>
            <p:cNvSpPr>
              <a:spLocks noEditPoints="1"/>
            </p:cNvSpPr>
            <p:nvPr/>
          </p:nvSpPr>
          <p:spPr bwMode="auto">
            <a:xfrm>
              <a:off x="-1590675" y="4830763"/>
              <a:ext cx="930275" cy="928687"/>
            </a:xfrm>
            <a:custGeom>
              <a:avLst/>
              <a:gdLst>
                <a:gd name="T0" fmla="*/ 232 w 248"/>
                <a:gd name="T1" fmla="*/ 149 h 248"/>
                <a:gd name="T2" fmla="*/ 204 w 248"/>
                <a:gd name="T3" fmla="*/ 0 h 248"/>
                <a:gd name="T4" fmla="*/ 176 w 248"/>
                <a:gd name="T5" fmla="*/ 80 h 248"/>
                <a:gd name="T6" fmla="*/ 0 w 248"/>
                <a:gd name="T7" fmla="*/ 232 h 248"/>
                <a:gd name="T8" fmla="*/ 160 w 248"/>
                <a:gd name="T9" fmla="*/ 248 h 248"/>
                <a:gd name="T10" fmla="*/ 248 w 248"/>
                <a:gd name="T11" fmla="*/ 160 h 248"/>
                <a:gd name="T12" fmla="*/ 160 w 248"/>
                <a:gd name="T13" fmla="*/ 184 h 248"/>
                <a:gd name="T14" fmla="*/ 176 w 248"/>
                <a:gd name="T15" fmla="*/ 121 h 248"/>
                <a:gd name="T16" fmla="*/ 182 w 248"/>
                <a:gd name="T17" fmla="*/ 160 h 248"/>
                <a:gd name="T18" fmla="*/ 160 w 248"/>
                <a:gd name="T19" fmla="*/ 184 h 248"/>
                <a:gd name="T20" fmla="*/ 208 w 248"/>
                <a:gd name="T21" fmla="*/ 64 h 248"/>
                <a:gd name="T22" fmla="*/ 224 w 248"/>
                <a:gd name="T23" fmla="*/ 144 h 248"/>
                <a:gd name="T24" fmla="*/ 184 w 248"/>
                <a:gd name="T25" fmla="*/ 56 h 248"/>
                <a:gd name="T26" fmla="*/ 224 w 248"/>
                <a:gd name="T27" fmla="*/ 48 h 248"/>
                <a:gd name="T28" fmla="*/ 184 w 248"/>
                <a:gd name="T29" fmla="*/ 56 h 248"/>
                <a:gd name="T30" fmla="*/ 200 w 248"/>
                <a:gd name="T31" fmla="*/ 144 h 248"/>
                <a:gd name="T32" fmla="*/ 184 w 248"/>
                <a:gd name="T33" fmla="*/ 64 h 248"/>
                <a:gd name="T34" fmla="*/ 186 w 248"/>
                <a:gd name="T35" fmla="*/ 152 h 248"/>
                <a:gd name="T36" fmla="*/ 206 w 248"/>
                <a:gd name="T37" fmla="*/ 183 h 248"/>
                <a:gd name="T38" fmla="*/ 186 w 248"/>
                <a:gd name="T39" fmla="*/ 152 h 248"/>
                <a:gd name="T40" fmla="*/ 224 w 248"/>
                <a:gd name="T41" fmla="*/ 28 h 248"/>
                <a:gd name="T42" fmla="*/ 184 w 248"/>
                <a:gd name="T43" fmla="*/ 40 h 248"/>
                <a:gd name="T44" fmla="*/ 204 w 248"/>
                <a:gd name="T45" fmla="*/ 8 h 248"/>
                <a:gd name="T46" fmla="*/ 104 w 248"/>
                <a:gd name="T47" fmla="*/ 167 h 248"/>
                <a:gd name="T48" fmla="*/ 11 w 248"/>
                <a:gd name="T49" fmla="*/ 88 h 248"/>
                <a:gd name="T50" fmla="*/ 176 w 248"/>
                <a:gd name="T51" fmla="*/ 111 h 248"/>
                <a:gd name="T52" fmla="*/ 78 w 248"/>
                <a:gd name="T53" fmla="*/ 157 h 248"/>
                <a:gd name="T54" fmla="*/ 8 w 248"/>
                <a:gd name="T55" fmla="*/ 98 h 248"/>
                <a:gd name="T56" fmla="*/ 15 w 248"/>
                <a:gd name="T57" fmla="*/ 224 h 248"/>
                <a:gd name="T58" fmla="*/ 104 w 248"/>
                <a:gd name="T59" fmla="*/ 177 h 248"/>
                <a:gd name="T60" fmla="*/ 160 w 248"/>
                <a:gd name="T61" fmla="*/ 195 h 248"/>
                <a:gd name="T62" fmla="*/ 15 w 248"/>
                <a:gd name="T63" fmla="*/ 224 h 248"/>
                <a:gd name="T64" fmla="*/ 168 w 248"/>
                <a:gd name="T65" fmla="*/ 240 h 248"/>
                <a:gd name="T66" fmla="*/ 186 w 248"/>
                <a:gd name="T67" fmla="*/ 168 h 248"/>
                <a:gd name="T68" fmla="*/ 204 w 248"/>
                <a:gd name="T69" fmla="*/ 192 h 248"/>
                <a:gd name="T70" fmla="*/ 222 w 248"/>
                <a:gd name="T71" fmla="*/ 168 h 248"/>
                <a:gd name="T72" fmla="*/ 240 w 248"/>
                <a:gd name="T73"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8" h="248">
                  <a:moveTo>
                    <a:pt x="226" y="160"/>
                  </a:moveTo>
                  <a:cubicBezTo>
                    <a:pt x="232" y="149"/>
                    <a:pt x="232" y="149"/>
                    <a:pt x="232" y="149"/>
                  </a:cubicBezTo>
                  <a:cubicBezTo>
                    <a:pt x="232" y="28"/>
                    <a:pt x="232" y="28"/>
                    <a:pt x="232" y="28"/>
                  </a:cubicBezTo>
                  <a:cubicBezTo>
                    <a:pt x="232" y="13"/>
                    <a:pt x="219" y="0"/>
                    <a:pt x="204" y="0"/>
                  </a:cubicBezTo>
                  <a:cubicBezTo>
                    <a:pt x="189" y="0"/>
                    <a:pt x="176" y="13"/>
                    <a:pt x="176" y="28"/>
                  </a:cubicBezTo>
                  <a:cubicBezTo>
                    <a:pt x="176" y="80"/>
                    <a:pt x="176" y="80"/>
                    <a:pt x="176" y="80"/>
                  </a:cubicBezTo>
                  <a:cubicBezTo>
                    <a:pt x="0" y="80"/>
                    <a:pt x="0" y="80"/>
                    <a:pt x="0" y="80"/>
                  </a:cubicBezTo>
                  <a:cubicBezTo>
                    <a:pt x="0" y="232"/>
                    <a:pt x="0" y="232"/>
                    <a:pt x="0" y="232"/>
                  </a:cubicBezTo>
                  <a:cubicBezTo>
                    <a:pt x="160" y="232"/>
                    <a:pt x="160" y="232"/>
                    <a:pt x="160" y="232"/>
                  </a:cubicBezTo>
                  <a:cubicBezTo>
                    <a:pt x="160" y="248"/>
                    <a:pt x="160" y="248"/>
                    <a:pt x="160" y="248"/>
                  </a:cubicBezTo>
                  <a:cubicBezTo>
                    <a:pt x="248" y="248"/>
                    <a:pt x="248" y="248"/>
                    <a:pt x="248" y="248"/>
                  </a:cubicBezTo>
                  <a:cubicBezTo>
                    <a:pt x="248" y="160"/>
                    <a:pt x="248" y="160"/>
                    <a:pt x="248" y="160"/>
                  </a:cubicBezTo>
                  <a:lnTo>
                    <a:pt x="226" y="160"/>
                  </a:lnTo>
                  <a:close/>
                  <a:moveTo>
                    <a:pt x="160" y="184"/>
                  </a:moveTo>
                  <a:cubicBezTo>
                    <a:pt x="130" y="157"/>
                    <a:pt x="130" y="157"/>
                    <a:pt x="130" y="157"/>
                  </a:cubicBezTo>
                  <a:cubicBezTo>
                    <a:pt x="176" y="121"/>
                    <a:pt x="176" y="121"/>
                    <a:pt x="176" y="121"/>
                  </a:cubicBezTo>
                  <a:cubicBezTo>
                    <a:pt x="176" y="149"/>
                    <a:pt x="176" y="149"/>
                    <a:pt x="176" y="149"/>
                  </a:cubicBezTo>
                  <a:cubicBezTo>
                    <a:pt x="182" y="160"/>
                    <a:pt x="182" y="160"/>
                    <a:pt x="182" y="160"/>
                  </a:cubicBezTo>
                  <a:cubicBezTo>
                    <a:pt x="160" y="160"/>
                    <a:pt x="160" y="160"/>
                    <a:pt x="160" y="160"/>
                  </a:cubicBezTo>
                  <a:lnTo>
                    <a:pt x="160" y="184"/>
                  </a:lnTo>
                  <a:close/>
                  <a:moveTo>
                    <a:pt x="208" y="144"/>
                  </a:moveTo>
                  <a:cubicBezTo>
                    <a:pt x="208" y="64"/>
                    <a:pt x="208" y="64"/>
                    <a:pt x="208" y="64"/>
                  </a:cubicBezTo>
                  <a:cubicBezTo>
                    <a:pt x="224" y="64"/>
                    <a:pt x="224" y="64"/>
                    <a:pt x="224" y="64"/>
                  </a:cubicBezTo>
                  <a:cubicBezTo>
                    <a:pt x="224" y="144"/>
                    <a:pt x="224" y="144"/>
                    <a:pt x="224" y="144"/>
                  </a:cubicBezTo>
                  <a:lnTo>
                    <a:pt x="208" y="144"/>
                  </a:lnTo>
                  <a:close/>
                  <a:moveTo>
                    <a:pt x="184" y="56"/>
                  </a:moveTo>
                  <a:cubicBezTo>
                    <a:pt x="184" y="48"/>
                    <a:pt x="184" y="48"/>
                    <a:pt x="184" y="48"/>
                  </a:cubicBezTo>
                  <a:cubicBezTo>
                    <a:pt x="224" y="48"/>
                    <a:pt x="224" y="48"/>
                    <a:pt x="224" y="48"/>
                  </a:cubicBezTo>
                  <a:cubicBezTo>
                    <a:pt x="224" y="56"/>
                    <a:pt x="224" y="56"/>
                    <a:pt x="224" y="56"/>
                  </a:cubicBezTo>
                  <a:lnTo>
                    <a:pt x="184" y="56"/>
                  </a:lnTo>
                  <a:close/>
                  <a:moveTo>
                    <a:pt x="200" y="64"/>
                  </a:moveTo>
                  <a:cubicBezTo>
                    <a:pt x="200" y="144"/>
                    <a:pt x="200" y="144"/>
                    <a:pt x="200" y="144"/>
                  </a:cubicBezTo>
                  <a:cubicBezTo>
                    <a:pt x="184" y="144"/>
                    <a:pt x="184" y="144"/>
                    <a:pt x="184" y="144"/>
                  </a:cubicBezTo>
                  <a:cubicBezTo>
                    <a:pt x="184" y="64"/>
                    <a:pt x="184" y="64"/>
                    <a:pt x="184" y="64"/>
                  </a:cubicBezTo>
                  <a:lnTo>
                    <a:pt x="200" y="64"/>
                  </a:lnTo>
                  <a:close/>
                  <a:moveTo>
                    <a:pt x="186" y="152"/>
                  </a:moveTo>
                  <a:cubicBezTo>
                    <a:pt x="222" y="152"/>
                    <a:pt x="222" y="152"/>
                    <a:pt x="222" y="152"/>
                  </a:cubicBezTo>
                  <a:cubicBezTo>
                    <a:pt x="206" y="183"/>
                    <a:pt x="206" y="183"/>
                    <a:pt x="206" y="183"/>
                  </a:cubicBezTo>
                  <a:cubicBezTo>
                    <a:pt x="205" y="184"/>
                    <a:pt x="203" y="184"/>
                    <a:pt x="202" y="183"/>
                  </a:cubicBezTo>
                  <a:lnTo>
                    <a:pt x="186" y="152"/>
                  </a:lnTo>
                  <a:close/>
                  <a:moveTo>
                    <a:pt x="204" y="8"/>
                  </a:moveTo>
                  <a:cubicBezTo>
                    <a:pt x="215" y="8"/>
                    <a:pt x="224" y="17"/>
                    <a:pt x="224" y="28"/>
                  </a:cubicBezTo>
                  <a:cubicBezTo>
                    <a:pt x="224" y="40"/>
                    <a:pt x="224" y="40"/>
                    <a:pt x="224" y="40"/>
                  </a:cubicBezTo>
                  <a:cubicBezTo>
                    <a:pt x="184" y="40"/>
                    <a:pt x="184" y="40"/>
                    <a:pt x="184" y="40"/>
                  </a:cubicBezTo>
                  <a:cubicBezTo>
                    <a:pt x="184" y="28"/>
                    <a:pt x="184" y="28"/>
                    <a:pt x="184" y="28"/>
                  </a:cubicBezTo>
                  <a:cubicBezTo>
                    <a:pt x="184" y="17"/>
                    <a:pt x="193" y="8"/>
                    <a:pt x="204" y="8"/>
                  </a:cubicBezTo>
                  <a:close/>
                  <a:moveTo>
                    <a:pt x="176" y="111"/>
                  </a:moveTo>
                  <a:cubicBezTo>
                    <a:pt x="104" y="167"/>
                    <a:pt x="104" y="167"/>
                    <a:pt x="104" y="167"/>
                  </a:cubicBezTo>
                  <a:cubicBezTo>
                    <a:pt x="29" y="108"/>
                    <a:pt x="29" y="108"/>
                    <a:pt x="29" y="108"/>
                  </a:cubicBezTo>
                  <a:cubicBezTo>
                    <a:pt x="22" y="102"/>
                    <a:pt x="16" y="96"/>
                    <a:pt x="11" y="88"/>
                  </a:cubicBezTo>
                  <a:cubicBezTo>
                    <a:pt x="176" y="88"/>
                    <a:pt x="176" y="88"/>
                    <a:pt x="176" y="88"/>
                  </a:cubicBezTo>
                  <a:lnTo>
                    <a:pt x="176" y="111"/>
                  </a:lnTo>
                  <a:close/>
                  <a:moveTo>
                    <a:pt x="24" y="114"/>
                  </a:moveTo>
                  <a:cubicBezTo>
                    <a:pt x="78" y="157"/>
                    <a:pt x="78" y="157"/>
                    <a:pt x="78" y="157"/>
                  </a:cubicBezTo>
                  <a:cubicBezTo>
                    <a:pt x="8" y="219"/>
                    <a:pt x="8" y="219"/>
                    <a:pt x="8" y="219"/>
                  </a:cubicBezTo>
                  <a:cubicBezTo>
                    <a:pt x="8" y="98"/>
                    <a:pt x="8" y="98"/>
                    <a:pt x="8" y="98"/>
                  </a:cubicBezTo>
                  <a:cubicBezTo>
                    <a:pt x="12" y="104"/>
                    <a:pt x="18" y="110"/>
                    <a:pt x="24" y="114"/>
                  </a:cubicBezTo>
                  <a:close/>
                  <a:moveTo>
                    <a:pt x="15" y="224"/>
                  </a:moveTo>
                  <a:cubicBezTo>
                    <a:pt x="85" y="162"/>
                    <a:pt x="85" y="162"/>
                    <a:pt x="85" y="162"/>
                  </a:cubicBezTo>
                  <a:cubicBezTo>
                    <a:pt x="104" y="177"/>
                    <a:pt x="104" y="177"/>
                    <a:pt x="104" y="177"/>
                  </a:cubicBezTo>
                  <a:cubicBezTo>
                    <a:pt x="123" y="162"/>
                    <a:pt x="123" y="162"/>
                    <a:pt x="123" y="162"/>
                  </a:cubicBezTo>
                  <a:cubicBezTo>
                    <a:pt x="160" y="195"/>
                    <a:pt x="160" y="195"/>
                    <a:pt x="160" y="195"/>
                  </a:cubicBezTo>
                  <a:cubicBezTo>
                    <a:pt x="160" y="224"/>
                    <a:pt x="160" y="224"/>
                    <a:pt x="160" y="224"/>
                  </a:cubicBezTo>
                  <a:lnTo>
                    <a:pt x="15" y="224"/>
                  </a:lnTo>
                  <a:close/>
                  <a:moveTo>
                    <a:pt x="240" y="240"/>
                  </a:moveTo>
                  <a:cubicBezTo>
                    <a:pt x="168" y="240"/>
                    <a:pt x="168" y="240"/>
                    <a:pt x="168" y="240"/>
                  </a:cubicBezTo>
                  <a:cubicBezTo>
                    <a:pt x="168" y="168"/>
                    <a:pt x="168" y="168"/>
                    <a:pt x="168" y="168"/>
                  </a:cubicBezTo>
                  <a:cubicBezTo>
                    <a:pt x="186" y="168"/>
                    <a:pt x="186" y="168"/>
                    <a:pt x="186" y="168"/>
                  </a:cubicBezTo>
                  <a:cubicBezTo>
                    <a:pt x="195" y="186"/>
                    <a:pt x="195" y="186"/>
                    <a:pt x="195" y="186"/>
                  </a:cubicBezTo>
                  <a:cubicBezTo>
                    <a:pt x="196" y="190"/>
                    <a:pt x="200" y="192"/>
                    <a:pt x="204" y="192"/>
                  </a:cubicBezTo>
                  <a:cubicBezTo>
                    <a:pt x="208" y="192"/>
                    <a:pt x="212" y="190"/>
                    <a:pt x="213" y="186"/>
                  </a:cubicBezTo>
                  <a:cubicBezTo>
                    <a:pt x="222" y="168"/>
                    <a:pt x="222" y="168"/>
                    <a:pt x="222" y="168"/>
                  </a:cubicBezTo>
                  <a:cubicBezTo>
                    <a:pt x="240" y="168"/>
                    <a:pt x="240" y="168"/>
                    <a:pt x="240" y="168"/>
                  </a:cubicBezTo>
                  <a:lnTo>
                    <a:pt x="24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29" name="Freeform 54"/>
            <p:cNvSpPr>
              <a:spLocks/>
            </p:cNvSpPr>
            <p:nvPr/>
          </p:nvSpPr>
          <p:spPr bwMode="auto">
            <a:xfrm>
              <a:off x="-927100" y="5524500"/>
              <a:ext cx="217488" cy="182562"/>
            </a:xfrm>
            <a:custGeom>
              <a:avLst/>
              <a:gdLst>
                <a:gd name="T0" fmla="*/ 36 w 137"/>
                <a:gd name="T1" fmla="*/ 87 h 115"/>
                <a:gd name="T2" fmla="*/ 15 w 137"/>
                <a:gd name="T3" fmla="*/ 66 h 115"/>
                <a:gd name="T4" fmla="*/ 0 w 137"/>
                <a:gd name="T5" fmla="*/ 80 h 115"/>
                <a:gd name="T6" fmla="*/ 36 w 137"/>
                <a:gd name="T7" fmla="*/ 115 h 115"/>
                <a:gd name="T8" fmla="*/ 137 w 137"/>
                <a:gd name="T9" fmla="*/ 14 h 115"/>
                <a:gd name="T10" fmla="*/ 123 w 137"/>
                <a:gd name="T11" fmla="*/ 0 h 115"/>
                <a:gd name="T12" fmla="*/ 36 w 137"/>
                <a:gd name="T13" fmla="*/ 87 h 115"/>
              </a:gdLst>
              <a:ahLst/>
              <a:cxnLst>
                <a:cxn ang="0">
                  <a:pos x="T0" y="T1"/>
                </a:cxn>
                <a:cxn ang="0">
                  <a:pos x="T2" y="T3"/>
                </a:cxn>
                <a:cxn ang="0">
                  <a:pos x="T4" y="T5"/>
                </a:cxn>
                <a:cxn ang="0">
                  <a:pos x="T6" y="T7"/>
                </a:cxn>
                <a:cxn ang="0">
                  <a:pos x="T8" y="T9"/>
                </a:cxn>
                <a:cxn ang="0">
                  <a:pos x="T10" y="T11"/>
                </a:cxn>
                <a:cxn ang="0">
                  <a:pos x="T12" y="T13"/>
                </a:cxn>
              </a:cxnLst>
              <a:rect l="0" t="0" r="r" b="b"/>
              <a:pathLst>
                <a:path w="137" h="115">
                  <a:moveTo>
                    <a:pt x="36" y="87"/>
                  </a:moveTo>
                  <a:lnTo>
                    <a:pt x="15" y="66"/>
                  </a:lnTo>
                  <a:lnTo>
                    <a:pt x="0" y="80"/>
                  </a:lnTo>
                  <a:lnTo>
                    <a:pt x="36" y="115"/>
                  </a:lnTo>
                  <a:lnTo>
                    <a:pt x="137" y="14"/>
                  </a:lnTo>
                  <a:lnTo>
                    <a:pt x="123" y="0"/>
                  </a:lnTo>
                  <a:lnTo>
                    <a:pt x="3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30" name="Rectangle 55"/>
            <p:cNvSpPr>
              <a:spLocks noChangeArrowheads="1"/>
            </p:cNvSpPr>
            <p:nvPr/>
          </p:nvSpPr>
          <p:spPr bwMode="auto">
            <a:xfrm>
              <a:off x="-1169988" y="5610225"/>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31" name="Rectangle 56"/>
            <p:cNvSpPr>
              <a:spLocks noChangeArrowheads="1"/>
            </p:cNvSpPr>
            <p:nvPr/>
          </p:nvSpPr>
          <p:spPr bwMode="auto">
            <a:xfrm>
              <a:off x="-1050925" y="5610225"/>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33" name="Rectangle 57"/>
            <p:cNvSpPr>
              <a:spLocks noChangeArrowheads="1"/>
            </p:cNvSpPr>
            <p:nvPr/>
          </p:nvSpPr>
          <p:spPr bwMode="auto">
            <a:xfrm>
              <a:off x="-1109663" y="5610225"/>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34" name="Rectangle 58"/>
            <p:cNvSpPr>
              <a:spLocks noChangeArrowheads="1"/>
            </p:cNvSpPr>
            <p:nvPr/>
          </p:nvSpPr>
          <p:spPr bwMode="auto">
            <a:xfrm>
              <a:off x="-1409700" y="5189538"/>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35" name="Rectangle 59"/>
            <p:cNvSpPr>
              <a:spLocks noChangeArrowheads="1"/>
            </p:cNvSpPr>
            <p:nvPr/>
          </p:nvSpPr>
          <p:spPr bwMode="auto">
            <a:xfrm>
              <a:off x="-1470025" y="5189538"/>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36" name="Rectangle 60"/>
            <p:cNvSpPr>
              <a:spLocks noChangeArrowheads="1"/>
            </p:cNvSpPr>
            <p:nvPr/>
          </p:nvSpPr>
          <p:spPr bwMode="auto">
            <a:xfrm>
              <a:off x="-1349375" y="5189538"/>
              <a:ext cx="28575"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37" name="Rectangle 61"/>
            <p:cNvSpPr>
              <a:spLocks noChangeArrowheads="1"/>
            </p:cNvSpPr>
            <p:nvPr/>
          </p:nvSpPr>
          <p:spPr bwMode="auto">
            <a:xfrm>
              <a:off x="-1530350" y="5535613"/>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38" name="Rectangle 62"/>
            <p:cNvSpPr>
              <a:spLocks noChangeArrowheads="1"/>
            </p:cNvSpPr>
            <p:nvPr/>
          </p:nvSpPr>
          <p:spPr bwMode="auto">
            <a:xfrm>
              <a:off x="-1530350" y="5475288"/>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139" name="Rectangle 63"/>
            <p:cNvSpPr>
              <a:spLocks noChangeArrowheads="1"/>
            </p:cNvSpPr>
            <p:nvPr/>
          </p:nvSpPr>
          <p:spPr bwMode="auto">
            <a:xfrm>
              <a:off x="-1530350" y="5414963"/>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Tree>
    <p:extLst>
      <p:ext uri="{BB962C8B-B14F-4D97-AF65-F5344CB8AC3E}">
        <p14:creationId xmlns:p14="http://schemas.microsoft.com/office/powerpoint/2010/main" val="256683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Performance Metrics: Real Browsers</a:t>
            </a:r>
          </a:p>
        </p:txBody>
      </p:sp>
      <p:sp>
        <p:nvSpPr>
          <p:cNvPr id="3" name="Rounded Rectangle 2"/>
          <p:cNvSpPr/>
          <p:nvPr/>
        </p:nvSpPr>
        <p:spPr>
          <a:xfrm>
            <a:off x="488227" y="1137920"/>
            <a:ext cx="5378027" cy="37930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mj-lt"/>
                <a:cs typeface="Arial" pitchFamily="34" charset="0"/>
              </a:rPr>
              <a:t>User Centric Metrics</a:t>
            </a:r>
          </a:p>
        </p:txBody>
      </p:sp>
      <p:sp>
        <p:nvSpPr>
          <p:cNvPr id="4" name="Rounded Rectangle 3"/>
          <p:cNvSpPr/>
          <p:nvPr/>
        </p:nvSpPr>
        <p:spPr>
          <a:xfrm>
            <a:off x="6427073" y="1137920"/>
            <a:ext cx="5134187" cy="37930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mj-lt"/>
                <a:cs typeface="Arial" pitchFamily="34" charset="0"/>
              </a:rPr>
              <a:t>Navigation Events</a:t>
            </a:r>
          </a:p>
        </p:txBody>
      </p:sp>
      <p:sp>
        <p:nvSpPr>
          <p:cNvPr id="14" name="Rectangle 13"/>
          <p:cNvSpPr/>
          <p:nvPr/>
        </p:nvSpPr>
        <p:spPr>
          <a:xfrm>
            <a:off x="1590454" y="1642903"/>
            <a:ext cx="599440" cy="5123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5" name="TextBox 4">
            <a:extLst>
              <a:ext uri="{FF2B5EF4-FFF2-40B4-BE49-F238E27FC236}">
                <a16:creationId xmlns:a16="http://schemas.microsoft.com/office/drawing/2014/main" id="{E6DF5AA1-DBB3-454C-956C-9B6EA3602E1F}"/>
              </a:ext>
            </a:extLst>
          </p:cNvPr>
          <p:cNvSpPr txBox="1"/>
          <p:nvPr/>
        </p:nvSpPr>
        <p:spPr>
          <a:xfrm>
            <a:off x="2363080" y="1688693"/>
            <a:ext cx="3624000" cy="420756"/>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Amount of time a browser waits to receive the first piece of information from a web server after requesting it</a:t>
            </a:r>
          </a:p>
        </p:txBody>
      </p:sp>
      <p:sp>
        <p:nvSpPr>
          <p:cNvPr id="41" name="Rectangle 40"/>
          <p:cNvSpPr/>
          <p:nvPr/>
        </p:nvSpPr>
        <p:spPr>
          <a:xfrm>
            <a:off x="367400" y="1642271"/>
            <a:ext cx="1223054" cy="513600"/>
          </a:xfrm>
          <a:prstGeom prst="rect">
            <a:avLst/>
          </a:prstGeom>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Time to </a:t>
            </a:r>
            <a:br>
              <a:rPr lang="en-US" sz="1200" b="1">
                <a:solidFill>
                  <a:schemeClr val="bg2"/>
                </a:solidFill>
                <a:latin typeface="+mj-lt"/>
                <a:cs typeface="Arial" pitchFamily="34" charset="0"/>
              </a:rPr>
            </a:br>
            <a:r>
              <a:rPr lang="en-US" sz="1200" b="1">
                <a:solidFill>
                  <a:schemeClr val="bg2"/>
                </a:solidFill>
                <a:latin typeface="+mj-lt"/>
                <a:cs typeface="Arial" pitchFamily="34" charset="0"/>
              </a:rPr>
              <a:t>First Byte</a:t>
            </a:r>
          </a:p>
        </p:txBody>
      </p:sp>
      <p:sp>
        <p:nvSpPr>
          <p:cNvPr id="15" name="Rectangle 14"/>
          <p:cNvSpPr/>
          <p:nvPr/>
        </p:nvSpPr>
        <p:spPr>
          <a:xfrm>
            <a:off x="1590454" y="2248608"/>
            <a:ext cx="599440" cy="5123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6" name="TextBox 5">
            <a:extLst>
              <a:ext uri="{FF2B5EF4-FFF2-40B4-BE49-F238E27FC236}">
                <a16:creationId xmlns:a16="http://schemas.microsoft.com/office/drawing/2014/main" id="{4C3E4A21-9338-4EE2-BF8D-F696A5EC3F8D}"/>
              </a:ext>
            </a:extLst>
          </p:cNvPr>
          <p:cNvSpPr txBox="1"/>
          <p:nvPr/>
        </p:nvSpPr>
        <p:spPr>
          <a:xfrm>
            <a:off x="2363080" y="2294399"/>
            <a:ext cx="3624000" cy="420756"/>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of the first point at which the browser does any sort of rendering on the page</a:t>
            </a:r>
          </a:p>
        </p:txBody>
      </p:sp>
      <p:sp>
        <p:nvSpPr>
          <p:cNvPr id="42" name="Rectangle 41"/>
          <p:cNvSpPr/>
          <p:nvPr/>
        </p:nvSpPr>
        <p:spPr>
          <a:xfrm>
            <a:off x="367400" y="2247976"/>
            <a:ext cx="1223054" cy="513600"/>
          </a:xfrm>
          <a:prstGeom prst="rect">
            <a:avLst/>
          </a:prstGeom>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First Paint</a:t>
            </a:r>
          </a:p>
        </p:txBody>
      </p:sp>
      <p:sp>
        <p:nvSpPr>
          <p:cNvPr id="16" name="Rectangle 15"/>
          <p:cNvSpPr/>
          <p:nvPr/>
        </p:nvSpPr>
        <p:spPr>
          <a:xfrm>
            <a:off x="1590454" y="2854312"/>
            <a:ext cx="599440" cy="5123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7" name="TextBox 6">
            <a:extLst>
              <a:ext uri="{FF2B5EF4-FFF2-40B4-BE49-F238E27FC236}">
                <a16:creationId xmlns:a16="http://schemas.microsoft.com/office/drawing/2014/main" id="{81A81327-0365-4377-9906-5B527023D173}"/>
              </a:ext>
            </a:extLst>
          </p:cNvPr>
          <p:cNvSpPr txBox="1"/>
          <p:nvPr/>
        </p:nvSpPr>
        <p:spPr>
          <a:xfrm>
            <a:off x="2363080" y="2900103"/>
            <a:ext cx="3624000" cy="420756"/>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when the browser renders the first piece of DOM content</a:t>
            </a:r>
          </a:p>
        </p:txBody>
      </p:sp>
      <p:sp>
        <p:nvSpPr>
          <p:cNvPr id="43" name="Rectangle 42"/>
          <p:cNvSpPr/>
          <p:nvPr/>
        </p:nvSpPr>
        <p:spPr>
          <a:xfrm>
            <a:off x="367400" y="2853681"/>
            <a:ext cx="1223054" cy="513600"/>
          </a:xfrm>
          <a:prstGeom prst="rect">
            <a:avLst/>
          </a:prstGeom>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First Contentful Paint</a:t>
            </a:r>
          </a:p>
        </p:txBody>
      </p:sp>
      <p:sp>
        <p:nvSpPr>
          <p:cNvPr id="17" name="Rectangle 16"/>
          <p:cNvSpPr/>
          <p:nvPr/>
        </p:nvSpPr>
        <p:spPr>
          <a:xfrm>
            <a:off x="1590454" y="3460017"/>
            <a:ext cx="599440" cy="5123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 name="TextBox 7">
            <a:extLst>
              <a:ext uri="{FF2B5EF4-FFF2-40B4-BE49-F238E27FC236}">
                <a16:creationId xmlns:a16="http://schemas.microsoft.com/office/drawing/2014/main" id="{0289D4EE-BE1D-40FB-870A-F8A0A61F2511}"/>
              </a:ext>
            </a:extLst>
          </p:cNvPr>
          <p:cNvSpPr txBox="1"/>
          <p:nvPr/>
        </p:nvSpPr>
        <p:spPr>
          <a:xfrm>
            <a:off x="2363080" y="3505807"/>
            <a:ext cx="3503173" cy="420756"/>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it takes for enough page elements to load for an end user to begin interacting with the page</a:t>
            </a:r>
          </a:p>
        </p:txBody>
      </p:sp>
      <p:sp>
        <p:nvSpPr>
          <p:cNvPr id="44" name="Rectangle 43"/>
          <p:cNvSpPr/>
          <p:nvPr/>
        </p:nvSpPr>
        <p:spPr>
          <a:xfrm>
            <a:off x="367400" y="3459385"/>
            <a:ext cx="1223054" cy="513600"/>
          </a:xfrm>
          <a:prstGeom prst="rect">
            <a:avLst/>
          </a:prstGeom>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DOM Interactive Time</a:t>
            </a:r>
          </a:p>
        </p:txBody>
      </p:sp>
      <p:sp>
        <p:nvSpPr>
          <p:cNvPr id="18" name="Rectangle 17"/>
          <p:cNvSpPr/>
          <p:nvPr/>
        </p:nvSpPr>
        <p:spPr>
          <a:xfrm>
            <a:off x="1590454" y="4065722"/>
            <a:ext cx="599440" cy="5123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9" name="TextBox 8">
            <a:extLst>
              <a:ext uri="{FF2B5EF4-FFF2-40B4-BE49-F238E27FC236}">
                <a16:creationId xmlns:a16="http://schemas.microsoft.com/office/drawing/2014/main" id="{E27D9D61-6D07-47F0-8A05-BAE321C6B904}"/>
              </a:ext>
            </a:extLst>
          </p:cNvPr>
          <p:cNvSpPr txBox="1"/>
          <p:nvPr/>
        </p:nvSpPr>
        <p:spPr>
          <a:xfrm>
            <a:off x="2363080" y="4029406"/>
            <a:ext cx="3516173" cy="584968"/>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until the document has loaded, and the initial markup has been parsed, no CSS is blocking scripts, and that parser blocking JavaScript(s) have executed</a:t>
            </a:r>
          </a:p>
        </p:txBody>
      </p:sp>
      <p:sp>
        <p:nvSpPr>
          <p:cNvPr id="45" name="Rectangle 44"/>
          <p:cNvSpPr/>
          <p:nvPr/>
        </p:nvSpPr>
        <p:spPr>
          <a:xfrm>
            <a:off x="367400" y="4065090"/>
            <a:ext cx="1223054" cy="513600"/>
          </a:xfrm>
          <a:prstGeom prst="rect">
            <a:avLst/>
          </a:prstGeom>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DOM Content Loaded</a:t>
            </a:r>
          </a:p>
        </p:txBody>
      </p:sp>
      <p:sp>
        <p:nvSpPr>
          <p:cNvPr id="19" name="Rectangle 18"/>
          <p:cNvSpPr/>
          <p:nvPr/>
        </p:nvSpPr>
        <p:spPr>
          <a:xfrm>
            <a:off x="1590454" y="4671426"/>
            <a:ext cx="599440" cy="5123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0" name="TextBox 9">
            <a:extLst>
              <a:ext uri="{FF2B5EF4-FFF2-40B4-BE49-F238E27FC236}">
                <a16:creationId xmlns:a16="http://schemas.microsoft.com/office/drawing/2014/main" id="{1FB2878F-FA08-4D33-BBB2-BC67DE879FB5}"/>
              </a:ext>
            </a:extLst>
          </p:cNvPr>
          <p:cNvSpPr txBox="1"/>
          <p:nvPr/>
        </p:nvSpPr>
        <p:spPr>
          <a:xfrm>
            <a:off x="2363080" y="4799323"/>
            <a:ext cx="3624000" cy="256545"/>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until the page and all its sub resources are ready</a:t>
            </a:r>
          </a:p>
        </p:txBody>
      </p:sp>
      <p:sp>
        <p:nvSpPr>
          <p:cNvPr id="46" name="Rectangle 45"/>
          <p:cNvSpPr/>
          <p:nvPr/>
        </p:nvSpPr>
        <p:spPr>
          <a:xfrm>
            <a:off x="367400" y="4670795"/>
            <a:ext cx="1223054" cy="513600"/>
          </a:xfrm>
          <a:prstGeom prst="rect">
            <a:avLst/>
          </a:prstGeom>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DOM Complete</a:t>
            </a:r>
          </a:p>
        </p:txBody>
      </p:sp>
      <p:sp>
        <p:nvSpPr>
          <p:cNvPr id="20" name="Rectangle 19"/>
          <p:cNvSpPr/>
          <p:nvPr/>
        </p:nvSpPr>
        <p:spPr>
          <a:xfrm>
            <a:off x="1590454" y="5277131"/>
            <a:ext cx="599440" cy="5123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1" name="TextBox 10">
            <a:extLst>
              <a:ext uri="{FF2B5EF4-FFF2-40B4-BE49-F238E27FC236}">
                <a16:creationId xmlns:a16="http://schemas.microsoft.com/office/drawing/2014/main" id="{96916971-F0F3-4231-B2FA-0DA29703FD1F}"/>
              </a:ext>
            </a:extLst>
          </p:cNvPr>
          <p:cNvSpPr txBox="1"/>
          <p:nvPr/>
        </p:nvSpPr>
        <p:spPr>
          <a:xfrm>
            <a:off x="2363080" y="5240815"/>
            <a:ext cx="3394253" cy="584968"/>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when the page has finished processing and all the resources on the page, including text, images, CSS and JavaScript files, have finished downloading</a:t>
            </a:r>
          </a:p>
        </p:txBody>
      </p:sp>
      <p:sp>
        <p:nvSpPr>
          <p:cNvPr id="47" name="Rectangle 46"/>
          <p:cNvSpPr/>
          <p:nvPr/>
        </p:nvSpPr>
        <p:spPr>
          <a:xfrm>
            <a:off x="367400" y="5276499"/>
            <a:ext cx="1223054" cy="513600"/>
          </a:xfrm>
          <a:prstGeom prst="rect">
            <a:avLst/>
          </a:prstGeom>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On-Load Time</a:t>
            </a:r>
          </a:p>
        </p:txBody>
      </p:sp>
      <p:sp>
        <p:nvSpPr>
          <p:cNvPr id="21" name="Rectangle 20"/>
          <p:cNvSpPr/>
          <p:nvPr/>
        </p:nvSpPr>
        <p:spPr>
          <a:xfrm>
            <a:off x="1590454" y="5882837"/>
            <a:ext cx="599440" cy="512337"/>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2" name="TextBox 11">
            <a:extLst>
              <a:ext uri="{FF2B5EF4-FFF2-40B4-BE49-F238E27FC236}">
                <a16:creationId xmlns:a16="http://schemas.microsoft.com/office/drawing/2014/main" id="{5B1F6D66-3A53-43F6-ABC3-5EA5C6DE4792}"/>
              </a:ext>
            </a:extLst>
          </p:cNvPr>
          <p:cNvSpPr txBox="1"/>
          <p:nvPr/>
        </p:nvSpPr>
        <p:spPr>
          <a:xfrm>
            <a:off x="2363080" y="6010733"/>
            <a:ext cx="3624000" cy="256545"/>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otal time it took to fully load the page</a:t>
            </a:r>
          </a:p>
        </p:txBody>
      </p:sp>
      <p:sp>
        <p:nvSpPr>
          <p:cNvPr id="50" name="Rectangle 49"/>
          <p:cNvSpPr/>
          <p:nvPr/>
        </p:nvSpPr>
        <p:spPr>
          <a:xfrm>
            <a:off x="367400" y="5882205"/>
            <a:ext cx="1223054" cy="513600"/>
          </a:xfrm>
          <a:prstGeom prst="rect">
            <a:avLst/>
          </a:prstGeom>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Fully Loaded</a:t>
            </a:r>
          </a:p>
        </p:txBody>
      </p:sp>
      <p:sp>
        <p:nvSpPr>
          <p:cNvPr id="71" name="Rectangle 70"/>
          <p:cNvSpPr/>
          <p:nvPr/>
        </p:nvSpPr>
        <p:spPr>
          <a:xfrm>
            <a:off x="7304961" y="1642903"/>
            <a:ext cx="599440" cy="51233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72" name="TextBox 71">
            <a:extLst>
              <a:ext uri="{FF2B5EF4-FFF2-40B4-BE49-F238E27FC236}">
                <a16:creationId xmlns:a16="http://schemas.microsoft.com/office/drawing/2014/main" id="{E6DF5AA1-DBB3-454C-956C-9B6EA3602E1F}"/>
              </a:ext>
            </a:extLst>
          </p:cNvPr>
          <p:cNvSpPr txBox="1"/>
          <p:nvPr/>
        </p:nvSpPr>
        <p:spPr>
          <a:xfrm>
            <a:off x="8077587" y="1688693"/>
            <a:ext cx="3828840" cy="420756"/>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Measure in total the amount of time redirects took for a page load</a:t>
            </a:r>
          </a:p>
        </p:txBody>
      </p:sp>
      <p:sp>
        <p:nvSpPr>
          <p:cNvPr id="73" name="Rectangle 72"/>
          <p:cNvSpPr/>
          <p:nvPr/>
        </p:nvSpPr>
        <p:spPr>
          <a:xfrm>
            <a:off x="6081907" y="1642271"/>
            <a:ext cx="1223054" cy="513600"/>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Redirect</a:t>
            </a:r>
          </a:p>
        </p:txBody>
      </p:sp>
      <p:sp>
        <p:nvSpPr>
          <p:cNvPr id="74" name="Rectangle 73"/>
          <p:cNvSpPr/>
          <p:nvPr/>
        </p:nvSpPr>
        <p:spPr>
          <a:xfrm>
            <a:off x="7304961" y="2248608"/>
            <a:ext cx="599440" cy="51233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75" name="TextBox 74">
            <a:extLst>
              <a:ext uri="{FF2B5EF4-FFF2-40B4-BE49-F238E27FC236}">
                <a16:creationId xmlns:a16="http://schemas.microsoft.com/office/drawing/2014/main" id="{4C3E4A21-9338-4EE2-BF8D-F696A5EC3F8D}"/>
              </a:ext>
            </a:extLst>
          </p:cNvPr>
          <p:cNvSpPr txBox="1"/>
          <p:nvPr/>
        </p:nvSpPr>
        <p:spPr>
          <a:xfrm>
            <a:off x="8077587" y="2294398"/>
            <a:ext cx="3599640" cy="420756"/>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of resource loading from the browser cache rather than being retrieved from the network</a:t>
            </a:r>
          </a:p>
        </p:txBody>
      </p:sp>
      <p:sp>
        <p:nvSpPr>
          <p:cNvPr id="76" name="Rectangle 75"/>
          <p:cNvSpPr/>
          <p:nvPr/>
        </p:nvSpPr>
        <p:spPr>
          <a:xfrm>
            <a:off x="6081907" y="2247976"/>
            <a:ext cx="1223054" cy="513600"/>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App Cache</a:t>
            </a:r>
          </a:p>
        </p:txBody>
      </p:sp>
      <p:sp>
        <p:nvSpPr>
          <p:cNvPr id="77" name="Rectangle 76"/>
          <p:cNvSpPr/>
          <p:nvPr/>
        </p:nvSpPr>
        <p:spPr>
          <a:xfrm>
            <a:off x="7304961" y="2854312"/>
            <a:ext cx="599440" cy="51233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78" name="TextBox 77">
            <a:extLst>
              <a:ext uri="{FF2B5EF4-FFF2-40B4-BE49-F238E27FC236}">
                <a16:creationId xmlns:a16="http://schemas.microsoft.com/office/drawing/2014/main" id="{81A81327-0365-4377-9906-5B527023D173}"/>
              </a:ext>
            </a:extLst>
          </p:cNvPr>
          <p:cNvSpPr txBox="1"/>
          <p:nvPr/>
        </p:nvSpPr>
        <p:spPr>
          <a:xfrm>
            <a:off x="8077587" y="2900103"/>
            <a:ext cx="3599640" cy="420756"/>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elapsed performing the DNS lookup, that is, requesting the IP address for a certain domain name</a:t>
            </a:r>
          </a:p>
        </p:txBody>
      </p:sp>
      <p:sp>
        <p:nvSpPr>
          <p:cNvPr id="79" name="Rectangle 78"/>
          <p:cNvSpPr/>
          <p:nvPr/>
        </p:nvSpPr>
        <p:spPr>
          <a:xfrm>
            <a:off x="6081907" y="2853681"/>
            <a:ext cx="1223054" cy="513600"/>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DNS </a:t>
            </a:r>
            <a:br>
              <a:rPr lang="en-US" sz="1200" b="1">
                <a:solidFill>
                  <a:schemeClr val="bg2"/>
                </a:solidFill>
                <a:latin typeface="+mj-lt"/>
                <a:cs typeface="Arial" pitchFamily="34" charset="0"/>
              </a:rPr>
            </a:br>
            <a:r>
              <a:rPr lang="en-US" sz="1200" b="1">
                <a:solidFill>
                  <a:schemeClr val="bg2"/>
                </a:solidFill>
                <a:latin typeface="+mj-lt"/>
                <a:cs typeface="Arial" pitchFamily="34" charset="0"/>
              </a:rPr>
              <a:t>Lookup Time</a:t>
            </a:r>
          </a:p>
        </p:txBody>
      </p:sp>
      <p:sp>
        <p:nvSpPr>
          <p:cNvPr id="80" name="Rectangle 79"/>
          <p:cNvSpPr/>
          <p:nvPr/>
        </p:nvSpPr>
        <p:spPr>
          <a:xfrm>
            <a:off x="7304961" y="3460017"/>
            <a:ext cx="599440" cy="51233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1" name="TextBox 80">
            <a:extLst>
              <a:ext uri="{FF2B5EF4-FFF2-40B4-BE49-F238E27FC236}">
                <a16:creationId xmlns:a16="http://schemas.microsoft.com/office/drawing/2014/main" id="{0289D4EE-BE1D-40FB-870A-F8A0A61F2511}"/>
              </a:ext>
            </a:extLst>
          </p:cNvPr>
          <p:cNvSpPr txBox="1"/>
          <p:nvPr/>
        </p:nvSpPr>
        <p:spPr>
          <a:xfrm>
            <a:off x="8077587" y="3423701"/>
            <a:ext cx="3828840" cy="584968"/>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taken to establish the transport connection as well as other time intervals such as SSL handshakes. If HTTPS, this process includes TLS negotiation time</a:t>
            </a:r>
          </a:p>
        </p:txBody>
      </p:sp>
      <p:sp>
        <p:nvSpPr>
          <p:cNvPr id="82" name="Rectangle 81"/>
          <p:cNvSpPr/>
          <p:nvPr/>
        </p:nvSpPr>
        <p:spPr>
          <a:xfrm>
            <a:off x="6081907" y="3459385"/>
            <a:ext cx="1223054" cy="513600"/>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TCP</a:t>
            </a:r>
          </a:p>
        </p:txBody>
      </p:sp>
      <p:sp>
        <p:nvSpPr>
          <p:cNvPr id="83" name="Rectangle 82"/>
          <p:cNvSpPr/>
          <p:nvPr/>
        </p:nvSpPr>
        <p:spPr>
          <a:xfrm>
            <a:off x="7304961" y="4065722"/>
            <a:ext cx="599440" cy="51233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4" name="TextBox 83">
            <a:extLst>
              <a:ext uri="{FF2B5EF4-FFF2-40B4-BE49-F238E27FC236}">
                <a16:creationId xmlns:a16="http://schemas.microsoft.com/office/drawing/2014/main" id="{E27D9D61-6D07-47F0-8A05-BAE321C6B904}"/>
              </a:ext>
            </a:extLst>
          </p:cNvPr>
          <p:cNvSpPr txBox="1"/>
          <p:nvPr/>
        </p:nvSpPr>
        <p:spPr>
          <a:xfrm>
            <a:off x="8077587" y="4029406"/>
            <a:ext cx="3828840" cy="584968"/>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elapsed between making an HTTP request to the server, relevant application caches, or from local resources and receiving the first byte of the response</a:t>
            </a:r>
          </a:p>
        </p:txBody>
      </p:sp>
      <p:sp>
        <p:nvSpPr>
          <p:cNvPr id="85" name="Rectangle 84"/>
          <p:cNvSpPr/>
          <p:nvPr/>
        </p:nvSpPr>
        <p:spPr>
          <a:xfrm>
            <a:off x="6081907" y="4065090"/>
            <a:ext cx="1223054" cy="513600"/>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Request</a:t>
            </a:r>
          </a:p>
        </p:txBody>
      </p:sp>
      <p:sp>
        <p:nvSpPr>
          <p:cNvPr id="86" name="Rectangle 85"/>
          <p:cNvSpPr/>
          <p:nvPr/>
        </p:nvSpPr>
        <p:spPr>
          <a:xfrm>
            <a:off x="7304961" y="4671426"/>
            <a:ext cx="599440" cy="51233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7" name="TextBox 86">
            <a:extLst>
              <a:ext uri="{FF2B5EF4-FFF2-40B4-BE49-F238E27FC236}">
                <a16:creationId xmlns:a16="http://schemas.microsoft.com/office/drawing/2014/main" id="{1FB2878F-FA08-4D33-BBB2-BC67DE879FB5}"/>
              </a:ext>
            </a:extLst>
          </p:cNvPr>
          <p:cNvSpPr txBox="1"/>
          <p:nvPr/>
        </p:nvSpPr>
        <p:spPr>
          <a:xfrm>
            <a:off x="8077587" y="4635111"/>
            <a:ext cx="3828840" cy="584968"/>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elapsed between the first byte and the last byte of the response received or immediately before the transport connection is closed, whichever comes first</a:t>
            </a:r>
          </a:p>
        </p:txBody>
      </p:sp>
      <p:sp>
        <p:nvSpPr>
          <p:cNvPr id="88" name="Rectangle 87"/>
          <p:cNvSpPr/>
          <p:nvPr/>
        </p:nvSpPr>
        <p:spPr>
          <a:xfrm>
            <a:off x="6081907" y="4670795"/>
            <a:ext cx="1223054" cy="513600"/>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Response</a:t>
            </a:r>
          </a:p>
        </p:txBody>
      </p:sp>
      <p:sp>
        <p:nvSpPr>
          <p:cNvPr id="89" name="Rectangle 88"/>
          <p:cNvSpPr/>
          <p:nvPr/>
        </p:nvSpPr>
        <p:spPr>
          <a:xfrm>
            <a:off x="7304961" y="5277131"/>
            <a:ext cx="599440" cy="51233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90" name="TextBox 89">
            <a:extLst>
              <a:ext uri="{FF2B5EF4-FFF2-40B4-BE49-F238E27FC236}">
                <a16:creationId xmlns:a16="http://schemas.microsoft.com/office/drawing/2014/main" id="{96916971-F0F3-4231-B2FA-0DA29703FD1F}"/>
              </a:ext>
            </a:extLst>
          </p:cNvPr>
          <p:cNvSpPr txBox="1"/>
          <p:nvPr/>
        </p:nvSpPr>
        <p:spPr>
          <a:xfrm>
            <a:off x="8077587" y="5240815"/>
            <a:ext cx="3828840" cy="584968"/>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taken to render the page(processing the data by parsing and requesting additional sub resources requested by the documents)</a:t>
            </a:r>
          </a:p>
        </p:txBody>
      </p:sp>
      <p:sp>
        <p:nvSpPr>
          <p:cNvPr id="91" name="Rectangle 90"/>
          <p:cNvSpPr/>
          <p:nvPr/>
        </p:nvSpPr>
        <p:spPr>
          <a:xfrm>
            <a:off x="6081907" y="5276499"/>
            <a:ext cx="1223054" cy="513600"/>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Processing</a:t>
            </a:r>
          </a:p>
        </p:txBody>
      </p:sp>
      <p:sp>
        <p:nvSpPr>
          <p:cNvPr id="93" name="Rectangle 92"/>
          <p:cNvSpPr/>
          <p:nvPr/>
        </p:nvSpPr>
        <p:spPr>
          <a:xfrm>
            <a:off x="7304961" y="5882837"/>
            <a:ext cx="599440" cy="51233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94" name="TextBox 93">
            <a:extLst>
              <a:ext uri="{FF2B5EF4-FFF2-40B4-BE49-F238E27FC236}">
                <a16:creationId xmlns:a16="http://schemas.microsoft.com/office/drawing/2014/main" id="{5B1F6D66-3A53-43F6-ABC3-5EA5C6DE4792}"/>
              </a:ext>
            </a:extLst>
          </p:cNvPr>
          <p:cNvSpPr txBox="1"/>
          <p:nvPr/>
        </p:nvSpPr>
        <p:spPr>
          <a:xfrm>
            <a:off x="8077587" y="5846521"/>
            <a:ext cx="3599640" cy="584968"/>
          </a:xfrm>
          <a:prstGeom prst="rect">
            <a:avLst/>
          </a:prstGeom>
          <a:noFill/>
        </p:spPr>
        <p:txBody>
          <a:bodyPr wrap="square" rtlCol="0" anchor="ctr">
            <a:spAutoFit/>
          </a:bodyPr>
          <a:lstStyle/>
          <a:p>
            <a:r>
              <a:rPr lang="en-US" sz="1067">
                <a:solidFill>
                  <a:schemeClr val="bg1">
                    <a:lumMod val="10000"/>
                  </a:schemeClr>
                </a:solidFill>
                <a:latin typeface="+mj-lt"/>
                <a:cs typeface="Arial" pitchFamily="34" charset="0"/>
              </a:rPr>
              <a:t>Time when the browser finishes loading its document and resources. The page is considered fully loaded when it triggers a `load` event</a:t>
            </a:r>
          </a:p>
        </p:txBody>
      </p:sp>
      <p:sp>
        <p:nvSpPr>
          <p:cNvPr id="95" name="Rectangle 94"/>
          <p:cNvSpPr/>
          <p:nvPr/>
        </p:nvSpPr>
        <p:spPr>
          <a:xfrm>
            <a:off x="6081907" y="5882205"/>
            <a:ext cx="1223054" cy="513600"/>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2"/>
                </a:solidFill>
                <a:latin typeface="+mj-lt"/>
                <a:cs typeface="Arial" pitchFamily="34" charset="0"/>
              </a:rPr>
              <a:t>On-Load</a:t>
            </a:r>
          </a:p>
        </p:txBody>
      </p:sp>
      <p:grpSp>
        <p:nvGrpSpPr>
          <p:cNvPr id="104" name="Group 103"/>
          <p:cNvGrpSpPr/>
          <p:nvPr/>
        </p:nvGrpSpPr>
        <p:grpSpPr>
          <a:xfrm>
            <a:off x="1719783" y="1749318"/>
            <a:ext cx="340783" cy="299509"/>
            <a:chOff x="-1436688" y="6099175"/>
            <a:chExt cx="511175" cy="449263"/>
          </a:xfrm>
          <a:solidFill>
            <a:schemeClr val="accent1"/>
          </a:solidFill>
        </p:grpSpPr>
        <p:sp>
          <p:nvSpPr>
            <p:cNvPr id="101" name="Freeform 6"/>
            <p:cNvSpPr>
              <a:spLocks noEditPoints="1"/>
            </p:cNvSpPr>
            <p:nvPr/>
          </p:nvSpPr>
          <p:spPr bwMode="auto">
            <a:xfrm>
              <a:off x="-1436688" y="6099175"/>
              <a:ext cx="511175" cy="449263"/>
            </a:xfrm>
            <a:custGeom>
              <a:avLst/>
              <a:gdLst>
                <a:gd name="T0" fmla="*/ 322 w 322"/>
                <a:gd name="T1" fmla="*/ 226 h 283"/>
                <a:gd name="T2" fmla="*/ 322 w 322"/>
                <a:gd name="T3" fmla="*/ 0 h 283"/>
                <a:gd name="T4" fmla="*/ 0 w 322"/>
                <a:gd name="T5" fmla="*/ 0 h 283"/>
                <a:gd name="T6" fmla="*/ 0 w 322"/>
                <a:gd name="T7" fmla="*/ 226 h 283"/>
                <a:gd name="T8" fmla="*/ 123 w 322"/>
                <a:gd name="T9" fmla="*/ 226 h 283"/>
                <a:gd name="T10" fmla="*/ 123 w 322"/>
                <a:gd name="T11" fmla="*/ 264 h 283"/>
                <a:gd name="T12" fmla="*/ 85 w 322"/>
                <a:gd name="T13" fmla="*/ 264 h 283"/>
                <a:gd name="T14" fmla="*/ 85 w 322"/>
                <a:gd name="T15" fmla="*/ 283 h 283"/>
                <a:gd name="T16" fmla="*/ 237 w 322"/>
                <a:gd name="T17" fmla="*/ 283 h 283"/>
                <a:gd name="T18" fmla="*/ 237 w 322"/>
                <a:gd name="T19" fmla="*/ 264 h 283"/>
                <a:gd name="T20" fmla="*/ 199 w 322"/>
                <a:gd name="T21" fmla="*/ 264 h 283"/>
                <a:gd name="T22" fmla="*/ 199 w 322"/>
                <a:gd name="T23" fmla="*/ 226 h 283"/>
                <a:gd name="T24" fmla="*/ 322 w 322"/>
                <a:gd name="T25" fmla="*/ 226 h 283"/>
                <a:gd name="T26" fmla="*/ 19 w 322"/>
                <a:gd name="T27" fmla="*/ 208 h 283"/>
                <a:gd name="T28" fmla="*/ 19 w 322"/>
                <a:gd name="T29" fmla="*/ 19 h 283"/>
                <a:gd name="T30" fmla="*/ 303 w 322"/>
                <a:gd name="T31" fmla="*/ 19 h 283"/>
                <a:gd name="T32" fmla="*/ 303 w 322"/>
                <a:gd name="T33" fmla="*/ 208 h 283"/>
                <a:gd name="T34" fmla="*/ 19 w 322"/>
                <a:gd name="T35" fmla="*/ 208 h 283"/>
                <a:gd name="T36" fmla="*/ 180 w 322"/>
                <a:gd name="T37" fmla="*/ 264 h 283"/>
                <a:gd name="T38" fmla="*/ 142 w 322"/>
                <a:gd name="T39" fmla="*/ 264 h 283"/>
                <a:gd name="T40" fmla="*/ 142 w 322"/>
                <a:gd name="T41" fmla="*/ 226 h 283"/>
                <a:gd name="T42" fmla="*/ 180 w 322"/>
                <a:gd name="T43" fmla="*/ 226 h 283"/>
                <a:gd name="T44" fmla="*/ 180 w 322"/>
                <a:gd name="T45" fmla="*/ 26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2" h="283">
                  <a:moveTo>
                    <a:pt x="322" y="226"/>
                  </a:moveTo>
                  <a:lnTo>
                    <a:pt x="322" y="0"/>
                  </a:lnTo>
                  <a:lnTo>
                    <a:pt x="0" y="0"/>
                  </a:lnTo>
                  <a:lnTo>
                    <a:pt x="0" y="226"/>
                  </a:lnTo>
                  <a:lnTo>
                    <a:pt x="123" y="226"/>
                  </a:lnTo>
                  <a:lnTo>
                    <a:pt x="123" y="264"/>
                  </a:lnTo>
                  <a:lnTo>
                    <a:pt x="85" y="264"/>
                  </a:lnTo>
                  <a:lnTo>
                    <a:pt x="85" y="283"/>
                  </a:lnTo>
                  <a:lnTo>
                    <a:pt x="237" y="283"/>
                  </a:lnTo>
                  <a:lnTo>
                    <a:pt x="237" y="264"/>
                  </a:lnTo>
                  <a:lnTo>
                    <a:pt x="199" y="264"/>
                  </a:lnTo>
                  <a:lnTo>
                    <a:pt x="199" y="226"/>
                  </a:lnTo>
                  <a:lnTo>
                    <a:pt x="322" y="226"/>
                  </a:lnTo>
                  <a:close/>
                  <a:moveTo>
                    <a:pt x="19" y="208"/>
                  </a:moveTo>
                  <a:lnTo>
                    <a:pt x="19" y="19"/>
                  </a:lnTo>
                  <a:lnTo>
                    <a:pt x="303" y="19"/>
                  </a:lnTo>
                  <a:lnTo>
                    <a:pt x="303" y="208"/>
                  </a:lnTo>
                  <a:lnTo>
                    <a:pt x="19" y="208"/>
                  </a:lnTo>
                  <a:close/>
                  <a:moveTo>
                    <a:pt x="180" y="264"/>
                  </a:moveTo>
                  <a:lnTo>
                    <a:pt x="142" y="264"/>
                  </a:lnTo>
                  <a:lnTo>
                    <a:pt x="142" y="226"/>
                  </a:lnTo>
                  <a:lnTo>
                    <a:pt x="180" y="226"/>
                  </a:lnTo>
                  <a:lnTo>
                    <a:pt x="180"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2" name="Freeform 7"/>
            <p:cNvSpPr>
              <a:spLocks noEditPoints="1"/>
            </p:cNvSpPr>
            <p:nvPr/>
          </p:nvSpPr>
          <p:spPr bwMode="auto">
            <a:xfrm>
              <a:off x="-1301751" y="6159500"/>
              <a:ext cx="241300" cy="23971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32 w 64"/>
                <a:gd name="T11" fmla="*/ 56 h 64"/>
                <a:gd name="T12" fmla="*/ 8 w 64"/>
                <a:gd name="T13" fmla="*/ 32 h 64"/>
                <a:gd name="T14" fmla="*/ 32 w 64"/>
                <a:gd name="T15" fmla="*/ 8 h 64"/>
                <a:gd name="T16" fmla="*/ 56 w 64"/>
                <a:gd name="T17" fmla="*/ 32 h 64"/>
                <a:gd name="T18" fmla="*/ 32 w 64"/>
                <a:gd name="T1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50" y="0"/>
                    <a:pt x="32" y="0"/>
                  </a:cubicBezTo>
                  <a:cubicBezTo>
                    <a:pt x="14" y="0"/>
                    <a:pt x="0" y="14"/>
                    <a:pt x="0" y="32"/>
                  </a:cubicBezTo>
                  <a:cubicBezTo>
                    <a:pt x="0" y="50"/>
                    <a:pt x="14" y="64"/>
                    <a:pt x="32" y="64"/>
                  </a:cubicBezTo>
                  <a:cubicBezTo>
                    <a:pt x="50" y="64"/>
                    <a:pt x="64" y="50"/>
                    <a:pt x="64" y="32"/>
                  </a:cubicBezTo>
                  <a:close/>
                  <a:moveTo>
                    <a:pt x="32" y="56"/>
                  </a:moveTo>
                  <a:cubicBezTo>
                    <a:pt x="19" y="56"/>
                    <a:pt x="8" y="45"/>
                    <a:pt x="8" y="32"/>
                  </a:cubicBezTo>
                  <a:cubicBezTo>
                    <a:pt x="8" y="19"/>
                    <a:pt x="19" y="8"/>
                    <a:pt x="32" y="8"/>
                  </a:cubicBezTo>
                  <a:cubicBezTo>
                    <a:pt x="45" y="8"/>
                    <a:pt x="56" y="19"/>
                    <a:pt x="56" y="32"/>
                  </a:cubicBezTo>
                  <a:cubicBezTo>
                    <a:pt x="56" y="45"/>
                    <a:pt x="45" y="56"/>
                    <a:pt x="3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3" name="Freeform 8"/>
            <p:cNvSpPr>
              <a:spLocks/>
            </p:cNvSpPr>
            <p:nvPr/>
          </p:nvSpPr>
          <p:spPr bwMode="auto">
            <a:xfrm>
              <a:off x="-1233488" y="6223000"/>
              <a:ext cx="104775" cy="119063"/>
            </a:xfrm>
            <a:custGeom>
              <a:avLst/>
              <a:gdLst>
                <a:gd name="T0" fmla="*/ 42 w 66"/>
                <a:gd name="T1" fmla="*/ 40 h 75"/>
                <a:gd name="T2" fmla="*/ 42 w 66"/>
                <a:gd name="T3" fmla="*/ 0 h 75"/>
                <a:gd name="T4" fmla="*/ 24 w 66"/>
                <a:gd name="T5" fmla="*/ 0 h 75"/>
                <a:gd name="T6" fmla="*/ 24 w 66"/>
                <a:gd name="T7" fmla="*/ 40 h 75"/>
                <a:gd name="T8" fmla="*/ 14 w 66"/>
                <a:gd name="T9" fmla="*/ 28 h 75"/>
                <a:gd name="T10" fmla="*/ 0 w 66"/>
                <a:gd name="T11" fmla="*/ 42 h 75"/>
                <a:gd name="T12" fmla="*/ 33 w 66"/>
                <a:gd name="T13" fmla="*/ 75 h 75"/>
                <a:gd name="T14" fmla="*/ 66 w 66"/>
                <a:gd name="T15" fmla="*/ 42 h 75"/>
                <a:gd name="T16" fmla="*/ 52 w 66"/>
                <a:gd name="T17" fmla="*/ 28 h 75"/>
                <a:gd name="T18" fmla="*/ 42 w 66"/>
                <a:gd name="T19" fmla="*/ 4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75">
                  <a:moveTo>
                    <a:pt x="42" y="40"/>
                  </a:moveTo>
                  <a:lnTo>
                    <a:pt x="42" y="0"/>
                  </a:lnTo>
                  <a:lnTo>
                    <a:pt x="24" y="0"/>
                  </a:lnTo>
                  <a:lnTo>
                    <a:pt x="24" y="40"/>
                  </a:lnTo>
                  <a:lnTo>
                    <a:pt x="14" y="28"/>
                  </a:lnTo>
                  <a:lnTo>
                    <a:pt x="0" y="42"/>
                  </a:lnTo>
                  <a:lnTo>
                    <a:pt x="33" y="75"/>
                  </a:lnTo>
                  <a:lnTo>
                    <a:pt x="66" y="42"/>
                  </a:lnTo>
                  <a:lnTo>
                    <a:pt x="52" y="28"/>
                  </a:lnTo>
                  <a:lnTo>
                    <a:pt x="42"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111" name="Group 110"/>
          <p:cNvGrpSpPr/>
          <p:nvPr/>
        </p:nvGrpSpPr>
        <p:grpSpPr>
          <a:xfrm>
            <a:off x="1697057" y="2312137"/>
            <a:ext cx="386235" cy="385279"/>
            <a:chOff x="-2647950" y="4662488"/>
            <a:chExt cx="1924050" cy="1919287"/>
          </a:xfrm>
          <a:solidFill>
            <a:schemeClr val="accent1"/>
          </a:solidFill>
        </p:grpSpPr>
        <p:sp>
          <p:nvSpPr>
            <p:cNvPr id="107" name="Freeform 13"/>
            <p:cNvSpPr>
              <a:spLocks noEditPoints="1"/>
            </p:cNvSpPr>
            <p:nvPr/>
          </p:nvSpPr>
          <p:spPr bwMode="auto">
            <a:xfrm>
              <a:off x="-2647950" y="4778375"/>
              <a:ext cx="1924050" cy="1803400"/>
            </a:xfrm>
            <a:custGeom>
              <a:avLst/>
              <a:gdLst>
                <a:gd name="T0" fmla="*/ 120 w 513"/>
                <a:gd name="T1" fmla="*/ 2 h 481"/>
                <a:gd name="T2" fmla="*/ 109 w 513"/>
                <a:gd name="T3" fmla="*/ 5 h 481"/>
                <a:gd name="T4" fmla="*/ 107 w 513"/>
                <a:gd name="T5" fmla="*/ 105 h 481"/>
                <a:gd name="T6" fmla="*/ 71 w 513"/>
                <a:gd name="T7" fmla="*/ 167 h 481"/>
                <a:gd name="T8" fmla="*/ 74 w 513"/>
                <a:gd name="T9" fmla="*/ 178 h 481"/>
                <a:gd name="T10" fmla="*/ 134 w 513"/>
                <a:gd name="T11" fmla="*/ 331 h 481"/>
                <a:gd name="T12" fmla="*/ 131 w 513"/>
                <a:gd name="T13" fmla="*/ 334 h 481"/>
                <a:gd name="T14" fmla="*/ 48 w 513"/>
                <a:gd name="T15" fmla="*/ 345 h 481"/>
                <a:gd name="T16" fmla="*/ 0 w 513"/>
                <a:gd name="T17" fmla="*/ 313 h 481"/>
                <a:gd name="T18" fmla="*/ 8 w 513"/>
                <a:gd name="T19" fmla="*/ 481 h 481"/>
                <a:gd name="T20" fmla="*/ 48 w 513"/>
                <a:gd name="T21" fmla="*/ 439 h 481"/>
                <a:gd name="T22" fmla="*/ 166 w 513"/>
                <a:gd name="T23" fmla="*/ 414 h 481"/>
                <a:gd name="T24" fmla="*/ 212 w 513"/>
                <a:gd name="T25" fmla="*/ 350 h 481"/>
                <a:gd name="T26" fmla="*/ 351 w 513"/>
                <a:gd name="T27" fmla="*/ 339 h 481"/>
                <a:gd name="T28" fmla="*/ 357 w 513"/>
                <a:gd name="T29" fmla="*/ 339 h 481"/>
                <a:gd name="T30" fmla="*/ 379 w 513"/>
                <a:gd name="T31" fmla="*/ 305 h 481"/>
                <a:gd name="T32" fmla="*/ 398 w 513"/>
                <a:gd name="T33" fmla="*/ 328 h 481"/>
                <a:gd name="T34" fmla="*/ 405 w 513"/>
                <a:gd name="T35" fmla="*/ 324 h 481"/>
                <a:gd name="T36" fmla="*/ 433 w 513"/>
                <a:gd name="T37" fmla="*/ 278 h 481"/>
                <a:gd name="T38" fmla="*/ 508 w 513"/>
                <a:gd name="T39" fmla="*/ 226 h 481"/>
                <a:gd name="T40" fmla="*/ 16 w 513"/>
                <a:gd name="T41" fmla="*/ 464 h 481"/>
                <a:gd name="T42" fmla="*/ 32 w 513"/>
                <a:gd name="T43" fmla="*/ 345 h 481"/>
                <a:gd name="T44" fmla="*/ 48 w 513"/>
                <a:gd name="T45" fmla="*/ 373 h 481"/>
                <a:gd name="T46" fmla="*/ 132 w 513"/>
                <a:gd name="T47" fmla="*/ 400 h 481"/>
                <a:gd name="T48" fmla="*/ 48 w 513"/>
                <a:gd name="T49" fmla="*/ 373 h 481"/>
                <a:gd name="T50" fmla="*/ 144 w 513"/>
                <a:gd name="T51" fmla="*/ 389 h 481"/>
                <a:gd name="T52" fmla="*/ 189 w 513"/>
                <a:gd name="T53" fmla="*/ 344 h 481"/>
                <a:gd name="T54" fmla="*/ 189 w 513"/>
                <a:gd name="T55" fmla="*/ 389 h 481"/>
                <a:gd name="T56" fmla="*/ 166 w 513"/>
                <a:gd name="T57" fmla="*/ 318 h 481"/>
                <a:gd name="T58" fmla="*/ 176 w 513"/>
                <a:gd name="T59" fmla="*/ 237 h 481"/>
                <a:gd name="T60" fmla="*/ 200 w 513"/>
                <a:gd name="T61" fmla="*/ 332 h 481"/>
                <a:gd name="T62" fmla="*/ 175 w 513"/>
                <a:gd name="T63" fmla="*/ 219 h 481"/>
                <a:gd name="T64" fmla="*/ 175 w 513"/>
                <a:gd name="T65" fmla="*/ 219 h 481"/>
                <a:gd name="T66" fmla="*/ 121 w 513"/>
                <a:gd name="T67" fmla="*/ 113 h 481"/>
                <a:gd name="T68" fmla="*/ 384 w 513"/>
                <a:gd name="T69" fmla="*/ 265 h 481"/>
                <a:gd name="T70" fmla="*/ 352 w 513"/>
                <a:gd name="T71" fmla="*/ 321 h 481"/>
                <a:gd name="T72" fmla="*/ 388 w 513"/>
                <a:gd name="T73" fmla="*/ 290 h 481"/>
                <a:gd name="T74" fmla="*/ 414 w 513"/>
                <a:gd name="T75" fmla="*/ 276 h 481"/>
                <a:gd name="T76" fmla="*/ 392 w 513"/>
                <a:gd name="T77" fmla="*/ 251 h 481"/>
                <a:gd name="T78" fmla="*/ 104 w 513"/>
                <a:gd name="T79" fmla="*/ 50 h 481"/>
                <a:gd name="T80" fmla="*/ 493 w 513"/>
                <a:gd name="T81" fmla="*/ 23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3" h="481">
                  <a:moveTo>
                    <a:pt x="508" y="226"/>
                  </a:moveTo>
                  <a:cubicBezTo>
                    <a:pt x="120" y="2"/>
                    <a:pt x="120" y="2"/>
                    <a:pt x="120" y="2"/>
                  </a:cubicBezTo>
                  <a:cubicBezTo>
                    <a:pt x="116" y="0"/>
                    <a:pt x="111" y="1"/>
                    <a:pt x="109" y="5"/>
                  </a:cubicBezTo>
                  <a:cubicBezTo>
                    <a:pt x="109" y="5"/>
                    <a:pt x="109" y="5"/>
                    <a:pt x="109" y="5"/>
                  </a:cubicBezTo>
                  <a:cubicBezTo>
                    <a:pt x="90" y="43"/>
                    <a:pt x="90" y="43"/>
                    <a:pt x="90" y="43"/>
                  </a:cubicBezTo>
                  <a:cubicBezTo>
                    <a:pt x="78" y="65"/>
                    <a:pt x="86" y="92"/>
                    <a:pt x="107" y="105"/>
                  </a:cubicBezTo>
                  <a:cubicBezTo>
                    <a:pt x="107" y="105"/>
                    <a:pt x="107" y="105"/>
                    <a:pt x="107" y="105"/>
                  </a:cubicBezTo>
                  <a:cubicBezTo>
                    <a:pt x="71" y="167"/>
                    <a:pt x="71" y="167"/>
                    <a:pt x="71" y="167"/>
                  </a:cubicBezTo>
                  <a:cubicBezTo>
                    <a:pt x="70" y="169"/>
                    <a:pt x="69" y="171"/>
                    <a:pt x="70" y="173"/>
                  </a:cubicBezTo>
                  <a:cubicBezTo>
                    <a:pt x="70" y="175"/>
                    <a:pt x="72" y="177"/>
                    <a:pt x="74" y="178"/>
                  </a:cubicBezTo>
                  <a:cubicBezTo>
                    <a:pt x="161" y="229"/>
                    <a:pt x="161" y="229"/>
                    <a:pt x="161" y="229"/>
                  </a:cubicBezTo>
                  <a:cubicBezTo>
                    <a:pt x="134" y="331"/>
                    <a:pt x="134" y="331"/>
                    <a:pt x="134" y="331"/>
                  </a:cubicBezTo>
                  <a:cubicBezTo>
                    <a:pt x="134" y="331"/>
                    <a:pt x="133" y="332"/>
                    <a:pt x="133" y="332"/>
                  </a:cubicBezTo>
                  <a:cubicBezTo>
                    <a:pt x="132" y="333"/>
                    <a:pt x="132" y="333"/>
                    <a:pt x="131" y="334"/>
                  </a:cubicBezTo>
                  <a:cubicBezTo>
                    <a:pt x="48" y="356"/>
                    <a:pt x="48" y="356"/>
                    <a:pt x="48" y="356"/>
                  </a:cubicBezTo>
                  <a:cubicBezTo>
                    <a:pt x="48" y="345"/>
                    <a:pt x="48" y="345"/>
                    <a:pt x="48" y="345"/>
                  </a:cubicBezTo>
                  <a:cubicBezTo>
                    <a:pt x="48" y="323"/>
                    <a:pt x="30" y="305"/>
                    <a:pt x="8" y="305"/>
                  </a:cubicBezTo>
                  <a:cubicBezTo>
                    <a:pt x="4" y="305"/>
                    <a:pt x="0" y="309"/>
                    <a:pt x="0" y="313"/>
                  </a:cubicBezTo>
                  <a:cubicBezTo>
                    <a:pt x="0" y="473"/>
                    <a:pt x="0" y="473"/>
                    <a:pt x="0" y="473"/>
                  </a:cubicBezTo>
                  <a:cubicBezTo>
                    <a:pt x="0" y="477"/>
                    <a:pt x="4" y="481"/>
                    <a:pt x="8" y="481"/>
                  </a:cubicBezTo>
                  <a:cubicBezTo>
                    <a:pt x="30" y="481"/>
                    <a:pt x="48" y="463"/>
                    <a:pt x="48" y="441"/>
                  </a:cubicBezTo>
                  <a:cubicBezTo>
                    <a:pt x="48" y="439"/>
                    <a:pt x="48" y="439"/>
                    <a:pt x="48" y="439"/>
                  </a:cubicBezTo>
                  <a:cubicBezTo>
                    <a:pt x="151" y="412"/>
                    <a:pt x="151" y="412"/>
                    <a:pt x="151" y="412"/>
                  </a:cubicBezTo>
                  <a:cubicBezTo>
                    <a:pt x="156" y="413"/>
                    <a:pt x="161" y="414"/>
                    <a:pt x="166" y="414"/>
                  </a:cubicBezTo>
                  <a:cubicBezTo>
                    <a:pt x="193" y="414"/>
                    <a:pt x="214" y="393"/>
                    <a:pt x="214" y="366"/>
                  </a:cubicBezTo>
                  <a:cubicBezTo>
                    <a:pt x="214" y="361"/>
                    <a:pt x="213" y="355"/>
                    <a:pt x="212" y="350"/>
                  </a:cubicBezTo>
                  <a:cubicBezTo>
                    <a:pt x="233" y="271"/>
                    <a:pt x="233" y="271"/>
                    <a:pt x="233" y="271"/>
                  </a:cubicBezTo>
                  <a:cubicBezTo>
                    <a:pt x="351" y="339"/>
                    <a:pt x="351" y="339"/>
                    <a:pt x="351" y="339"/>
                  </a:cubicBezTo>
                  <a:cubicBezTo>
                    <a:pt x="352" y="339"/>
                    <a:pt x="353" y="340"/>
                    <a:pt x="355" y="340"/>
                  </a:cubicBezTo>
                  <a:cubicBezTo>
                    <a:pt x="355" y="340"/>
                    <a:pt x="356" y="340"/>
                    <a:pt x="357" y="339"/>
                  </a:cubicBezTo>
                  <a:cubicBezTo>
                    <a:pt x="359" y="339"/>
                    <a:pt x="361" y="337"/>
                    <a:pt x="362" y="336"/>
                  </a:cubicBezTo>
                  <a:cubicBezTo>
                    <a:pt x="379" y="305"/>
                    <a:pt x="379" y="305"/>
                    <a:pt x="379" y="305"/>
                  </a:cubicBezTo>
                  <a:cubicBezTo>
                    <a:pt x="392" y="324"/>
                    <a:pt x="392" y="324"/>
                    <a:pt x="392" y="324"/>
                  </a:cubicBezTo>
                  <a:cubicBezTo>
                    <a:pt x="393" y="327"/>
                    <a:pt x="396" y="328"/>
                    <a:pt x="398" y="328"/>
                  </a:cubicBezTo>
                  <a:cubicBezTo>
                    <a:pt x="399" y="328"/>
                    <a:pt x="399" y="328"/>
                    <a:pt x="399" y="328"/>
                  </a:cubicBezTo>
                  <a:cubicBezTo>
                    <a:pt x="401" y="328"/>
                    <a:pt x="404" y="326"/>
                    <a:pt x="405" y="324"/>
                  </a:cubicBezTo>
                  <a:cubicBezTo>
                    <a:pt x="432" y="278"/>
                    <a:pt x="432" y="278"/>
                    <a:pt x="432" y="278"/>
                  </a:cubicBezTo>
                  <a:cubicBezTo>
                    <a:pt x="433" y="278"/>
                    <a:pt x="433" y="278"/>
                    <a:pt x="433" y="278"/>
                  </a:cubicBezTo>
                  <a:cubicBezTo>
                    <a:pt x="465" y="278"/>
                    <a:pt x="496" y="263"/>
                    <a:pt x="511" y="237"/>
                  </a:cubicBezTo>
                  <a:cubicBezTo>
                    <a:pt x="513" y="233"/>
                    <a:pt x="512" y="228"/>
                    <a:pt x="508" y="226"/>
                  </a:cubicBezTo>
                  <a:close/>
                  <a:moveTo>
                    <a:pt x="32" y="441"/>
                  </a:moveTo>
                  <a:cubicBezTo>
                    <a:pt x="32" y="451"/>
                    <a:pt x="26" y="460"/>
                    <a:pt x="16" y="464"/>
                  </a:cubicBezTo>
                  <a:cubicBezTo>
                    <a:pt x="16" y="322"/>
                    <a:pt x="16" y="322"/>
                    <a:pt x="16" y="322"/>
                  </a:cubicBezTo>
                  <a:cubicBezTo>
                    <a:pt x="26" y="326"/>
                    <a:pt x="32" y="335"/>
                    <a:pt x="32" y="345"/>
                  </a:cubicBezTo>
                  <a:lnTo>
                    <a:pt x="32" y="441"/>
                  </a:lnTo>
                  <a:close/>
                  <a:moveTo>
                    <a:pt x="48" y="373"/>
                  </a:moveTo>
                  <a:cubicBezTo>
                    <a:pt x="120" y="354"/>
                    <a:pt x="120" y="354"/>
                    <a:pt x="120" y="354"/>
                  </a:cubicBezTo>
                  <a:cubicBezTo>
                    <a:pt x="116" y="370"/>
                    <a:pt x="120" y="388"/>
                    <a:pt x="132" y="400"/>
                  </a:cubicBezTo>
                  <a:cubicBezTo>
                    <a:pt x="48" y="423"/>
                    <a:pt x="48" y="423"/>
                    <a:pt x="48" y="423"/>
                  </a:cubicBezTo>
                  <a:lnTo>
                    <a:pt x="48" y="373"/>
                  </a:lnTo>
                  <a:close/>
                  <a:moveTo>
                    <a:pt x="189" y="389"/>
                  </a:moveTo>
                  <a:cubicBezTo>
                    <a:pt x="177" y="402"/>
                    <a:pt x="156" y="402"/>
                    <a:pt x="144" y="389"/>
                  </a:cubicBezTo>
                  <a:cubicBezTo>
                    <a:pt x="131" y="377"/>
                    <a:pt x="131" y="356"/>
                    <a:pt x="144" y="344"/>
                  </a:cubicBezTo>
                  <a:cubicBezTo>
                    <a:pt x="156" y="331"/>
                    <a:pt x="177" y="331"/>
                    <a:pt x="189" y="344"/>
                  </a:cubicBezTo>
                  <a:cubicBezTo>
                    <a:pt x="189" y="344"/>
                    <a:pt x="189" y="344"/>
                    <a:pt x="189" y="344"/>
                  </a:cubicBezTo>
                  <a:cubicBezTo>
                    <a:pt x="202" y="356"/>
                    <a:pt x="202" y="377"/>
                    <a:pt x="189" y="389"/>
                  </a:cubicBezTo>
                  <a:close/>
                  <a:moveTo>
                    <a:pt x="200" y="332"/>
                  </a:moveTo>
                  <a:cubicBezTo>
                    <a:pt x="191" y="323"/>
                    <a:pt x="179" y="318"/>
                    <a:pt x="166" y="318"/>
                  </a:cubicBezTo>
                  <a:cubicBezTo>
                    <a:pt x="162" y="318"/>
                    <a:pt x="158" y="319"/>
                    <a:pt x="153" y="320"/>
                  </a:cubicBezTo>
                  <a:cubicBezTo>
                    <a:pt x="176" y="237"/>
                    <a:pt x="176" y="237"/>
                    <a:pt x="176" y="237"/>
                  </a:cubicBezTo>
                  <a:cubicBezTo>
                    <a:pt x="219" y="263"/>
                    <a:pt x="219" y="263"/>
                    <a:pt x="219" y="263"/>
                  </a:cubicBezTo>
                  <a:lnTo>
                    <a:pt x="200" y="332"/>
                  </a:lnTo>
                  <a:close/>
                  <a:moveTo>
                    <a:pt x="352" y="321"/>
                  </a:moveTo>
                  <a:cubicBezTo>
                    <a:pt x="175" y="219"/>
                    <a:pt x="175" y="219"/>
                    <a:pt x="175" y="219"/>
                  </a:cubicBezTo>
                  <a:cubicBezTo>
                    <a:pt x="175" y="219"/>
                    <a:pt x="175" y="219"/>
                    <a:pt x="175" y="219"/>
                  </a:cubicBezTo>
                  <a:cubicBezTo>
                    <a:pt x="175" y="219"/>
                    <a:pt x="175" y="219"/>
                    <a:pt x="175" y="219"/>
                  </a:cubicBezTo>
                  <a:cubicBezTo>
                    <a:pt x="89" y="169"/>
                    <a:pt x="89" y="169"/>
                    <a:pt x="89" y="169"/>
                  </a:cubicBezTo>
                  <a:cubicBezTo>
                    <a:pt x="121" y="113"/>
                    <a:pt x="121" y="113"/>
                    <a:pt x="121" y="113"/>
                  </a:cubicBezTo>
                  <a:cubicBezTo>
                    <a:pt x="121" y="113"/>
                    <a:pt x="121" y="113"/>
                    <a:pt x="121" y="113"/>
                  </a:cubicBezTo>
                  <a:cubicBezTo>
                    <a:pt x="384" y="265"/>
                    <a:pt x="384" y="265"/>
                    <a:pt x="384" y="265"/>
                  </a:cubicBezTo>
                  <a:cubicBezTo>
                    <a:pt x="384" y="265"/>
                    <a:pt x="384" y="265"/>
                    <a:pt x="384" y="265"/>
                  </a:cubicBezTo>
                  <a:lnTo>
                    <a:pt x="352" y="321"/>
                  </a:lnTo>
                  <a:close/>
                  <a:moveTo>
                    <a:pt x="398" y="305"/>
                  </a:moveTo>
                  <a:cubicBezTo>
                    <a:pt x="388" y="290"/>
                    <a:pt x="388" y="290"/>
                    <a:pt x="388" y="290"/>
                  </a:cubicBezTo>
                  <a:cubicBezTo>
                    <a:pt x="398" y="272"/>
                    <a:pt x="398" y="272"/>
                    <a:pt x="398" y="272"/>
                  </a:cubicBezTo>
                  <a:cubicBezTo>
                    <a:pt x="403" y="274"/>
                    <a:pt x="409" y="275"/>
                    <a:pt x="414" y="276"/>
                  </a:cubicBezTo>
                  <a:lnTo>
                    <a:pt x="398" y="305"/>
                  </a:lnTo>
                  <a:close/>
                  <a:moveTo>
                    <a:pt x="392" y="251"/>
                  </a:moveTo>
                  <a:cubicBezTo>
                    <a:pt x="116" y="92"/>
                    <a:pt x="116" y="92"/>
                    <a:pt x="116" y="92"/>
                  </a:cubicBezTo>
                  <a:cubicBezTo>
                    <a:pt x="102" y="84"/>
                    <a:pt x="96" y="65"/>
                    <a:pt x="104" y="50"/>
                  </a:cubicBezTo>
                  <a:cubicBezTo>
                    <a:pt x="119" y="20"/>
                    <a:pt x="119" y="20"/>
                    <a:pt x="119" y="20"/>
                  </a:cubicBezTo>
                  <a:cubicBezTo>
                    <a:pt x="493" y="236"/>
                    <a:pt x="493" y="236"/>
                    <a:pt x="493" y="236"/>
                  </a:cubicBezTo>
                  <a:cubicBezTo>
                    <a:pt x="473" y="261"/>
                    <a:pt x="428" y="272"/>
                    <a:pt x="392"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8" name="Freeform 14"/>
            <p:cNvSpPr>
              <a:spLocks/>
            </p:cNvSpPr>
            <p:nvPr/>
          </p:nvSpPr>
          <p:spPr bwMode="auto">
            <a:xfrm>
              <a:off x="-1147763" y="4781550"/>
              <a:ext cx="300038" cy="300037"/>
            </a:xfrm>
            <a:custGeom>
              <a:avLst/>
              <a:gdLst>
                <a:gd name="T0" fmla="*/ 8 w 80"/>
                <a:gd name="T1" fmla="*/ 16 h 80"/>
                <a:gd name="T2" fmla="*/ 64 w 80"/>
                <a:gd name="T3" fmla="*/ 72 h 80"/>
                <a:gd name="T4" fmla="*/ 72 w 80"/>
                <a:gd name="T5" fmla="*/ 80 h 80"/>
                <a:gd name="T6" fmla="*/ 80 w 80"/>
                <a:gd name="T7" fmla="*/ 72 h 80"/>
                <a:gd name="T8" fmla="*/ 8 w 80"/>
                <a:gd name="T9" fmla="*/ 0 h 80"/>
                <a:gd name="T10" fmla="*/ 0 w 80"/>
                <a:gd name="T11" fmla="*/ 8 h 80"/>
                <a:gd name="T12" fmla="*/ 8 w 80"/>
                <a:gd name="T13" fmla="*/ 16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8" y="16"/>
                  </a:moveTo>
                  <a:cubicBezTo>
                    <a:pt x="39" y="16"/>
                    <a:pt x="64" y="41"/>
                    <a:pt x="64" y="72"/>
                  </a:cubicBezTo>
                  <a:cubicBezTo>
                    <a:pt x="64" y="76"/>
                    <a:pt x="68" y="80"/>
                    <a:pt x="72" y="80"/>
                  </a:cubicBezTo>
                  <a:cubicBezTo>
                    <a:pt x="76" y="80"/>
                    <a:pt x="80" y="76"/>
                    <a:pt x="80" y="72"/>
                  </a:cubicBezTo>
                  <a:cubicBezTo>
                    <a:pt x="80" y="32"/>
                    <a:pt x="48"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09" name="Freeform 15"/>
            <p:cNvSpPr>
              <a:spLocks/>
            </p:cNvSpPr>
            <p:nvPr/>
          </p:nvSpPr>
          <p:spPr bwMode="auto">
            <a:xfrm>
              <a:off x="-1147763" y="4902200"/>
              <a:ext cx="179388" cy="179387"/>
            </a:xfrm>
            <a:custGeom>
              <a:avLst/>
              <a:gdLst>
                <a:gd name="T0" fmla="*/ 8 w 48"/>
                <a:gd name="T1" fmla="*/ 16 h 48"/>
                <a:gd name="T2" fmla="*/ 32 w 48"/>
                <a:gd name="T3" fmla="*/ 40 h 48"/>
                <a:gd name="T4" fmla="*/ 40 w 48"/>
                <a:gd name="T5" fmla="*/ 48 h 48"/>
                <a:gd name="T6" fmla="*/ 48 w 48"/>
                <a:gd name="T7" fmla="*/ 40 h 48"/>
                <a:gd name="T8" fmla="*/ 8 w 48"/>
                <a:gd name="T9" fmla="*/ 0 h 48"/>
                <a:gd name="T10" fmla="*/ 0 w 48"/>
                <a:gd name="T11" fmla="*/ 8 h 48"/>
                <a:gd name="T12" fmla="*/ 8 w 48"/>
                <a:gd name="T13" fmla="*/ 16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8" y="16"/>
                  </a:moveTo>
                  <a:cubicBezTo>
                    <a:pt x="21" y="16"/>
                    <a:pt x="32" y="27"/>
                    <a:pt x="32" y="40"/>
                  </a:cubicBezTo>
                  <a:cubicBezTo>
                    <a:pt x="32" y="44"/>
                    <a:pt x="36" y="48"/>
                    <a:pt x="40" y="48"/>
                  </a:cubicBezTo>
                  <a:cubicBezTo>
                    <a:pt x="44" y="48"/>
                    <a:pt x="48" y="44"/>
                    <a:pt x="48" y="40"/>
                  </a:cubicBezTo>
                  <a:cubicBezTo>
                    <a:pt x="48" y="18"/>
                    <a:pt x="30"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10" name="Freeform 16"/>
            <p:cNvSpPr>
              <a:spLocks/>
            </p:cNvSpPr>
            <p:nvPr/>
          </p:nvSpPr>
          <p:spPr bwMode="auto">
            <a:xfrm>
              <a:off x="-1147763" y="4662488"/>
              <a:ext cx="420688" cy="419100"/>
            </a:xfrm>
            <a:custGeom>
              <a:avLst/>
              <a:gdLst>
                <a:gd name="T0" fmla="*/ 8 w 112"/>
                <a:gd name="T1" fmla="*/ 16 h 112"/>
                <a:gd name="T2" fmla="*/ 96 w 112"/>
                <a:gd name="T3" fmla="*/ 104 h 112"/>
                <a:gd name="T4" fmla="*/ 104 w 112"/>
                <a:gd name="T5" fmla="*/ 112 h 112"/>
                <a:gd name="T6" fmla="*/ 112 w 112"/>
                <a:gd name="T7" fmla="*/ 104 h 112"/>
                <a:gd name="T8" fmla="*/ 8 w 112"/>
                <a:gd name="T9" fmla="*/ 0 h 112"/>
                <a:gd name="T10" fmla="*/ 0 w 112"/>
                <a:gd name="T11" fmla="*/ 8 h 112"/>
                <a:gd name="T12" fmla="*/ 8 w 112"/>
                <a:gd name="T13" fmla="*/ 16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8" y="16"/>
                  </a:moveTo>
                  <a:cubicBezTo>
                    <a:pt x="57" y="16"/>
                    <a:pt x="96" y="55"/>
                    <a:pt x="96" y="104"/>
                  </a:cubicBezTo>
                  <a:cubicBezTo>
                    <a:pt x="96" y="108"/>
                    <a:pt x="100" y="112"/>
                    <a:pt x="104" y="112"/>
                  </a:cubicBezTo>
                  <a:cubicBezTo>
                    <a:pt x="108" y="112"/>
                    <a:pt x="112" y="108"/>
                    <a:pt x="112" y="104"/>
                  </a:cubicBezTo>
                  <a:cubicBezTo>
                    <a:pt x="112" y="47"/>
                    <a:pt x="65"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097" name="Group 4096"/>
          <p:cNvGrpSpPr/>
          <p:nvPr/>
        </p:nvGrpSpPr>
        <p:grpSpPr>
          <a:xfrm>
            <a:off x="1723487" y="2952043"/>
            <a:ext cx="333375" cy="316877"/>
            <a:chOff x="-1573213" y="6564313"/>
            <a:chExt cx="930275" cy="884237"/>
          </a:xfrm>
        </p:grpSpPr>
        <p:sp>
          <p:nvSpPr>
            <p:cNvPr id="114" name="Rectangle 21"/>
            <p:cNvSpPr>
              <a:spLocks noChangeArrowheads="1"/>
            </p:cNvSpPr>
            <p:nvPr/>
          </p:nvSpPr>
          <p:spPr bwMode="auto">
            <a:xfrm>
              <a:off x="-1262063" y="7277100"/>
              <a:ext cx="312737" cy="96837"/>
            </a:xfrm>
            <a:prstGeom prst="rect">
              <a:avLst/>
            </a:pr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15" name="Rectangle 22"/>
            <p:cNvSpPr>
              <a:spLocks noChangeArrowheads="1"/>
            </p:cNvSpPr>
            <p:nvPr/>
          </p:nvSpPr>
          <p:spPr bwMode="auto">
            <a:xfrm>
              <a:off x="-1328738" y="7373938"/>
              <a:ext cx="442912" cy="74612"/>
            </a:xfrm>
            <a:prstGeom prst="rect">
              <a:avLst/>
            </a:pr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16" name="Freeform 23"/>
            <p:cNvSpPr>
              <a:spLocks/>
            </p:cNvSpPr>
            <p:nvPr/>
          </p:nvSpPr>
          <p:spPr bwMode="auto">
            <a:xfrm>
              <a:off x="-1573213" y="6564313"/>
              <a:ext cx="930275" cy="712787"/>
            </a:xfrm>
            <a:custGeom>
              <a:avLst/>
              <a:gdLst>
                <a:gd name="T0" fmla="*/ 240 w 248"/>
                <a:gd name="T1" fmla="*/ 0 h 190"/>
                <a:gd name="T2" fmla="*/ 8 w 248"/>
                <a:gd name="T3" fmla="*/ 0 h 190"/>
                <a:gd name="T4" fmla="*/ 0 w 248"/>
                <a:gd name="T5" fmla="*/ 8 h 190"/>
                <a:gd name="T6" fmla="*/ 0 w 248"/>
                <a:gd name="T7" fmla="*/ 182 h 190"/>
                <a:gd name="T8" fmla="*/ 8 w 248"/>
                <a:gd name="T9" fmla="*/ 190 h 190"/>
                <a:gd name="T10" fmla="*/ 240 w 248"/>
                <a:gd name="T11" fmla="*/ 190 h 190"/>
                <a:gd name="T12" fmla="*/ 248 w 248"/>
                <a:gd name="T13" fmla="*/ 182 h 190"/>
                <a:gd name="T14" fmla="*/ 248 w 248"/>
                <a:gd name="T15" fmla="*/ 8 h 190"/>
                <a:gd name="T16" fmla="*/ 240 w 248"/>
                <a:gd name="T1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190">
                  <a:moveTo>
                    <a:pt x="240" y="0"/>
                  </a:moveTo>
                  <a:cubicBezTo>
                    <a:pt x="8" y="0"/>
                    <a:pt x="8" y="0"/>
                    <a:pt x="8" y="0"/>
                  </a:cubicBezTo>
                  <a:cubicBezTo>
                    <a:pt x="4" y="0"/>
                    <a:pt x="0" y="4"/>
                    <a:pt x="0" y="8"/>
                  </a:cubicBezTo>
                  <a:cubicBezTo>
                    <a:pt x="0" y="182"/>
                    <a:pt x="0" y="182"/>
                    <a:pt x="0" y="182"/>
                  </a:cubicBezTo>
                  <a:cubicBezTo>
                    <a:pt x="0" y="186"/>
                    <a:pt x="4" y="190"/>
                    <a:pt x="8" y="190"/>
                  </a:cubicBezTo>
                  <a:cubicBezTo>
                    <a:pt x="240" y="190"/>
                    <a:pt x="240" y="190"/>
                    <a:pt x="240" y="190"/>
                  </a:cubicBezTo>
                  <a:cubicBezTo>
                    <a:pt x="244" y="190"/>
                    <a:pt x="248" y="186"/>
                    <a:pt x="248" y="182"/>
                  </a:cubicBezTo>
                  <a:cubicBezTo>
                    <a:pt x="248" y="8"/>
                    <a:pt x="248" y="8"/>
                    <a:pt x="248" y="8"/>
                  </a:cubicBezTo>
                  <a:cubicBezTo>
                    <a:pt x="248" y="4"/>
                    <a:pt x="244" y="0"/>
                    <a:pt x="240" y="0"/>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17" name="Rectangle 24"/>
            <p:cNvSpPr>
              <a:spLocks noChangeArrowheads="1"/>
            </p:cNvSpPr>
            <p:nvPr/>
          </p:nvSpPr>
          <p:spPr bwMode="auto">
            <a:xfrm>
              <a:off x="-1512888" y="6624638"/>
              <a:ext cx="811212" cy="520700"/>
            </a:xfrm>
            <a:prstGeom prst="rect">
              <a:avLst/>
            </a:pr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18" name="Oval 25"/>
            <p:cNvSpPr>
              <a:spLocks noChangeArrowheads="1"/>
            </p:cNvSpPr>
            <p:nvPr/>
          </p:nvSpPr>
          <p:spPr bwMode="auto">
            <a:xfrm>
              <a:off x="-1141413" y="7175500"/>
              <a:ext cx="68262" cy="66675"/>
            </a:xfrm>
            <a:prstGeom prst="ellipse">
              <a:avLst/>
            </a:prstGeom>
            <a:solidFill>
              <a:schemeClr val="accent1"/>
            </a:solidFill>
            <a:ln w="19050">
              <a:noFill/>
              <a:round/>
              <a:headEnd/>
              <a:tailEnd/>
            </a:ln>
          </p:spPr>
          <p:txBody>
            <a:bodyPr vert="horz" wrap="square" lIns="60960" tIns="30480" rIns="60960" bIns="30480" numCol="1" anchor="t" anchorCtr="0" compatLnSpc="1">
              <a:prstTxWarp prst="textNoShape">
                <a:avLst/>
              </a:prstTxWarp>
            </a:bodyPr>
            <a:lstStyle/>
            <a:p>
              <a:endParaRPr lang="en-IN" sz="1200"/>
            </a:p>
          </p:txBody>
        </p:sp>
        <p:sp>
          <p:nvSpPr>
            <p:cNvPr id="119" name="Freeform 26"/>
            <p:cNvSpPr>
              <a:spLocks/>
            </p:cNvSpPr>
            <p:nvPr/>
          </p:nvSpPr>
          <p:spPr bwMode="auto">
            <a:xfrm>
              <a:off x="-1108075" y="6688138"/>
              <a:ext cx="263525" cy="401637"/>
            </a:xfrm>
            <a:custGeom>
              <a:avLst/>
              <a:gdLst>
                <a:gd name="T0" fmla="*/ 8 w 70"/>
                <a:gd name="T1" fmla="*/ 0 h 107"/>
                <a:gd name="T2" fmla="*/ 0 w 70"/>
                <a:gd name="T3" fmla="*/ 8 h 107"/>
                <a:gd name="T4" fmla="*/ 0 w 70"/>
                <a:gd name="T5" fmla="*/ 107 h 107"/>
                <a:gd name="T6" fmla="*/ 0 w 70"/>
                <a:gd name="T7" fmla="*/ 107 h 107"/>
                <a:gd name="T8" fmla="*/ 8 w 70"/>
                <a:gd name="T9" fmla="*/ 100 h 107"/>
                <a:gd name="T10" fmla="*/ 70 w 70"/>
                <a:gd name="T11" fmla="*/ 100 h 107"/>
                <a:gd name="T12" fmla="*/ 70 w 70"/>
                <a:gd name="T13" fmla="*/ 0 h 107"/>
                <a:gd name="T14" fmla="*/ 8 w 70"/>
                <a:gd name="T15" fmla="*/ 0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7">
                  <a:moveTo>
                    <a:pt x="8" y="0"/>
                  </a:moveTo>
                  <a:cubicBezTo>
                    <a:pt x="4" y="0"/>
                    <a:pt x="0" y="3"/>
                    <a:pt x="0" y="8"/>
                  </a:cubicBezTo>
                  <a:cubicBezTo>
                    <a:pt x="0" y="107"/>
                    <a:pt x="0" y="107"/>
                    <a:pt x="0" y="107"/>
                  </a:cubicBezTo>
                  <a:cubicBezTo>
                    <a:pt x="0" y="107"/>
                    <a:pt x="0" y="107"/>
                    <a:pt x="0" y="107"/>
                  </a:cubicBezTo>
                  <a:cubicBezTo>
                    <a:pt x="0" y="103"/>
                    <a:pt x="4" y="100"/>
                    <a:pt x="8" y="100"/>
                  </a:cubicBezTo>
                  <a:cubicBezTo>
                    <a:pt x="70" y="100"/>
                    <a:pt x="70" y="100"/>
                    <a:pt x="70" y="100"/>
                  </a:cubicBezTo>
                  <a:cubicBezTo>
                    <a:pt x="70" y="0"/>
                    <a:pt x="70" y="0"/>
                    <a:pt x="70" y="0"/>
                  </a:cubicBezTo>
                  <a:lnTo>
                    <a:pt x="8" y="0"/>
                  </a:ln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20" name="Freeform 27"/>
            <p:cNvSpPr>
              <a:spLocks/>
            </p:cNvSpPr>
            <p:nvPr/>
          </p:nvSpPr>
          <p:spPr bwMode="auto">
            <a:xfrm>
              <a:off x="-1370013" y="6688138"/>
              <a:ext cx="261937" cy="401637"/>
            </a:xfrm>
            <a:custGeom>
              <a:avLst/>
              <a:gdLst>
                <a:gd name="T0" fmla="*/ 62 w 70"/>
                <a:gd name="T1" fmla="*/ 0 h 107"/>
                <a:gd name="T2" fmla="*/ 70 w 70"/>
                <a:gd name="T3" fmla="*/ 8 h 107"/>
                <a:gd name="T4" fmla="*/ 70 w 70"/>
                <a:gd name="T5" fmla="*/ 107 h 107"/>
                <a:gd name="T6" fmla="*/ 70 w 70"/>
                <a:gd name="T7" fmla="*/ 107 h 107"/>
                <a:gd name="T8" fmla="*/ 62 w 70"/>
                <a:gd name="T9" fmla="*/ 100 h 107"/>
                <a:gd name="T10" fmla="*/ 0 w 70"/>
                <a:gd name="T11" fmla="*/ 100 h 107"/>
                <a:gd name="T12" fmla="*/ 0 w 70"/>
                <a:gd name="T13" fmla="*/ 0 h 107"/>
                <a:gd name="T14" fmla="*/ 62 w 70"/>
                <a:gd name="T15" fmla="*/ 0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7">
                  <a:moveTo>
                    <a:pt x="62" y="0"/>
                  </a:moveTo>
                  <a:cubicBezTo>
                    <a:pt x="66" y="0"/>
                    <a:pt x="70" y="3"/>
                    <a:pt x="70" y="8"/>
                  </a:cubicBezTo>
                  <a:cubicBezTo>
                    <a:pt x="70" y="107"/>
                    <a:pt x="70" y="107"/>
                    <a:pt x="70" y="107"/>
                  </a:cubicBezTo>
                  <a:cubicBezTo>
                    <a:pt x="70" y="107"/>
                    <a:pt x="70" y="107"/>
                    <a:pt x="70" y="107"/>
                  </a:cubicBezTo>
                  <a:cubicBezTo>
                    <a:pt x="70" y="103"/>
                    <a:pt x="66" y="100"/>
                    <a:pt x="62" y="100"/>
                  </a:cubicBezTo>
                  <a:cubicBezTo>
                    <a:pt x="0" y="100"/>
                    <a:pt x="0" y="100"/>
                    <a:pt x="0" y="100"/>
                  </a:cubicBezTo>
                  <a:cubicBezTo>
                    <a:pt x="0" y="0"/>
                    <a:pt x="0" y="0"/>
                    <a:pt x="0" y="0"/>
                  </a:cubicBezTo>
                  <a:lnTo>
                    <a:pt x="62" y="0"/>
                  </a:ln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21" name="Line 28"/>
            <p:cNvSpPr>
              <a:spLocks noChangeShapeType="1"/>
            </p:cNvSpPr>
            <p:nvPr/>
          </p:nvSpPr>
          <p:spPr bwMode="auto">
            <a:xfrm>
              <a:off x="-1317625" y="6762750"/>
              <a:ext cx="1619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22" name="Line 29"/>
            <p:cNvSpPr>
              <a:spLocks noChangeShapeType="1"/>
            </p:cNvSpPr>
            <p:nvPr/>
          </p:nvSpPr>
          <p:spPr bwMode="auto">
            <a:xfrm>
              <a:off x="-1317625" y="6834188"/>
              <a:ext cx="1619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23" name="Line 30"/>
            <p:cNvSpPr>
              <a:spLocks noChangeShapeType="1"/>
            </p:cNvSpPr>
            <p:nvPr/>
          </p:nvSpPr>
          <p:spPr bwMode="auto">
            <a:xfrm>
              <a:off x="-1317625" y="6900863"/>
              <a:ext cx="1619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24" name="Line 31"/>
            <p:cNvSpPr>
              <a:spLocks noChangeShapeType="1"/>
            </p:cNvSpPr>
            <p:nvPr/>
          </p:nvSpPr>
          <p:spPr bwMode="auto">
            <a:xfrm>
              <a:off x="-1317625" y="6969125"/>
              <a:ext cx="1619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25" name="Line 32"/>
            <p:cNvSpPr>
              <a:spLocks noChangeShapeType="1"/>
            </p:cNvSpPr>
            <p:nvPr/>
          </p:nvSpPr>
          <p:spPr bwMode="auto">
            <a:xfrm>
              <a:off x="-1058863" y="6762750"/>
              <a:ext cx="1619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26" name="Line 33"/>
            <p:cNvSpPr>
              <a:spLocks noChangeShapeType="1"/>
            </p:cNvSpPr>
            <p:nvPr/>
          </p:nvSpPr>
          <p:spPr bwMode="auto">
            <a:xfrm>
              <a:off x="-1058863" y="6834188"/>
              <a:ext cx="1619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127" name="Line 34"/>
            <p:cNvSpPr>
              <a:spLocks noChangeShapeType="1"/>
            </p:cNvSpPr>
            <p:nvPr/>
          </p:nvSpPr>
          <p:spPr bwMode="auto">
            <a:xfrm>
              <a:off x="-1058863" y="6900863"/>
              <a:ext cx="1619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endParaRPr lang="en-IN" sz="1200"/>
            </a:p>
          </p:txBody>
        </p:sp>
        <p:sp>
          <p:nvSpPr>
            <p:cNvPr id="4096" name="Line 35"/>
            <p:cNvSpPr>
              <a:spLocks noChangeShapeType="1"/>
            </p:cNvSpPr>
            <p:nvPr/>
          </p:nvSpPr>
          <p:spPr bwMode="auto">
            <a:xfrm>
              <a:off x="-1058863" y="6969125"/>
              <a:ext cx="1619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109" name="Group 4108"/>
          <p:cNvGrpSpPr/>
          <p:nvPr/>
        </p:nvGrpSpPr>
        <p:grpSpPr>
          <a:xfrm>
            <a:off x="1674146" y="3576485"/>
            <a:ext cx="432056" cy="279400"/>
            <a:chOff x="-1666875" y="5719763"/>
            <a:chExt cx="1217612" cy="787400"/>
          </a:xfrm>
          <a:solidFill>
            <a:schemeClr val="accent1"/>
          </a:solidFill>
        </p:grpSpPr>
        <p:sp>
          <p:nvSpPr>
            <p:cNvPr id="4101" name="Freeform 40"/>
            <p:cNvSpPr>
              <a:spLocks/>
            </p:cNvSpPr>
            <p:nvPr/>
          </p:nvSpPr>
          <p:spPr bwMode="auto">
            <a:xfrm>
              <a:off x="-1171575" y="5846763"/>
              <a:ext cx="139700" cy="177800"/>
            </a:xfrm>
            <a:custGeom>
              <a:avLst/>
              <a:gdLst>
                <a:gd name="T0" fmla="*/ 0 w 11"/>
                <a:gd name="T1" fmla="*/ 14 h 14"/>
                <a:gd name="T2" fmla="*/ 1 w 11"/>
                <a:gd name="T3" fmla="*/ 14 h 14"/>
                <a:gd name="T4" fmla="*/ 3 w 11"/>
                <a:gd name="T5" fmla="*/ 13 h 14"/>
                <a:gd name="T6" fmla="*/ 10 w 11"/>
                <a:gd name="T7" fmla="*/ 3 h 14"/>
                <a:gd name="T8" fmla="*/ 10 w 11"/>
                <a:gd name="T9" fmla="*/ 0 h 14"/>
                <a:gd name="T10" fmla="*/ 8 w 11"/>
                <a:gd name="T11" fmla="*/ 1 h 14"/>
                <a:gd name="T12" fmla="*/ 0 w 11"/>
                <a:gd name="T13" fmla="*/ 11 h 14"/>
                <a:gd name="T14" fmla="*/ 0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0" y="14"/>
                  </a:moveTo>
                  <a:cubicBezTo>
                    <a:pt x="1" y="14"/>
                    <a:pt x="1" y="14"/>
                    <a:pt x="1" y="14"/>
                  </a:cubicBezTo>
                  <a:cubicBezTo>
                    <a:pt x="2" y="14"/>
                    <a:pt x="2" y="14"/>
                    <a:pt x="3" y="13"/>
                  </a:cubicBezTo>
                  <a:cubicBezTo>
                    <a:pt x="10" y="3"/>
                    <a:pt x="10" y="3"/>
                    <a:pt x="10" y="3"/>
                  </a:cubicBezTo>
                  <a:cubicBezTo>
                    <a:pt x="11" y="2"/>
                    <a:pt x="11" y="1"/>
                    <a:pt x="10" y="0"/>
                  </a:cubicBezTo>
                  <a:cubicBezTo>
                    <a:pt x="9" y="0"/>
                    <a:pt x="8" y="0"/>
                    <a:pt x="8" y="1"/>
                  </a:cubicBezTo>
                  <a:cubicBezTo>
                    <a:pt x="0" y="11"/>
                    <a:pt x="0" y="11"/>
                    <a:pt x="0" y="11"/>
                  </a:cubicBezTo>
                  <a:cubicBezTo>
                    <a:pt x="0" y="12"/>
                    <a:pt x="0" y="1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02" name="Freeform 41"/>
            <p:cNvSpPr>
              <a:spLocks/>
            </p:cNvSpPr>
            <p:nvPr/>
          </p:nvSpPr>
          <p:spPr bwMode="auto">
            <a:xfrm>
              <a:off x="-1196975" y="5834063"/>
              <a:ext cx="101600" cy="114300"/>
            </a:xfrm>
            <a:custGeom>
              <a:avLst/>
              <a:gdLst>
                <a:gd name="T0" fmla="*/ 2 w 8"/>
                <a:gd name="T1" fmla="*/ 9 h 9"/>
                <a:gd name="T2" fmla="*/ 3 w 8"/>
                <a:gd name="T3" fmla="*/ 8 h 9"/>
                <a:gd name="T4" fmla="*/ 7 w 8"/>
                <a:gd name="T5" fmla="*/ 3 h 9"/>
                <a:gd name="T6" fmla="*/ 7 w 8"/>
                <a:gd name="T7" fmla="*/ 1 h 9"/>
                <a:gd name="T8" fmla="*/ 5 w 8"/>
                <a:gd name="T9" fmla="*/ 1 h 9"/>
                <a:gd name="T10" fmla="*/ 1 w 8"/>
                <a:gd name="T11" fmla="*/ 7 h 9"/>
                <a:gd name="T12" fmla="*/ 1 w 8"/>
                <a:gd name="T13" fmla="*/ 9 h 9"/>
                <a:gd name="T14" fmla="*/ 2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2" y="9"/>
                  </a:moveTo>
                  <a:cubicBezTo>
                    <a:pt x="3" y="9"/>
                    <a:pt x="3" y="9"/>
                    <a:pt x="3" y="8"/>
                  </a:cubicBezTo>
                  <a:cubicBezTo>
                    <a:pt x="7" y="3"/>
                    <a:pt x="7" y="3"/>
                    <a:pt x="7" y="3"/>
                  </a:cubicBezTo>
                  <a:cubicBezTo>
                    <a:pt x="8" y="2"/>
                    <a:pt x="8" y="1"/>
                    <a:pt x="7" y="1"/>
                  </a:cubicBezTo>
                  <a:cubicBezTo>
                    <a:pt x="6" y="0"/>
                    <a:pt x="5" y="0"/>
                    <a:pt x="5" y="1"/>
                  </a:cubicBezTo>
                  <a:cubicBezTo>
                    <a:pt x="1" y="7"/>
                    <a:pt x="1" y="7"/>
                    <a:pt x="1" y="7"/>
                  </a:cubicBezTo>
                  <a:cubicBezTo>
                    <a:pt x="0" y="7"/>
                    <a:pt x="0" y="8"/>
                    <a:pt x="1" y="9"/>
                  </a:cubicBezTo>
                  <a:cubicBezTo>
                    <a:pt x="1" y="9"/>
                    <a:pt x="2"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03" name="Freeform 42"/>
            <p:cNvSpPr>
              <a:spLocks noEditPoints="1"/>
            </p:cNvSpPr>
            <p:nvPr/>
          </p:nvSpPr>
          <p:spPr bwMode="auto">
            <a:xfrm>
              <a:off x="-1247775" y="5783263"/>
              <a:ext cx="798512" cy="584200"/>
            </a:xfrm>
            <a:custGeom>
              <a:avLst/>
              <a:gdLst>
                <a:gd name="T0" fmla="*/ 61 w 63"/>
                <a:gd name="T1" fmla="*/ 0 h 46"/>
                <a:gd name="T2" fmla="*/ 2 w 63"/>
                <a:gd name="T3" fmla="*/ 0 h 46"/>
                <a:gd name="T4" fmla="*/ 0 w 63"/>
                <a:gd name="T5" fmla="*/ 1 h 46"/>
                <a:gd name="T6" fmla="*/ 0 w 63"/>
                <a:gd name="T7" fmla="*/ 36 h 46"/>
                <a:gd name="T8" fmla="*/ 2 w 63"/>
                <a:gd name="T9" fmla="*/ 38 h 46"/>
                <a:gd name="T10" fmla="*/ 18 w 63"/>
                <a:gd name="T11" fmla="*/ 38 h 46"/>
                <a:gd name="T12" fmla="*/ 13 w 63"/>
                <a:gd name="T13" fmla="*/ 40 h 46"/>
                <a:gd name="T14" fmla="*/ 12 w 63"/>
                <a:gd name="T15" fmla="*/ 41 h 46"/>
                <a:gd name="T16" fmla="*/ 12 w 63"/>
                <a:gd name="T17" fmla="*/ 44 h 46"/>
                <a:gd name="T18" fmla="*/ 14 w 63"/>
                <a:gd name="T19" fmla="*/ 46 h 46"/>
                <a:gd name="T20" fmla="*/ 48 w 63"/>
                <a:gd name="T21" fmla="*/ 46 h 46"/>
                <a:gd name="T22" fmla="*/ 49 w 63"/>
                <a:gd name="T23" fmla="*/ 44 h 46"/>
                <a:gd name="T24" fmla="*/ 49 w 63"/>
                <a:gd name="T25" fmla="*/ 41 h 46"/>
                <a:gd name="T26" fmla="*/ 48 w 63"/>
                <a:gd name="T27" fmla="*/ 40 h 46"/>
                <a:gd name="T28" fmla="*/ 44 w 63"/>
                <a:gd name="T29" fmla="*/ 38 h 46"/>
                <a:gd name="T30" fmla="*/ 46 w 63"/>
                <a:gd name="T31" fmla="*/ 38 h 46"/>
                <a:gd name="T32" fmla="*/ 61 w 63"/>
                <a:gd name="T33" fmla="*/ 38 h 46"/>
                <a:gd name="T34" fmla="*/ 63 w 63"/>
                <a:gd name="T35" fmla="*/ 36 h 46"/>
                <a:gd name="T36" fmla="*/ 63 w 63"/>
                <a:gd name="T37" fmla="*/ 1 h 46"/>
                <a:gd name="T38" fmla="*/ 61 w 63"/>
                <a:gd name="T39" fmla="*/ 0 h 46"/>
                <a:gd name="T40" fmla="*/ 59 w 63"/>
                <a:gd name="T41" fmla="*/ 3 h 46"/>
                <a:gd name="T42" fmla="*/ 59 w 63"/>
                <a:gd name="T43" fmla="*/ 29 h 46"/>
                <a:gd name="T44" fmla="*/ 3 w 63"/>
                <a:gd name="T45" fmla="*/ 29 h 46"/>
                <a:gd name="T46" fmla="*/ 3 w 63"/>
                <a:gd name="T47" fmla="*/ 3 h 46"/>
                <a:gd name="T48" fmla="*/ 59 w 63"/>
                <a:gd name="T49" fmla="*/ 3 h 46"/>
                <a:gd name="T50" fmla="*/ 46 w 63"/>
                <a:gd name="T51" fmla="*/ 42 h 46"/>
                <a:gd name="T52" fmla="*/ 46 w 63"/>
                <a:gd name="T53" fmla="*/ 43 h 46"/>
                <a:gd name="T54" fmla="*/ 16 w 63"/>
                <a:gd name="T55" fmla="*/ 43 h 46"/>
                <a:gd name="T56" fmla="*/ 16 w 63"/>
                <a:gd name="T57" fmla="*/ 42 h 46"/>
                <a:gd name="T58" fmla="*/ 26 w 63"/>
                <a:gd name="T59" fmla="*/ 38 h 46"/>
                <a:gd name="T60" fmla="*/ 36 w 63"/>
                <a:gd name="T61" fmla="*/ 38 h 46"/>
                <a:gd name="T62" fmla="*/ 46 w 63"/>
                <a:gd name="T63" fmla="*/ 42 h 46"/>
                <a:gd name="T64" fmla="*/ 46 w 63"/>
                <a:gd name="T65" fmla="*/ 35 h 46"/>
                <a:gd name="T66" fmla="*/ 36 w 63"/>
                <a:gd name="T67" fmla="*/ 35 h 46"/>
                <a:gd name="T68" fmla="*/ 26 w 63"/>
                <a:gd name="T69" fmla="*/ 35 h 46"/>
                <a:gd name="T70" fmla="*/ 24 w 63"/>
                <a:gd name="T71" fmla="*/ 35 h 46"/>
                <a:gd name="T72" fmla="*/ 3 w 63"/>
                <a:gd name="T73" fmla="*/ 35 h 46"/>
                <a:gd name="T74" fmla="*/ 3 w 63"/>
                <a:gd name="T75" fmla="*/ 33 h 46"/>
                <a:gd name="T76" fmla="*/ 59 w 63"/>
                <a:gd name="T77" fmla="*/ 33 h 46"/>
                <a:gd name="T78" fmla="*/ 59 w 63"/>
                <a:gd name="T79" fmla="*/ 35 h 46"/>
                <a:gd name="T80" fmla="*/ 46 w 63"/>
                <a:gd name="T81" fmla="*/ 3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46">
                  <a:moveTo>
                    <a:pt x="61" y="0"/>
                  </a:moveTo>
                  <a:cubicBezTo>
                    <a:pt x="2" y="0"/>
                    <a:pt x="2" y="0"/>
                    <a:pt x="2" y="0"/>
                  </a:cubicBezTo>
                  <a:cubicBezTo>
                    <a:pt x="1" y="0"/>
                    <a:pt x="0" y="0"/>
                    <a:pt x="0" y="1"/>
                  </a:cubicBezTo>
                  <a:cubicBezTo>
                    <a:pt x="0" y="36"/>
                    <a:pt x="0" y="36"/>
                    <a:pt x="0" y="36"/>
                  </a:cubicBezTo>
                  <a:cubicBezTo>
                    <a:pt x="0" y="37"/>
                    <a:pt x="1" y="38"/>
                    <a:pt x="2" y="38"/>
                  </a:cubicBezTo>
                  <a:cubicBezTo>
                    <a:pt x="18" y="38"/>
                    <a:pt x="18" y="38"/>
                    <a:pt x="18" y="38"/>
                  </a:cubicBezTo>
                  <a:cubicBezTo>
                    <a:pt x="16" y="39"/>
                    <a:pt x="15" y="39"/>
                    <a:pt x="13" y="40"/>
                  </a:cubicBezTo>
                  <a:cubicBezTo>
                    <a:pt x="13" y="40"/>
                    <a:pt x="12" y="41"/>
                    <a:pt x="12" y="41"/>
                  </a:cubicBezTo>
                  <a:cubicBezTo>
                    <a:pt x="12" y="44"/>
                    <a:pt x="12" y="44"/>
                    <a:pt x="12" y="44"/>
                  </a:cubicBezTo>
                  <a:cubicBezTo>
                    <a:pt x="12" y="45"/>
                    <a:pt x="13" y="46"/>
                    <a:pt x="14" y="46"/>
                  </a:cubicBezTo>
                  <a:cubicBezTo>
                    <a:pt x="48" y="46"/>
                    <a:pt x="48" y="46"/>
                    <a:pt x="48" y="46"/>
                  </a:cubicBezTo>
                  <a:cubicBezTo>
                    <a:pt x="49" y="46"/>
                    <a:pt x="49" y="45"/>
                    <a:pt x="49" y="44"/>
                  </a:cubicBezTo>
                  <a:cubicBezTo>
                    <a:pt x="49" y="41"/>
                    <a:pt x="49" y="41"/>
                    <a:pt x="49" y="41"/>
                  </a:cubicBezTo>
                  <a:cubicBezTo>
                    <a:pt x="49" y="41"/>
                    <a:pt x="49" y="40"/>
                    <a:pt x="48" y="40"/>
                  </a:cubicBezTo>
                  <a:cubicBezTo>
                    <a:pt x="44" y="38"/>
                    <a:pt x="44" y="38"/>
                    <a:pt x="44" y="38"/>
                  </a:cubicBezTo>
                  <a:cubicBezTo>
                    <a:pt x="46" y="38"/>
                    <a:pt x="46" y="38"/>
                    <a:pt x="46" y="38"/>
                  </a:cubicBezTo>
                  <a:cubicBezTo>
                    <a:pt x="61" y="38"/>
                    <a:pt x="61" y="38"/>
                    <a:pt x="61" y="38"/>
                  </a:cubicBezTo>
                  <a:cubicBezTo>
                    <a:pt x="62" y="38"/>
                    <a:pt x="63" y="37"/>
                    <a:pt x="63" y="36"/>
                  </a:cubicBezTo>
                  <a:cubicBezTo>
                    <a:pt x="63" y="1"/>
                    <a:pt x="63" y="1"/>
                    <a:pt x="63" y="1"/>
                  </a:cubicBezTo>
                  <a:cubicBezTo>
                    <a:pt x="63" y="0"/>
                    <a:pt x="62" y="0"/>
                    <a:pt x="61" y="0"/>
                  </a:cubicBezTo>
                  <a:close/>
                  <a:moveTo>
                    <a:pt x="59" y="3"/>
                  </a:moveTo>
                  <a:cubicBezTo>
                    <a:pt x="59" y="29"/>
                    <a:pt x="59" y="29"/>
                    <a:pt x="59" y="29"/>
                  </a:cubicBezTo>
                  <a:cubicBezTo>
                    <a:pt x="3" y="29"/>
                    <a:pt x="3" y="29"/>
                    <a:pt x="3" y="29"/>
                  </a:cubicBezTo>
                  <a:cubicBezTo>
                    <a:pt x="3" y="3"/>
                    <a:pt x="3" y="3"/>
                    <a:pt x="3" y="3"/>
                  </a:cubicBezTo>
                  <a:lnTo>
                    <a:pt x="59" y="3"/>
                  </a:lnTo>
                  <a:close/>
                  <a:moveTo>
                    <a:pt x="46" y="42"/>
                  </a:moveTo>
                  <a:cubicBezTo>
                    <a:pt x="46" y="43"/>
                    <a:pt x="46" y="43"/>
                    <a:pt x="46" y="43"/>
                  </a:cubicBezTo>
                  <a:cubicBezTo>
                    <a:pt x="16" y="43"/>
                    <a:pt x="16" y="43"/>
                    <a:pt x="16" y="43"/>
                  </a:cubicBezTo>
                  <a:cubicBezTo>
                    <a:pt x="16" y="42"/>
                    <a:pt x="16" y="42"/>
                    <a:pt x="16" y="42"/>
                  </a:cubicBezTo>
                  <a:cubicBezTo>
                    <a:pt x="19" y="41"/>
                    <a:pt x="25" y="39"/>
                    <a:pt x="26" y="38"/>
                  </a:cubicBezTo>
                  <a:cubicBezTo>
                    <a:pt x="36" y="38"/>
                    <a:pt x="36" y="38"/>
                    <a:pt x="36" y="38"/>
                  </a:cubicBezTo>
                  <a:lnTo>
                    <a:pt x="46" y="42"/>
                  </a:lnTo>
                  <a:close/>
                  <a:moveTo>
                    <a:pt x="46" y="35"/>
                  </a:moveTo>
                  <a:cubicBezTo>
                    <a:pt x="36" y="35"/>
                    <a:pt x="36" y="35"/>
                    <a:pt x="36" y="35"/>
                  </a:cubicBezTo>
                  <a:cubicBezTo>
                    <a:pt x="26" y="35"/>
                    <a:pt x="26" y="35"/>
                    <a:pt x="26" y="35"/>
                  </a:cubicBezTo>
                  <a:cubicBezTo>
                    <a:pt x="24" y="35"/>
                    <a:pt x="24" y="35"/>
                    <a:pt x="24" y="35"/>
                  </a:cubicBezTo>
                  <a:cubicBezTo>
                    <a:pt x="3" y="35"/>
                    <a:pt x="3" y="35"/>
                    <a:pt x="3" y="35"/>
                  </a:cubicBezTo>
                  <a:cubicBezTo>
                    <a:pt x="3" y="33"/>
                    <a:pt x="3" y="33"/>
                    <a:pt x="3" y="33"/>
                  </a:cubicBezTo>
                  <a:cubicBezTo>
                    <a:pt x="59" y="33"/>
                    <a:pt x="59" y="33"/>
                    <a:pt x="59" y="33"/>
                  </a:cubicBezTo>
                  <a:cubicBezTo>
                    <a:pt x="59" y="35"/>
                    <a:pt x="59" y="35"/>
                    <a:pt x="59" y="35"/>
                  </a:cubicBezTo>
                  <a:lnTo>
                    <a:pt x="46"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04" name="Freeform 43"/>
            <p:cNvSpPr>
              <a:spLocks noEditPoints="1"/>
            </p:cNvSpPr>
            <p:nvPr/>
          </p:nvSpPr>
          <p:spPr bwMode="auto">
            <a:xfrm>
              <a:off x="-1666875" y="5719763"/>
              <a:ext cx="406400" cy="787400"/>
            </a:xfrm>
            <a:custGeom>
              <a:avLst/>
              <a:gdLst>
                <a:gd name="T0" fmla="*/ 26 w 32"/>
                <a:gd name="T1" fmla="*/ 0 h 62"/>
                <a:gd name="T2" fmla="*/ 6 w 32"/>
                <a:gd name="T3" fmla="*/ 0 h 62"/>
                <a:gd name="T4" fmla="*/ 0 w 32"/>
                <a:gd name="T5" fmla="*/ 7 h 62"/>
                <a:gd name="T6" fmla="*/ 0 w 32"/>
                <a:gd name="T7" fmla="*/ 16 h 62"/>
                <a:gd name="T8" fmla="*/ 0 w 32"/>
                <a:gd name="T9" fmla="*/ 24 h 62"/>
                <a:gd name="T10" fmla="*/ 0 w 32"/>
                <a:gd name="T11" fmla="*/ 55 h 62"/>
                <a:gd name="T12" fmla="*/ 6 w 32"/>
                <a:gd name="T13" fmla="*/ 62 h 62"/>
                <a:gd name="T14" fmla="*/ 26 w 32"/>
                <a:gd name="T15" fmla="*/ 62 h 62"/>
                <a:gd name="T16" fmla="*/ 32 w 32"/>
                <a:gd name="T17" fmla="*/ 55 h 62"/>
                <a:gd name="T18" fmla="*/ 32 w 32"/>
                <a:gd name="T19" fmla="*/ 24 h 62"/>
                <a:gd name="T20" fmla="*/ 32 w 32"/>
                <a:gd name="T21" fmla="*/ 16 h 62"/>
                <a:gd name="T22" fmla="*/ 32 w 32"/>
                <a:gd name="T23" fmla="*/ 7 h 62"/>
                <a:gd name="T24" fmla="*/ 26 w 32"/>
                <a:gd name="T25" fmla="*/ 0 h 62"/>
                <a:gd name="T26" fmla="*/ 4 w 32"/>
                <a:gd name="T27" fmla="*/ 52 h 62"/>
                <a:gd name="T28" fmla="*/ 4 w 32"/>
                <a:gd name="T29" fmla="*/ 25 h 62"/>
                <a:gd name="T30" fmla="*/ 29 w 32"/>
                <a:gd name="T31" fmla="*/ 25 h 62"/>
                <a:gd name="T32" fmla="*/ 29 w 32"/>
                <a:gd name="T33" fmla="*/ 52 h 62"/>
                <a:gd name="T34" fmla="*/ 4 w 32"/>
                <a:gd name="T35" fmla="*/ 52 h 62"/>
                <a:gd name="T36" fmla="*/ 4 w 32"/>
                <a:gd name="T37" fmla="*/ 17 h 62"/>
                <a:gd name="T38" fmla="*/ 29 w 32"/>
                <a:gd name="T39" fmla="*/ 17 h 62"/>
                <a:gd name="T40" fmla="*/ 29 w 32"/>
                <a:gd name="T41" fmla="*/ 22 h 62"/>
                <a:gd name="T42" fmla="*/ 4 w 32"/>
                <a:gd name="T43" fmla="*/ 22 h 62"/>
                <a:gd name="T44" fmla="*/ 4 w 32"/>
                <a:gd name="T45" fmla="*/ 17 h 62"/>
                <a:gd name="T46" fmla="*/ 6 w 32"/>
                <a:gd name="T47" fmla="*/ 3 h 62"/>
                <a:gd name="T48" fmla="*/ 26 w 32"/>
                <a:gd name="T49" fmla="*/ 3 h 62"/>
                <a:gd name="T50" fmla="*/ 29 w 32"/>
                <a:gd name="T51" fmla="*/ 7 h 62"/>
                <a:gd name="T52" fmla="*/ 29 w 32"/>
                <a:gd name="T53" fmla="*/ 14 h 62"/>
                <a:gd name="T54" fmla="*/ 4 w 32"/>
                <a:gd name="T55" fmla="*/ 14 h 62"/>
                <a:gd name="T56" fmla="*/ 4 w 32"/>
                <a:gd name="T57" fmla="*/ 7 h 62"/>
                <a:gd name="T58" fmla="*/ 6 w 32"/>
                <a:gd name="T59" fmla="*/ 3 h 62"/>
                <a:gd name="T60" fmla="*/ 26 w 32"/>
                <a:gd name="T61" fmla="*/ 59 h 62"/>
                <a:gd name="T62" fmla="*/ 6 w 32"/>
                <a:gd name="T63" fmla="*/ 59 h 62"/>
                <a:gd name="T64" fmla="*/ 4 w 32"/>
                <a:gd name="T65" fmla="*/ 55 h 62"/>
                <a:gd name="T66" fmla="*/ 29 w 32"/>
                <a:gd name="T67" fmla="*/ 55 h 62"/>
                <a:gd name="T68" fmla="*/ 26 w 32"/>
                <a:gd name="T6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62">
                  <a:moveTo>
                    <a:pt x="26" y="0"/>
                  </a:moveTo>
                  <a:cubicBezTo>
                    <a:pt x="6" y="0"/>
                    <a:pt x="6" y="0"/>
                    <a:pt x="6" y="0"/>
                  </a:cubicBezTo>
                  <a:cubicBezTo>
                    <a:pt x="3" y="0"/>
                    <a:pt x="0" y="3"/>
                    <a:pt x="0" y="7"/>
                  </a:cubicBezTo>
                  <a:cubicBezTo>
                    <a:pt x="0" y="16"/>
                    <a:pt x="0" y="16"/>
                    <a:pt x="0" y="16"/>
                  </a:cubicBezTo>
                  <a:cubicBezTo>
                    <a:pt x="0" y="24"/>
                    <a:pt x="0" y="24"/>
                    <a:pt x="0" y="24"/>
                  </a:cubicBezTo>
                  <a:cubicBezTo>
                    <a:pt x="0" y="55"/>
                    <a:pt x="0" y="55"/>
                    <a:pt x="0" y="55"/>
                  </a:cubicBezTo>
                  <a:cubicBezTo>
                    <a:pt x="0" y="59"/>
                    <a:pt x="3" y="62"/>
                    <a:pt x="6" y="62"/>
                  </a:cubicBezTo>
                  <a:cubicBezTo>
                    <a:pt x="26" y="62"/>
                    <a:pt x="26" y="62"/>
                    <a:pt x="26" y="62"/>
                  </a:cubicBezTo>
                  <a:cubicBezTo>
                    <a:pt x="29" y="62"/>
                    <a:pt x="32" y="59"/>
                    <a:pt x="32" y="55"/>
                  </a:cubicBezTo>
                  <a:cubicBezTo>
                    <a:pt x="32" y="24"/>
                    <a:pt x="32" y="24"/>
                    <a:pt x="32" y="24"/>
                  </a:cubicBezTo>
                  <a:cubicBezTo>
                    <a:pt x="32" y="16"/>
                    <a:pt x="32" y="16"/>
                    <a:pt x="32" y="16"/>
                  </a:cubicBezTo>
                  <a:cubicBezTo>
                    <a:pt x="32" y="7"/>
                    <a:pt x="32" y="7"/>
                    <a:pt x="32" y="7"/>
                  </a:cubicBezTo>
                  <a:cubicBezTo>
                    <a:pt x="32" y="3"/>
                    <a:pt x="29" y="0"/>
                    <a:pt x="26" y="0"/>
                  </a:cubicBezTo>
                  <a:close/>
                  <a:moveTo>
                    <a:pt x="4" y="52"/>
                  </a:moveTo>
                  <a:cubicBezTo>
                    <a:pt x="4" y="25"/>
                    <a:pt x="4" y="25"/>
                    <a:pt x="4" y="25"/>
                  </a:cubicBezTo>
                  <a:cubicBezTo>
                    <a:pt x="29" y="25"/>
                    <a:pt x="29" y="25"/>
                    <a:pt x="29" y="25"/>
                  </a:cubicBezTo>
                  <a:cubicBezTo>
                    <a:pt x="29" y="52"/>
                    <a:pt x="29" y="52"/>
                    <a:pt x="29" y="52"/>
                  </a:cubicBezTo>
                  <a:lnTo>
                    <a:pt x="4" y="52"/>
                  </a:lnTo>
                  <a:close/>
                  <a:moveTo>
                    <a:pt x="4" y="17"/>
                  </a:moveTo>
                  <a:cubicBezTo>
                    <a:pt x="29" y="17"/>
                    <a:pt x="29" y="17"/>
                    <a:pt x="29" y="17"/>
                  </a:cubicBezTo>
                  <a:cubicBezTo>
                    <a:pt x="29" y="22"/>
                    <a:pt x="29" y="22"/>
                    <a:pt x="29" y="22"/>
                  </a:cubicBezTo>
                  <a:cubicBezTo>
                    <a:pt x="4" y="22"/>
                    <a:pt x="4" y="22"/>
                    <a:pt x="4" y="22"/>
                  </a:cubicBezTo>
                  <a:lnTo>
                    <a:pt x="4" y="17"/>
                  </a:lnTo>
                  <a:close/>
                  <a:moveTo>
                    <a:pt x="6" y="3"/>
                  </a:moveTo>
                  <a:cubicBezTo>
                    <a:pt x="26" y="3"/>
                    <a:pt x="26" y="3"/>
                    <a:pt x="26" y="3"/>
                  </a:cubicBezTo>
                  <a:cubicBezTo>
                    <a:pt x="27" y="3"/>
                    <a:pt x="29" y="5"/>
                    <a:pt x="29" y="7"/>
                  </a:cubicBezTo>
                  <a:cubicBezTo>
                    <a:pt x="29" y="14"/>
                    <a:pt x="29" y="14"/>
                    <a:pt x="29" y="14"/>
                  </a:cubicBezTo>
                  <a:cubicBezTo>
                    <a:pt x="4" y="14"/>
                    <a:pt x="4" y="14"/>
                    <a:pt x="4" y="14"/>
                  </a:cubicBezTo>
                  <a:cubicBezTo>
                    <a:pt x="4" y="7"/>
                    <a:pt x="4" y="7"/>
                    <a:pt x="4" y="7"/>
                  </a:cubicBezTo>
                  <a:cubicBezTo>
                    <a:pt x="4" y="5"/>
                    <a:pt x="5" y="3"/>
                    <a:pt x="6" y="3"/>
                  </a:cubicBezTo>
                  <a:close/>
                  <a:moveTo>
                    <a:pt x="26" y="59"/>
                  </a:moveTo>
                  <a:cubicBezTo>
                    <a:pt x="6" y="59"/>
                    <a:pt x="6" y="59"/>
                    <a:pt x="6" y="59"/>
                  </a:cubicBezTo>
                  <a:cubicBezTo>
                    <a:pt x="5" y="59"/>
                    <a:pt x="4" y="57"/>
                    <a:pt x="4" y="55"/>
                  </a:cubicBezTo>
                  <a:cubicBezTo>
                    <a:pt x="29" y="55"/>
                    <a:pt x="29" y="55"/>
                    <a:pt x="29" y="55"/>
                  </a:cubicBezTo>
                  <a:cubicBezTo>
                    <a:pt x="28" y="57"/>
                    <a:pt x="27" y="59"/>
                    <a:pt x="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06" name="Freeform 44"/>
            <p:cNvSpPr>
              <a:spLocks/>
            </p:cNvSpPr>
            <p:nvPr/>
          </p:nvSpPr>
          <p:spPr bwMode="auto">
            <a:xfrm>
              <a:off x="-1603375" y="5808663"/>
              <a:ext cx="279400" cy="38100"/>
            </a:xfrm>
            <a:custGeom>
              <a:avLst/>
              <a:gdLst>
                <a:gd name="T0" fmla="*/ 1 w 22"/>
                <a:gd name="T1" fmla="*/ 3 h 3"/>
                <a:gd name="T2" fmla="*/ 20 w 22"/>
                <a:gd name="T3" fmla="*/ 3 h 3"/>
                <a:gd name="T4" fmla="*/ 22 w 22"/>
                <a:gd name="T5" fmla="*/ 2 h 3"/>
                <a:gd name="T6" fmla="*/ 20 w 22"/>
                <a:gd name="T7" fmla="*/ 0 h 3"/>
                <a:gd name="T8" fmla="*/ 1 w 22"/>
                <a:gd name="T9" fmla="*/ 0 h 3"/>
                <a:gd name="T10" fmla="*/ 0 w 22"/>
                <a:gd name="T11" fmla="*/ 2 h 3"/>
                <a:gd name="T12" fmla="*/ 1 w 2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2" h="3">
                  <a:moveTo>
                    <a:pt x="1" y="3"/>
                  </a:moveTo>
                  <a:cubicBezTo>
                    <a:pt x="20" y="3"/>
                    <a:pt x="20" y="3"/>
                    <a:pt x="20" y="3"/>
                  </a:cubicBezTo>
                  <a:cubicBezTo>
                    <a:pt x="21" y="3"/>
                    <a:pt x="22" y="2"/>
                    <a:pt x="22" y="2"/>
                  </a:cubicBezTo>
                  <a:cubicBezTo>
                    <a:pt x="22" y="1"/>
                    <a:pt x="21" y="0"/>
                    <a:pt x="20" y="0"/>
                  </a:cubicBezTo>
                  <a:cubicBezTo>
                    <a:pt x="1" y="0"/>
                    <a:pt x="1" y="0"/>
                    <a:pt x="1" y="0"/>
                  </a:cubicBezTo>
                  <a:cubicBezTo>
                    <a:pt x="0" y="0"/>
                    <a:pt x="0" y="1"/>
                    <a:pt x="0" y="2"/>
                  </a:cubicBezTo>
                  <a:cubicBezTo>
                    <a:pt x="0" y="2"/>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07" name="Oval 45"/>
            <p:cNvSpPr>
              <a:spLocks noChangeArrowheads="1"/>
            </p:cNvSpPr>
            <p:nvPr/>
          </p:nvSpPr>
          <p:spPr bwMode="auto">
            <a:xfrm>
              <a:off x="-1400175" y="6088063"/>
              <a:ext cx="50800"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08" name="Oval 46"/>
            <p:cNvSpPr>
              <a:spLocks noChangeArrowheads="1"/>
            </p:cNvSpPr>
            <p:nvPr/>
          </p:nvSpPr>
          <p:spPr bwMode="auto">
            <a:xfrm>
              <a:off x="-1412875" y="6164263"/>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125" name="Group 4124"/>
          <p:cNvGrpSpPr/>
          <p:nvPr/>
        </p:nvGrpSpPr>
        <p:grpSpPr>
          <a:xfrm>
            <a:off x="1719766" y="4151482"/>
            <a:ext cx="340818" cy="340818"/>
            <a:chOff x="-1741488" y="6197600"/>
            <a:chExt cx="809625" cy="809625"/>
          </a:xfrm>
          <a:solidFill>
            <a:schemeClr val="accent1"/>
          </a:solidFill>
        </p:grpSpPr>
        <p:sp>
          <p:nvSpPr>
            <p:cNvPr id="4112" name="Freeform 51"/>
            <p:cNvSpPr>
              <a:spLocks/>
            </p:cNvSpPr>
            <p:nvPr/>
          </p:nvSpPr>
          <p:spPr bwMode="auto">
            <a:xfrm>
              <a:off x="-1741488" y="6197600"/>
              <a:ext cx="688975" cy="809625"/>
            </a:xfrm>
            <a:custGeom>
              <a:avLst/>
              <a:gdLst>
                <a:gd name="T0" fmla="*/ 415 w 434"/>
                <a:gd name="T1" fmla="*/ 491 h 510"/>
                <a:gd name="T2" fmla="*/ 19 w 434"/>
                <a:gd name="T3" fmla="*/ 491 h 510"/>
                <a:gd name="T4" fmla="*/ 19 w 434"/>
                <a:gd name="T5" fmla="*/ 19 h 510"/>
                <a:gd name="T6" fmla="*/ 415 w 434"/>
                <a:gd name="T7" fmla="*/ 19 h 510"/>
                <a:gd name="T8" fmla="*/ 415 w 434"/>
                <a:gd name="T9" fmla="*/ 260 h 510"/>
                <a:gd name="T10" fmla="*/ 434 w 434"/>
                <a:gd name="T11" fmla="*/ 260 h 510"/>
                <a:gd name="T12" fmla="*/ 434 w 434"/>
                <a:gd name="T13" fmla="*/ 0 h 510"/>
                <a:gd name="T14" fmla="*/ 0 w 434"/>
                <a:gd name="T15" fmla="*/ 0 h 510"/>
                <a:gd name="T16" fmla="*/ 0 w 434"/>
                <a:gd name="T17" fmla="*/ 510 h 510"/>
                <a:gd name="T18" fmla="*/ 434 w 434"/>
                <a:gd name="T19" fmla="*/ 510 h 510"/>
                <a:gd name="T20" fmla="*/ 434 w 434"/>
                <a:gd name="T21" fmla="*/ 394 h 510"/>
                <a:gd name="T22" fmla="*/ 415 w 434"/>
                <a:gd name="T23" fmla="*/ 394 h 510"/>
                <a:gd name="T24" fmla="*/ 415 w 434"/>
                <a:gd name="T25" fmla="*/ 49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510">
                  <a:moveTo>
                    <a:pt x="415" y="491"/>
                  </a:moveTo>
                  <a:lnTo>
                    <a:pt x="19" y="491"/>
                  </a:lnTo>
                  <a:lnTo>
                    <a:pt x="19" y="19"/>
                  </a:lnTo>
                  <a:lnTo>
                    <a:pt x="415" y="19"/>
                  </a:lnTo>
                  <a:lnTo>
                    <a:pt x="415" y="260"/>
                  </a:lnTo>
                  <a:lnTo>
                    <a:pt x="434" y="260"/>
                  </a:lnTo>
                  <a:lnTo>
                    <a:pt x="434" y="0"/>
                  </a:lnTo>
                  <a:lnTo>
                    <a:pt x="0" y="0"/>
                  </a:lnTo>
                  <a:lnTo>
                    <a:pt x="0" y="510"/>
                  </a:lnTo>
                  <a:lnTo>
                    <a:pt x="434" y="510"/>
                  </a:lnTo>
                  <a:lnTo>
                    <a:pt x="434" y="394"/>
                  </a:lnTo>
                  <a:lnTo>
                    <a:pt x="415" y="394"/>
                  </a:lnTo>
                  <a:lnTo>
                    <a:pt x="415" y="4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14" name="Freeform 52"/>
            <p:cNvSpPr>
              <a:spLocks noEditPoints="1"/>
            </p:cNvSpPr>
            <p:nvPr/>
          </p:nvSpPr>
          <p:spPr bwMode="auto">
            <a:xfrm>
              <a:off x="-1465263" y="6283325"/>
              <a:ext cx="134938" cy="134938"/>
            </a:xfrm>
            <a:custGeom>
              <a:avLst/>
              <a:gdLst>
                <a:gd name="T0" fmla="*/ 0 w 85"/>
                <a:gd name="T1" fmla="*/ 0 h 85"/>
                <a:gd name="T2" fmla="*/ 0 w 85"/>
                <a:gd name="T3" fmla="*/ 85 h 85"/>
                <a:gd name="T4" fmla="*/ 85 w 85"/>
                <a:gd name="T5" fmla="*/ 85 h 85"/>
                <a:gd name="T6" fmla="*/ 85 w 85"/>
                <a:gd name="T7" fmla="*/ 0 h 85"/>
                <a:gd name="T8" fmla="*/ 0 w 85"/>
                <a:gd name="T9" fmla="*/ 0 h 85"/>
                <a:gd name="T10" fmla="*/ 66 w 85"/>
                <a:gd name="T11" fmla="*/ 66 h 85"/>
                <a:gd name="T12" fmla="*/ 19 w 85"/>
                <a:gd name="T13" fmla="*/ 66 h 85"/>
                <a:gd name="T14" fmla="*/ 19 w 85"/>
                <a:gd name="T15" fmla="*/ 19 h 85"/>
                <a:gd name="T16" fmla="*/ 66 w 85"/>
                <a:gd name="T17" fmla="*/ 19 h 85"/>
                <a:gd name="T18" fmla="*/ 66 w 85"/>
                <a:gd name="T19"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0" y="0"/>
                  </a:moveTo>
                  <a:lnTo>
                    <a:pt x="0" y="85"/>
                  </a:lnTo>
                  <a:lnTo>
                    <a:pt x="85" y="85"/>
                  </a:lnTo>
                  <a:lnTo>
                    <a:pt x="85" y="0"/>
                  </a:lnTo>
                  <a:lnTo>
                    <a:pt x="0" y="0"/>
                  </a:lnTo>
                  <a:close/>
                  <a:moveTo>
                    <a:pt x="66" y="66"/>
                  </a:moveTo>
                  <a:lnTo>
                    <a:pt x="19" y="66"/>
                  </a:lnTo>
                  <a:lnTo>
                    <a:pt x="19" y="19"/>
                  </a:lnTo>
                  <a:lnTo>
                    <a:pt x="66" y="19"/>
                  </a:lnTo>
                  <a:lnTo>
                    <a:pt x="66"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15" name="Freeform 53"/>
            <p:cNvSpPr>
              <a:spLocks noEditPoints="1"/>
            </p:cNvSpPr>
            <p:nvPr/>
          </p:nvSpPr>
          <p:spPr bwMode="auto">
            <a:xfrm>
              <a:off x="-1277938" y="6283325"/>
              <a:ext cx="134938" cy="134938"/>
            </a:xfrm>
            <a:custGeom>
              <a:avLst/>
              <a:gdLst>
                <a:gd name="T0" fmla="*/ 85 w 85"/>
                <a:gd name="T1" fmla="*/ 0 h 85"/>
                <a:gd name="T2" fmla="*/ 0 w 85"/>
                <a:gd name="T3" fmla="*/ 0 h 85"/>
                <a:gd name="T4" fmla="*/ 0 w 85"/>
                <a:gd name="T5" fmla="*/ 85 h 85"/>
                <a:gd name="T6" fmla="*/ 85 w 85"/>
                <a:gd name="T7" fmla="*/ 85 h 85"/>
                <a:gd name="T8" fmla="*/ 85 w 85"/>
                <a:gd name="T9" fmla="*/ 0 h 85"/>
                <a:gd name="T10" fmla="*/ 67 w 85"/>
                <a:gd name="T11" fmla="*/ 66 h 85"/>
                <a:gd name="T12" fmla="*/ 19 w 85"/>
                <a:gd name="T13" fmla="*/ 66 h 85"/>
                <a:gd name="T14" fmla="*/ 19 w 85"/>
                <a:gd name="T15" fmla="*/ 19 h 85"/>
                <a:gd name="T16" fmla="*/ 67 w 85"/>
                <a:gd name="T17" fmla="*/ 19 h 85"/>
                <a:gd name="T18" fmla="*/ 67 w 85"/>
                <a:gd name="T19"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5" y="0"/>
                  </a:moveTo>
                  <a:lnTo>
                    <a:pt x="0" y="0"/>
                  </a:lnTo>
                  <a:lnTo>
                    <a:pt x="0" y="85"/>
                  </a:lnTo>
                  <a:lnTo>
                    <a:pt x="85" y="85"/>
                  </a:lnTo>
                  <a:lnTo>
                    <a:pt x="85" y="0"/>
                  </a:lnTo>
                  <a:close/>
                  <a:moveTo>
                    <a:pt x="67" y="66"/>
                  </a:moveTo>
                  <a:lnTo>
                    <a:pt x="19" y="66"/>
                  </a:lnTo>
                  <a:lnTo>
                    <a:pt x="19" y="19"/>
                  </a:lnTo>
                  <a:lnTo>
                    <a:pt x="67" y="19"/>
                  </a:lnTo>
                  <a:lnTo>
                    <a:pt x="6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16" name="Freeform 54"/>
            <p:cNvSpPr>
              <a:spLocks noEditPoints="1"/>
            </p:cNvSpPr>
            <p:nvPr/>
          </p:nvSpPr>
          <p:spPr bwMode="auto">
            <a:xfrm>
              <a:off x="-1652588" y="6283325"/>
              <a:ext cx="134938" cy="134938"/>
            </a:xfrm>
            <a:custGeom>
              <a:avLst/>
              <a:gdLst>
                <a:gd name="T0" fmla="*/ 85 w 85"/>
                <a:gd name="T1" fmla="*/ 0 h 85"/>
                <a:gd name="T2" fmla="*/ 0 w 85"/>
                <a:gd name="T3" fmla="*/ 0 h 85"/>
                <a:gd name="T4" fmla="*/ 0 w 85"/>
                <a:gd name="T5" fmla="*/ 85 h 85"/>
                <a:gd name="T6" fmla="*/ 85 w 85"/>
                <a:gd name="T7" fmla="*/ 85 h 85"/>
                <a:gd name="T8" fmla="*/ 85 w 85"/>
                <a:gd name="T9" fmla="*/ 0 h 85"/>
                <a:gd name="T10" fmla="*/ 66 w 85"/>
                <a:gd name="T11" fmla="*/ 66 h 85"/>
                <a:gd name="T12" fmla="*/ 19 w 85"/>
                <a:gd name="T13" fmla="*/ 66 h 85"/>
                <a:gd name="T14" fmla="*/ 19 w 85"/>
                <a:gd name="T15" fmla="*/ 19 h 85"/>
                <a:gd name="T16" fmla="*/ 66 w 85"/>
                <a:gd name="T17" fmla="*/ 19 h 85"/>
                <a:gd name="T18" fmla="*/ 66 w 85"/>
                <a:gd name="T19"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5" y="0"/>
                  </a:moveTo>
                  <a:lnTo>
                    <a:pt x="0" y="0"/>
                  </a:lnTo>
                  <a:lnTo>
                    <a:pt x="0" y="85"/>
                  </a:lnTo>
                  <a:lnTo>
                    <a:pt x="85" y="85"/>
                  </a:lnTo>
                  <a:lnTo>
                    <a:pt x="85" y="0"/>
                  </a:lnTo>
                  <a:close/>
                  <a:moveTo>
                    <a:pt x="66" y="66"/>
                  </a:moveTo>
                  <a:lnTo>
                    <a:pt x="19" y="66"/>
                  </a:lnTo>
                  <a:lnTo>
                    <a:pt x="19" y="19"/>
                  </a:lnTo>
                  <a:lnTo>
                    <a:pt x="66" y="19"/>
                  </a:lnTo>
                  <a:lnTo>
                    <a:pt x="66"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17" name="Rectangle 55"/>
            <p:cNvSpPr>
              <a:spLocks noChangeArrowheads="1"/>
            </p:cNvSpPr>
            <p:nvPr/>
          </p:nvSpPr>
          <p:spPr bwMode="auto">
            <a:xfrm>
              <a:off x="-1641476" y="6827838"/>
              <a:ext cx="390525"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18" name="Rectangle 56"/>
            <p:cNvSpPr>
              <a:spLocks noChangeArrowheads="1"/>
            </p:cNvSpPr>
            <p:nvPr/>
          </p:nvSpPr>
          <p:spPr bwMode="auto">
            <a:xfrm>
              <a:off x="-1641476" y="6891338"/>
              <a:ext cx="48736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19" name="Rectangle 57"/>
            <p:cNvSpPr>
              <a:spLocks noChangeArrowheads="1"/>
            </p:cNvSpPr>
            <p:nvPr/>
          </p:nvSpPr>
          <p:spPr bwMode="auto">
            <a:xfrm>
              <a:off x="-1641476" y="6764338"/>
              <a:ext cx="3905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20" name="Rectangle 58"/>
            <p:cNvSpPr>
              <a:spLocks noChangeArrowheads="1"/>
            </p:cNvSpPr>
            <p:nvPr/>
          </p:nvSpPr>
          <p:spPr bwMode="auto">
            <a:xfrm>
              <a:off x="-1641476" y="6699250"/>
              <a:ext cx="45085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21" name="Rectangle 59"/>
            <p:cNvSpPr>
              <a:spLocks noChangeArrowheads="1"/>
            </p:cNvSpPr>
            <p:nvPr/>
          </p:nvSpPr>
          <p:spPr bwMode="auto">
            <a:xfrm>
              <a:off x="-1641476" y="6635750"/>
              <a:ext cx="48736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22" name="Rectangle 60"/>
            <p:cNvSpPr>
              <a:spLocks noChangeArrowheads="1"/>
            </p:cNvSpPr>
            <p:nvPr/>
          </p:nvSpPr>
          <p:spPr bwMode="auto">
            <a:xfrm>
              <a:off x="-1641476" y="6572250"/>
              <a:ext cx="48736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23" name="Rectangle 61"/>
            <p:cNvSpPr>
              <a:spLocks noChangeArrowheads="1"/>
            </p:cNvSpPr>
            <p:nvPr/>
          </p:nvSpPr>
          <p:spPr bwMode="auto">
            <a:xfrm>
              <a:off x="-1641476" y="6508750"/>
              <a:ext cx="48736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24" name="Freeform 62"/>
            <p:cNvSpPr>
              <a:spLocks noEditPoints="1"/>
            </p:cNvSpPr>
            <p:nvPr/>
          </p:nvSpPr>
          <p:spPr bwMode="auto">
            <a:xfrm>
              <a:off x="-1209676" y="6580188"/>
              <a:ext cx="277813" cy="277813"/>
            </a:xfrm>
            <a:custGeom>
              <a:avLst/>
              <a:gdLst>
                <a:gd name="T0" fmla="*/ 70 w 74"/>
                <a:gd name="T1" fmla="*/ 4 h 74"/>
                <a:gd name="T2" fmla="*/ 54 w 74"/>
                <a:gd name="T3" fmla="*/ 4 h 74"/>
                <a:gd name="T4" fmla="*/ 2 w 74"/>
                <a:gd name="T5" fmla="*/ 56 h 74"/>
                <a:gd name="T6" fmla="*/ 0 w 74"/>
                <a:gd name="T7" fmla="*/ 74 h 74"/>
                <a:gd name="T8" fmla="*/ 19 w 74"/>
                <a:gd name="T9" fmla="*/ 73 h 74"/>
                <a:gd name="T10" fmla="*/ 70 w 74"/>
                <a:gd name="T11" fmla="*/ 21 h 74"/>
                <a:gd name="T12" fmla="*/ 74 w 74"/>
                <a:gd name="T13" fmla="*/ 13 h 74"/>
                <a:gd name="T14" fmla="*/ 70 w 74"/>
                <a:gd name="T15" fmla="*/ 4 h 74"/>
                <a:gd name="T16" fmla="*/ 15 w 74"/>
                <a:gd name="T17" fmla="*/ 65 h 74"/>
                <a:gd name="T18" fmla="*/ 9 w 74"/>
                <a:gd name="T19" fmla="*/ 66 h 74"/>
                <a:gd name="T20" fmla="*/ 9 w 74"/>
                <a:gd name="T21" fmla="*/ 60 h 74"/>
                <a:gd name="T22" fmla="*/ 49 w 74"/>
                <a:gd name="T23" fmla="*/ 20 h 74"/>
                <a:gd name="T24" fmla="*/ 55 w 74"/>
                <a:gd name="T25" fmla="*/ 25 h 74"/>
                <a:gd name="T26" fmla="*/ 15 w 74"/>
                <a:gd name="T27" fmla="*/ 65 h 74"/>
                <a:gd name="T28" fmla="*/ 65 w 74"/>
                <a:gd name="T29" fmla="*/ 15 h 74"/>
                <a:gd name="T30" fmla="*/ 61 w 74"/>
                <a:gd name="T31" fmla="*/ 20 h 74"/>
                <a:gd name="T32" fmla="*/ 55 w 74"/>
                <a:gd name="T33" fmla="*/ 14 h 74"/>
                <a:gd name="T34" fmla="*/ 59 w 74"/>
                <a:gd name="T35" fmla="*/ 10 h 74"/>
                <a:gd name="T36" fmla="*/ 59 w 74"/>
                <a:gd name="T37" fmla="*/ 10 h 74"/>
                <a:gd name="T38" fmla="*/ 65 w 74"/>
                <a:gd name="T39" fmla="*/ 10 h 74"/>
                <a:gd name="T40" fmla="*/ 66 w 74"/>
                <a:gd name="T41" fmla="*/ 13 h 74"/>
                <a:gd name="T42" fmla="*/ 65 w 74"/>
                <a:gd name="T43" fmla="*/ 1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74">
                  <a:moveTo>
                    <a:pt x="70" y="4"/>
                  </a:moveTo>
                  <a:cubicBezTo>
                    <a:pt x="66" y="0"/>
                    <a:pt x="58" y="0"/>
                    <a:pt x="54" y="4"/>
                  </a:cubicBezTo>
                  <a:cubicBezTo>
                    <a:pt x="2" y="56"/>
                    <a:pt x="2" y="56"/>
                    <a:pt x="2" y="56"/>
                  </a:cubicBezTo>
                  <a:cubicBezTo>
                    <a:pt x="0" y="74"/>
                    <a:pt x="0" y="74"/>
                    <a:pt x="0" y="74"/>
                  </a:cubicBezTo>
                  <a:cubicBezTo>
                    <a:pt x="19" y="73"/>
                    <a:pt x="19" y="73"/>
                    <a:pt x="19" y="73"/>
                  </a:cubicBezTo>
                  <a:cubicBezTo>
                    <a:pt x="70" y="21"/>
                    <a:pt x="70" y="21"/>
                    <a:pt x="70" y="21"/>
                  </a:cubicBezTo>
                  <a:cubicBezTo>
                    <a:pt x="73" y="19"/>
                    <a:pt x="74" y="16"/>
                    <a:pt x="74" y="13"/>
                  </a:cubicBezTo>
                  <a:cubicBezTo>
                    <a:pt x="74" y="9"/>
                    <a:pt x="73" y="6"/>
                    <a:pt x="70" y="4"/>
                  </a:cubicBezTo>
                  <a:close/>
                  <a:moveTo>
                    <a:pt x="15" y="65"/>
                  </a:moveTo>
                  <a:cubicBezTo>
                    <a:pt x="9" y="66"/>
                    <a:pt x="9" y="66"/>
                    <a:pt x="9" y="66"/>
                  </a:cubicBezTo>
                  <a:cubicBezTo>
                    <a:pt x="9" y="60"/>
                    <a:pt x="9" y="60"/>
                    <a:pt x="9" y="60"/>
                  </a:cubicBezTo>
                  <a:cubicBezTo>
                    <a:pt x="49" y="20"/>
                    <a:pt x="49" y="20"/>
                    <a:pt x="49" y="20"/>
                  </a:cubicBezTo>
                  <a:cubicBezTo>
                    <a:pt x="55" y="25"/>
                    <a:pt x="55" y="25"/>
                    <a:pt x="55" y="25"/>
                  </a:cubicBezTo>
                  <a:lnTo>
                    <a:pt x="15" y="65"/>
                  </a:lnTo>
                  <a:close/>
                  <a:moveTo>
                    <a:pt x="65" y="15"/>
                  </a:moveTo>
                  <a:cubicBezTo>
                    <a:pt x="61" y="20"/>
                    <a:pt x="61" y="20"/>
                    <a:pt x="61" y="20"/>
                  </a:cubicBezTo>
                  <a:cubicBezTo>
                    <a:pt x="55" y="14"/>
                    <a:pt x="55" y="14"/>
                    <a:pt x="55" y="14"/>
                  </a:cubicBezTo>
                  <a:cubicBezTo>
                    <a:pt x="59" y="10"/>
                    <a:pt x="59" y="10"/>
                    <a:pt x="59" y="10"/>
                  </a:cubicBezTo>
                  <a:cubicBezTo>
                    <a:pt x="59" y="10"/>
                    <a:pt x="59" y="10"/>
                    <a:pt x="59" y="10"/>
                  </a:cubicBezTo>
                  <a:cubicBezTo>
                    <a:pt x="61" y="8"/>
                    <a:pt x="63" y="8"/>
                    <a:pt x="65" y="10"/>
                  </a:cubicBezTo>
                  <a:cubicBezTo>
                    <a:pt x="66" y="11"/>
                    <a:pt x="66" y="12"/>
                    <a:pt x="66" y="13"/>
                  </a:cubicBezTo>
                  <a:cubicBezTo>
                    <a:pt x="66" y="14"/>
                    <a:pt x="66" y="15"/>
                    <a:pt x="6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4128" name="Freeform 67"/>
          <p:cNvSpPr>
            <a:spLocks noEditPoints="1"/>
          </p:cNvSpPr>
          <p:nvPr/>
        </p:nvSpPr>
        <p:spPr bwMode="auto">
          <a:xfrm>
            <a:off x="1700622" y="5343345"/>
            <a:ext cx="379106" cy="379909"/>
          </a:xfrm>
          <a:custGeom>
            <a:avLst/>
            <a:gdLst>
              <a:gd name="T0" fmla="*/ 193 w 400"/>
              <a:gd name="T1" fmla="*/ 7 h 400"/>
              <a:gd name="T2" fmla="*/ 200 w 400"/>
              <a:gd name="T3" fmla="*/ 102 h 400"/>
              <a:gd name="T4" fmla="*/ 207 w 400"/>
              <a:gd name="T5" fmla="*/ 13 h 400"/>
              <a:gd name="T6" fmla="*/ 374 w 400"/>
              <a:gd name="T7" fmla="*/ 267 h 400"/>
              <a:gd name="T8" fmla="*/ 380 w 400"/>
              <a:gd name="T9" fmla="*/ 276 h 400"/>
              <a:gd name="T10" fmla="*/ 400 w 400"/>
              <a:gd name="T11" fmla="*/ 200 h 400"/>
              <a:gd name="T12" fmla="*/ 63 w 400"/>
              <a:gd name="T13" fmla="*/ 57 h 400"/>
              <a:gd name="T14" fmla="*/ 0 w 400"/>
              <a:gd name="T15" fmla="*/ 200 h 400"/>
              <a:gd name="T16" fmla="*/ 153 w 400"/>
              <a:gd name="T17" fmla="*/ 394 h 400"/>
              <a:gd name="T18" fmla="*/ 155 w 400"/>
              <a:gd name="T19" fmla="*/ 381 h 400"/>
              <a:gd name="T20" fmla="*/ 68 w 400"/>
              <a:gd name="T21" fmla="*/ 68 h 400"/>
              <a:gd name="T22" fmla="*/ 63 w 400"/>
              <a:gd name="T23" fmla="*/ 57 h 400"/>
              <a:gd name="T24" fmla="*/ 129 w 400"/>
              <a:gd name="T25" fmla="*/ 122 h 400"/>
              <a:gd name="T26" fmla="*/ 190 w 400"/>
              <a:gd name="T27" fmla="*/ 217 h 400"/>
              <a:gd name="T28" fmla="*/ 210 w 400"/>
              <a:gd name="T29" fmla="*/ 227 h 400"/>
              <a:gd name="T30" fmla="*/ 233 w 400"/>
              <a:gd name="T31" fmla="*/ 201 h 400"/>
              <a:gd name="T32" fmla="*/ 137 w 400"/>
              <a:gd name="T33" fmla="*/ 121 h 400"/>
              <a:gd name="T34" fmla="*/ 163 w 400"/>
              <a:gd name="T35" fmla="*/ 156 h 400"/>
              <a:gd name="T36" fmla="*/ 220 w 400"/>
              <a:gd name="T37" fmla="*/ 202 h 400"/>
              <a:gd name="T38" fmla="*/ 209 w 400"/>
              <a:gd name="T39" fmla="*/ 213 h 400"/>
              <a:gd name="T40" fmla="*/ 163 w 400"/>
              <a:gd name="T41" fmla="*/ 156 h 400"/>
              <a:gd name="T42" fmla="*/ 227 w 400"/>
              <a:gd name="T43" fmla="*/ 233 h 400"/>
              <a:gd name="T44" fmla="*/ 240 w 400"/>
              <a:gd name="T45" fmla="*/ 240 h 400"/>
              <a:gd name="T46" fmla="*/ 272 w 400"/>
              <a:gd name="T47" fmla="*/ 313 h 400"/>
              <a:gd name="T48" fmla="*/ 240 w 400"/>
              <a:gd name="T49" fmla="*/ 387 h 400"/>
              <a:gd name="T50" fmla="*/ 227 w 400"/>
              <a:gd name="T51" fmla="*/ 393 h 400"/>
              <a:gd name="T52" fmla="*/ 240 w 400"/>
              <a:gd name="T53" fmla="*/ 400 h 400"/>
              <a:gd name="T54" fmla="*/ 340 w 400"/>
              <a:gd name="T55" fmla="*/ 400 h 400"/>
              <a:gd name="T56" fmla="*/ 353 w 400"/>
              <a:gd name="T57" fmla="*/ 400 h 400"/>
              <a:gd name="T58" fmla="*/ 353 w 400"/>
              <a:gd name="T59" fmla="*/ 387 h 400"/>
              <a:gd name="T60" fmla="*/ 347 w 400"/>
              <a:gd name="T61" fmla="*/ 371 h 400"/>
              <a:gd name="T62" fmla="*/ 347 w 400"/>
              <a:gd name="T63" fmla="*/ 256 h 400"/>
              <a:gd name="T64" fmla="*/ 353 w 400"/>
              <a:gd name="T65" fmla="*/ 240 h 400"/>
              <a:gd name="T66" fmla="*/ 353 w 400"/>
              <a:gd name="T67" fmla="*/ 227 h 400"/>
              <a:gd name="T68" fmla="*/ 340 w 400"/>
              <a:gd name="T69" fmla="*/ 227 h 400"/>
              <a:gd name="T70" fmla="*/ 240 w 400"/>
              <a:gd name="T71" fmla="*/ 227 h 400"/>
              <a:gd name="T72" fmla="*/ 253 w 400"/>
              <a:gd name="T73" fmla="*/ 240 h 400"/>
              <a:gd name="T74" fmla="*/ 333 w 400"/>
              <a:gd name="T75" fmla="*/ 256 h 400"/>
              <a:gd name="T76" fmla="*/ 288 w 400"/>
              <a:gd name="T77" fmla="*/ 307 h 400"/>
              <a:gd name="T78" fmla="*/ 253 w 400"/>
              <a:gd name="T79" fmla="*/ 240 h 400"/>
              <a:gd name="T80" fmla="*/ 299 w 400"/>
              <a:gd name="T81" fmla="*/ 320 h 400"/>
              <a:gd name="T82" fmla="*/ 333 w 400"/>
              <a:gd name="T83" fmla="*/ 387 h 400"/>
              <a:gd name="T84" fmla="*/ 253 w 400"/>
              <a:gd name="T85" fmla="*/ 371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0" h="400">
                <a:moveTo>
                  <a:pt x="200" y="0"/>
                </a:moveTo>
                <a:cubicBezTo>
                  <a:pt x="196" y="0"/>
                  <a:pt x="193" y="3"/>
                  <a:pt x="193" y="7"/>
                </a:cubicBezTo>
                <a:cubicBezTo>
                  <a:pt x="193" y="95"/>
                  <a:pt x="193" y="95"/>
                  <a:pt x="193" y="95"/>
                </a:cubicBezTo>
                <a:cubicBezTo>
                  <a:pt x="193" y="99"/>
                  <a:pt x="196" y="102"/>
                  <a:pt x="200" y="102"/>
                </a:cubicBezTo>
                <a:cubicBezTo>
                  <a:pt x="204" y="102"/>
                  <a:pt x="207" y="99"/>
                  <a:pt x="207" y="95"/>
                </a:cubicBezTo>
                <a:cubicBezTo>
                  <a:pt x="207" y="13"/>
                  <a:pt x="207" y="13"/>
                  <a:pt x="207" y="13"/>
                </a:cubicBezTo>
                <a:cubicBezTo>
                  <a:pt x="307" y="17"/>
                  <a:pt x="387" y="99"/>
                  <a:pt x="387" y="200"/>
                </a:cubicBezTo>
                <a:cubicBezTo>
                  <a:pt x="387" y="223"/>
                  <a:pt x="382" y="246"/>
                  <a:pt x="374" y="267"/>
                </a:cubicBezTo>
                <a:cubicBezTo>
                  <a:pt x="373" y="271"/>
                  <a:pt x="374" y="275"/>
                  <a:pt x="378" y="276"/>
                </a:cubicBezTo>
                <a:cubicBezTo>
                  <a:pt x="379" y="276"/>
                  <a:pt x="380" y="276"/>
                  <a:pt x="380" y="276"/>
                </a:cubicBezTo>
                <a:cubicBezTo>
                  <a:pt x="383" y="276"/>
                  <a:pt x="386" y="275"/>
                  <a:pt x="387" y="272"/>
                </a:cubicBezTo>
                <a:cubicBezTo>
                  <a:pt x="395" y="249"/>
                  <a:pt x="400" y="225"/>
                  <a:pt x="400" y="200"/>
                </a:cubicBezTo>
                <a:cubicBezTo>
                  <a:pt x="400" y="90"/>
                  <a:pt x="310" y="0"/>
                  <a:pt x="200" y="0"/>
                </a:cubicBezTo>
                <a:close/>
                <a:moveTo>
                  <a:pt x="63" y="57"/>
                </a:moveTo>
                <a:cubicBezTo>
                  <a:pt x="61" y="57"/>
                  <a:pt x="60" y="58"/>
                  <a:pt x="58" y="59"/>
                </a:cubicBezTo>
                <a:cubicBezTo>
                  <a:pt x="21" y="97"/>
                  <a:pt x="0" y="147"/>
                  <a:pt x="0" y="200"/>
                </a:cubicBezTo>
                <a:cubicBezTo>
                  <a:pt x="0" y="292"/>
                  <a:pt x="62" y="372"/>
                  <a:pt x="152" y="394"/>
                </a:cubicBezTo>
                <a:cubicBezTo>
                  <a:pt x="152" y="394"/>
                  <a:pt x="153" y="394"/>
                  <a:pt x="153" y="394"/>
                </a:cubicBezTo>
                <a:cubicBezTo>
                  <a:pt x="156" y="394"/>
                  <a:pt x="159" y="392"/>
                  <a:pt x="160" y="389"/>
                </a:cubicBezTo>
                <a:cubicBezTo>
                  <a:pt x="161" y="386"/>
                  <a:pt x="159" y="382"/>
                  <a:pt x="155" y="381"/>
                </a:cubicBezTo>
                <a:cubicBezTo>
                  <a:pt x="72" y="361"/>
                  <a:pt x="13" y="286"/>
                  <a:pt x="13" y="200"/>
                </a:cubicBezTo>
                <a:cubicBezTo>
                  <a:pt x="13" y="150"/>
                  <a:pt x="33" y="103"/>
                  <a:pt x="68" y="68"/>
                </a:cubicBezTo>
                <a:cubicBezTo>
                  <a:pt x="70" y="66"/>
                  <a:pt x="70" y="61"/>
                  <a:pt x="68" y="59"/>
                </a:cubicBezTo>
                <a:cubicBezTo>
                  <a:pt x="66" y="57"/>
                  <a:pt x="65" y="57"/>
                  <a:pt x="63" y="57"/>
                </a:cubicBezTo>
                <a:close/>
                <a:moveTo>
                  <a:pt x="133" y="120"/>
                </a:moveTo>
                <a:cubicBezTo>
                  <a:pt x="131" y="120"/>
                  <a:pt x="130" y="121"/>
                  <a:pt x="129" y="122"/>
                </a:cubicBezTo>
                <a:cubicBezTo>
                  <a:pt x="126" y="124"/>
                  <a:pt x="126" y="128"/>
                  <a:pt x="128" y="131"/>
                </a:cubicBezTo>
                <a:cubicBezTo>
                  <a:pt x="190" y="217"/>
                  <a:pt x="190" y="217"/>
                  <a:pt x="190" y="217"/>
                </a:cubicBezTo>
                <a:cubicBezTo>
                  <a:pt x="194" y="223"/>
                  <a:pt x="201" y="226"/>
                  <a:pt x="208" y="227"/>
                </a:cubicBezTo>
                <a:cubicBezTo>
                  <a:pt x="208" y="227"/>
                  <a:pt x="209" y="227"/>
                  <a:pt x="210" y="227"/>
                </a:cubicBezTo>
                <a:cubicBezTo>
                  <a:pt x="216" y="227"/>
                  <a:pt x="222" y="224"/>
                  <a:pt x="226" y="220"/>
                </a:cubicBezTo>
                <a:cubicBezTo>
                  <a:pt x="231" y="215"/>
                  <a:pt x="234" y="208"/>
                  <a:pt x="233" y="201"/>
                </a:cubicBezTo>
                <a:cubicBezTo>
                  <a:pt x="233" y="194"/>
                  <a:pt x="229" y="188"/>
                  <a:pt x="224" y="184"/>
                </a:cubicBezTo>
                <a:cubicBezTo>
                  <a:pt x="137" y="121"/>
                  <a:pt x="137" y="121"/>
                  <a:pt x="137" y="121"/>
                </a:cubicBezTo>
                <a:cubicBezTo>
                  <a:pt x="136" y="120"/>
                  <a:pt x="134" y="120"/>
                  <a:pt x="133" y="120"/>
                </a:cubicBezTo>
                <a:close/>
                <a:moveTo>
                  <a:pt x="163" y="156"/>
                </a:moveTo>
                <a:cubicBezTo>
                  <a:pt x="216" y="194"/>
                  <a:pt x="216" y="194"/>
                  <a:pt x="216" y="194"/>
                </a:cubicBezTo>
                <a:cubicBezTo>
                  <a:pt x="218" y="196"/>
                  <a:pt x="220" y="199"/>
                  <a:pt x="220" y="202"/>
                </a:cubicBezTo>
                <a:cubicBezTo>
                  <a:pt x="220" y="205"/>
                  <a:pt x="219" y="208"/>
                  <a:pt x="217" y="210"/>
                </a:cubicBezTo>
                <a:cubicBezTo>
                  <a:pt x="215" y="212"/>
                  <a:pt x="212" y="213"/>
                  <a:pt x="209" y="213"/>
                </a:cubicBezTo>
                <a:cubicBezTo>
                  <a:pt x="206" y="213"/>
                  <a:pt x="203" y="212"/>
                  <a:pt x="201" y="209"/>
                </a:cubicBezTo>
                <a:lnTo>
                  <a:pt x="163" y="156"/>
                </a:lnTo>
                <a:close/>
                <a:moveTo>
                  <a:pt x="233" y="227"/>
                </a:moveTo>
                <a:cubicBezTo>
                  <a:pt x="230" y="227"/>
                  <a:pt x="227" y="230"/>
                  <a:pt x="227" y="233"/>
                </a:cubicBezTo>
                <a:cubicBezTo>
                  <a:pt x="227" y="237"/>
                  <a:pt x="230" y="240"/>
                  <a:pt x="233" y="240"/>
                </a:cubicBezTo>
                <a:cubicBezTo>
                  <a:pt x="240" y="240"/>
                  <a:pt x="240" y="240"/>
                  <a:pt x="240" y="240"/>
                </a:cubicBezTo>
                <a:cubicBezTo>
                  <a:pt x="240" y="256"/>
                  <a:pt x="240" y="256"/>
                  <a:pt x="240" y="256"/>
                </a:cubicBezTo>
                <a:cubicBezTo>
                  <a:pt x="240" y="279"/>
                  <a:pt x="252" y="301"/>
                  <a:pt x="272" y="313"/>
                </a:cubicBezTo>
                <a:cubicBezTo>
                  <a:pt x="252" y="326"/>
                  <a:pt x="240" y="347"/>
                  <a:pt x="240" y="371"/>
                </a:cubicBezTo>
                <a:cubicBezTo>
                  <a:pt x="240" y="387"/>
                  <a:pt x="240" y="387"/>
                  <a:pt x="240" y="387"/>
                </a:cubicBezTo>
                <a:cubicBezTo>
                  <a:pt x="233" y="387"/>
                  <a:pt x="233" y="387"/>
                  <a:pt x="233" y="387"/>
                </a:cubicBezTo>
                <a:cubicBezTo>
                  <a:pt x="230" y="387"/>
                  <a:pt x="227" y="390"/>
                  <a:pt x="227" y="393"/>
                </a:cubicBezTo>
                <a:cubicBezTo>
                  <a:pt x="227" y="397"/>
                  <a:pt x="230" y="400"/>
                  <a:pt x="233" y="400"/>
                </a:cubicBezTo>
                <a:cubicBezTo>
                  <a:pt x="240" y="400"/>
                  <a:pt x="240" y="400"/>
                  <a:pt x="240" y="400"/>
                </a:cubicBezTo>
                <a:cubicBezTo>
                  <a:pt x="247" y="400"/>
                  <a:pt x="247" y="400"/>
                  <a:pt x="247" y="400"/>
                </a:cubicBezTo>
                <a:cubicBezTo>
                  <a:pt x="340" y="400"/>
                  <a:pt x="340" y="400"/>
                  <a:pt x="340" y="400"/>
                </a:cubicBezTo>
                <a:cubicBezTo>
                  <a:pt x="347" y="400"/>
                  <a:pt x="347" y="400"/>
                  <a:pt x="347" y="400"/>
                </a:cubicBezTo>
                <a:cubicBezTo>
                  <a:pt x="353" y="400"/>
                  <a:pt x="353" y="400"/>
                  <a:pt x="353" y="400"/>
                </a:cubicBezTo>
                <a:cubicBezTo>
                  <a:pt x="357" y="400"/>
                  <a:pt x="360" y="397"/>
                  <a:pt x="360" y="393"/>
                </a:cubicBezTo>
                <a:cubicBezTo>
                  <a:pt x="360" y="390"/>
                  <a:pt x="357" y="387"/>
                  <a:pt x="353" y="387"/>
                </a:cubicBezTo>
                <a:cubicBezTo>
                  <a:pt x="347" y="387"/>
                  <a:pt x="347" y="387"/>
                  <a:pt x="347" y="387"/>
                </a:cubicBezTo>
                <a:cubicBezTo>
                  <a:pt x="347" y="371"/>
                  <a:pt x="347" y="371"/>
                  <a:pt x="347" y="371"/>
                </a:cubicBezTo>
                <a:cubicBezTo>
                  <a:pt x="347" y="347"/>
                  <a:pt x="334" y="326"/>
                  <a:pt x="314" y="313"/>
                </a:cubicBezTo>
                <a:cubicBezTo>
                  <a:pt x="334" y="301"/>
                  <a:pt x="347" y="279"/>
                  <a:pt x="347" y="256"/>
                </a:cubicBezTo>
                <a:cubicBezTo>
                  <a:pt x="347" y="240"/>
                  <a:pt x="347" y="240"/>
                  <a:pt x="347" y="240"/>
                </a:cubicBezTo>
                <a:cubicBezTo>
                  <a:pt x="353" y="240"/>
                  <a:pt x="353" y="240"/>
                  <a:pt x="353" y="240"/>
                </a:cubicBezTo>
                <a:cubicBezTo>
                  <a:pt x="357" y="240"/>
                  <a:pt x="360" y="237"/>
                  <a:pt x="360" y="233"/>
                </a:cubicBezTo>
                <a:cubicBezTo>
                  <a:pt x="360" y="230"/>
                  <a:pt x="357" y="227"/>
                  <a:pt x="353" y="227"/>
                </a:cubicBezTo>
                <a:cubicBezTo>
                  <a:pt x="347" y="227"/>
                  <a:pt x="347" y="227"/>
                  <a:pt x="347" y="227"/>
                </a:cubicBezTo>
                <a:cubicBezTo>
                  <a:pt x="340" y="227"/>
                  <a:pt x="340" y="227"/>
                  <a:pt x="340" y="227"/>
                </a:cubicBezTo>
                <a:cubicBezTo>
                  <a:pt x="247" y="227"/>
                  <a:pt x="247" y="227"/>
                  <a:pt x="247" y="227"/>
                </a:cubicBezTo>
                <a:cubicBezTo>
                  <a:pt x="240" y="227"/>
                  <a:pt x="240" y="227"/>
                  <a:pt x="240" y="227"/>
                </a:cubicBezTo>
                <a:lnTo>
                  <a:pt x="233" y="227"/>
                </a:lnTo>
                <a:close/>
                <a:moveTo>
                  <a:pt x="253" y="240"/>
                </a:moveTo>
                <a:cubicBezTo>
                  <a:pt x="333" y="240"/>
                  <a:pt x="333" y="240"/>
                  <a:pt x="333" y="240"/>
                </a:cubicBezTo>
                <a:cubicBezTo>
                  <a:pt x="333" y="256"/>
                  <a:pt x="333" y="256"/>
                  <a:pt x="333" y="256"/>
                </a:cubicBezTo>
                <a:cubicBezTo>
                  <a:pt x="333" y="278"/>
                  <a:pt x="320" y="298"/>
                  <a:pt x="299" y="307"/>
                </a:cubicBezTo>
                <a:cubicBezTo>
                  <a:pt x="288" y="307"/>
                  <a:pt x="288" y="307"/>
                  <a:pt x="288" y="307"/>
                </a:cubicBezTo>
                <a:cubicBezTo>
                  <a:pt x="267" y="298"/>
                  <a:pt x="253" y="278"/>
                  <a:pt x="253" y="256"/>
                </a:cubicBezTo>
                <a:lnTo>
                  <a:pt x="253" y="240"/>
                </a:lnTo>
                <a:close/>
                <a:moveTo>
                  <a:pt x="288" y="320"/>
                </a:moveTo>
                <a:cubicBezTo>
                  <a:pt x="299" y="320"/>
                  <a:pt x="299" y="320"/>
                  <a:pt x="299" y="320"/>
                </a:cubicBezTo>
                <a:cubicBezTo>
                  <a:pt x="320" y="329"/>
                  <a:pt x="333" y="349"/>
                  <a:pt x="333" y="371"/>
                </a:cubicBezTo>
                <a:cubicBezTo>
                  <a:pt x="333" y="387"/>
                  <a:pt x="333" y="387"/>
                  <a:pt x="333" y="387"/>
                </a:cubicBezTo>
                <a:cubicBezTo>
                  <a:pt x="253" y="387"/>
                  <a:pt x="253" y="387"/>
                  <a:pt x="253" y="387"/>
                </a:cubicBezTo>
                <a:cubicBezTo>
                  <a:pt x="253" y="371"/>
                  <a:pt x="253" y="371"/>
                  <a:pt x="253" y="371"/>
                </a:cubicBezTo>
                <a:cubicBezTo>
                  <a:pt x="253" y="349"/>
                  <a:pt x="267" y="329"/>
                  <a:pt x="288" y="320"/>
                </a:cubicBezTo>
                <a:close/>
              </a:path>
            </a:pathLst>
          </a:custGeom>
          <a:solidFill>
            <a:schemeClr val="accent1"/>
          </a:solidFill>
          <a:ln>
            <a:noFill/>
          </a:ln>
        </p:spPr>
        <p:txBody>
          <a:bodyPr vert="horz" wrap="square" lIns="60960" tIns="30480" rIns="60960" bIns="30480" numCol="1" anchor="t" anchorCtr="0" compatLnSpc="1">
            <a:prstTxWarp prst="textNoShape">
              <a:avLst/>
            </a:prstTxWarp>
          </a:bodyPr>
          <a:lstStyle/>
          <a:p>
            <a:endParaRPr lang="en-IN" sz="1200"/>
          </a:p>
        </p:txBody>
      </p:sp>
      <p:sp>
        <p:nvSpPr>
          <p:cNvPr id="4131" name="Freeform 72"/>
          <p:cNvSpPr>
            <a:spLocks noEditPoints="1"/>
          </p:cNvSpPr>
          <p:nvPr/>
        </p:nvSpPr>
        <p:spPr bwMode="auto">
          <a:xfrm>
            <a:off x="1710659" y="4782186"/>
            <a:ext cx="359031" cy="290819"/>
          </a:xfrm>
          <a:custGeom>
            <a:avLst/>
            <a:gdLst>
              <a:gd name="T0" fmla="*/ 343 w 372"/>
              <a:gd name="T1" fmla="*/ 0 h 301"/>
              <a:gd name="T2" fmla="*/ 29 w 372"/>
              <a:gd name="T3" fmla="*/ 0 h 301"/>
              <a:gd name="T4" fmla="*/ 0 w 372"/>
              <a:gd name="T5" fmla="*/ 28 h 301"/>
              <a:gd name="T6" fmla="*/ 0 w 372"/>
              <a:gd name="T7" fmla="*/ 272 h 301"/>
              <a:gd name="T8" fmla="*/ 29 w 372"/>
              <a:gd name="T9" fmla="*/ 301 h 301"/>
              <a:gd name="T10" fmla="*/ 343 w 372"/>
              <a:gd name="T11" fmla="*/ 301 h 301"/>
              <a:gd name="T12" fmla="*/ 372 w 372"/>
              <a:gd name="T13" fmla="*/ 272 h 301"/>
              <a:gd name="T14" fmla="*/ 372 w 372"/>
              <a:gd name="T15" fmla="*/ 28 h 301"/>
              <a:gd name="T16" fmla="*/ 343 w 372"/>
              <a:gd name="T17" fmla="*/ 0 h 301"/>
              <a:gd name="T18" fmla="*/ 29 w 372"/>
              <a:gd name="T19" fmla="*/ 20 h 301"/>
              <a:gd name="T20" fmla="*/ 343 w 372"/>
              <a:gd name="T21" fmla="*/ 20 h 301"/>
              <a:gd name="T22" fmla="*/ 352 w 372"/>
              <a:gd name="T23" fmla="*/ 28 h 301"/>
              <a:gd name="T24" fmla="*/ 352 w 372"/>
              <a:gd name="T25" fmla="*/ 70 h 301"/>
              <a:gd name="T26" fmla="*/ 20 w 372"/>
              <a:gd name="T27" fmla="*/ 70 h 301"/>
              <a:gd name="T28" fmla="*/ 20 w 372"/>
              <a:gd name="T29" fmla="*/ 28 h 301"/>
              <a:gd name="T30" fmla="*/ 29 w 372"/>
              <a:gd name="T31" fmla="*/ 20 h 301"/>
              <a:gd name="T32" fmla="*/ 343 w 372"/>
              <a:gd name="T33" fmla="*/ 280 h 301"/>
              <a:gd name="T34" fmla="*/ 29 w 372"/>
              <a:gd name="T35" fmla="*/ 280 h 301"/>
              <a:gd name="T36" fmla="*/ 20 w 372"/>
              <a:gd name="T37" fmla="*/ 272 h 301"/>
              <a:gd name="T38" fmla="*/ 20 w 372"/>
              <a:gd name="T39" fmla="*/ 90 h 301"/>
              <a:gd name="T40" fmla="*/ 352 w 372"/>
              <a:gd name="T41" fmla="*/ 90 h 301"/>
              <a:gd name="T42" fmla="*/ 352 w 372"/>
              <a:gd name="T43" fmla="*/ 272 h 301"/>
              <a:gd name="T44" fmla="*/ 343 w 372"/>
              <a:gd name="T45" fmla="*/ 280 h 301"/>
              <a:gd name="T46" fmla="*/ 232 w 372"/>
              <a:gd name="T47" fmla="*/ 146 h 301"/>
              <a:gd name="T48" fmla="*/ 232 w 372"/>
              <a:gd name="T49" fmla="*/ 160 h 301"/>
              <a:gd name="T50" fmla="*/ 174 w 372"/>
              <a:gd name="T51" fmla="*/ 219 h 301"/>
              <a:gd name="T52" fmla="*/ 166 w 372"/>
              <a:gd name="T53" fmla="*/ 222 h 301"/>
              <a:gd name="T54" fmla="*/ 159 w 372"/>
              <a:gd name="T55" fmla="*/ 219 h 301"/>
              <a:gd name="T56" fmla="*/ 134 w 372"/>
              <a:gd name="T57" fmla="*/ 194 h 301"/>
              <a:gd name="T58" fmla="*/ 134 w 372"/>
              <a:gd name="T59" fmla="*/ 180 h 301"/>
              <a:gd name="T60" fmla="*/ 148 w 372"/>
              <a:gd name="T61" fmla="*/ 180 h 301"/>
              <a:gd name="T62" fmla="*/ 166 w 372"/>
              <a:gd name="T63" fmla="*/ 198 h 301"/>
              <a:gd name="T64" fmla="*/ 218 w 372"/>
              <a:gd name="T65" fmla="*/ 146 h 301"/>
              <a:gd name="T66" fmla="*/ 232 w 372"/>
              <a:gd name="T67" fmla="*/ 146 h 301"/>
              <a:gd name="T68" fmla="*/ 74 w 372"/>
              <a:gd name="T69" fmla="*/ 44 h 301"/>
              <a:gd name="T70" fmla="*/ 86 w 372"/>
              <a:gd name="T71" fmla="*/ 32 h 301"/>
              <a:gd name="T72" fmla="*/ 98 w 372"/>
              <a:gd name="T73" fmla="*/ 44 h 301"/>
              <a:gd name="T74" fmla="*/ 86 w 372"/>
              <a:gd name="T75" fmla="*/ 56 h 301"/>
              <a:gd name="T76" fmla="*/ 74 w 372"/>
              <a:gd name="T77" fmla="*/ 44 h 301"/>
              <a:gd name="T78" fmla="*/ 114 w 372"/>
              <a:gd name="T79" fmla="*/ 44 h 301"/>
              <a:gd name="T80" fmla="*/ 126 w 372"/>
              <a:gd name="T81" fmla="*/ 32 h 301"/>
              <a:gd name="T82" fmla="*/ 138 w 372"/>
              <a:gd name="T83" fmla="*/ 44 h 301"/>
              <a:gd name="T84" fmla="*/ 126 w 372"/>
              <a:gd name="T85" fmla="*/ 56 h 301"/>
              <a:gd name="T86" fmla="*/ 114 w 372"/>
              <a:gd name="T87" fmla="*/ 44 h 301"/>
              <a:gd name="T88" fmla="*/ 34 w 372"/>
              <a:gd name="T89" fmla="*/ 44 h 301"/>
              <a:gd name="T90" fmla="*/ 46 w 372"/>
              <a:gd name="T91" fmla="*/ 32 h 301"/>
              <a:gd name="T92" fmla="*/ 58 w 372"/>
              <a:gd name="T93" fmla="*/ 44 h 301"/>
              <a:gd name="T94" fmla="*/ 46 w 372"/>
              <a:gd name="T95" fmla="*/ 56 h 301"/>
              <a:gd name="T96" fmla="*/ 34 w 372"/>
              <a:gd name="T97" fmla="*/ 4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2" h="301">
                <a:moveTo>
                  <a:pt x="343" y="0"/>
                </a:moveTo>
                <a:cubicBezTo>
                  <a:pt x="29" y="0"/>
                  <a:pt x="29" y="0"/>
                  <a:pt x="29" y="0"/>
                </a:cubicBezTo>
                <a:cubicBezTo>
                  <a:pt x="13" y="0"/>
                  <a:pt x="0" y="12"/>
                  <a:pt x="0" y="28"/>
                </a:cubicBezTo>
                <a:cubicBezTo>
                  <a:pt x="0" y="272"/>
                  <a:pt x="0" y="272"/>
                  <a:pt x="0" y="272"/>
                </a:cubicBezTo>
                <a:cubicBezTo>
                  <a:pt x="0" y="288"/>
                  <a:pt x="13" y="301"/>
                  <a:pt x="29" y="301"/>
                </a:cubicBezTo>
                <a:cubicBezTo>
                  <a:pt x="343" y="301"/>
                  <a:pt x="343" y="301"/>
                  <a:pt x="343" y="301"/>
                </a:cubicBezTo>
                <a:cubicBezTo>
                  <a:pt x="359" y="301"/>
                  <a:pt x="372" y="288"/>
                  <a:pt x="372" y="272"/>
                </a:cubicBezTo>
                <a:cubicBezTo>
                  <a:pt x="372" y="28"/>
                  <a:pt x="372" y="28"/>
                  <a:pt x="372" y="28"/>
                </a:cubicBezTo>
                <a:cubicBezTo>
                  <a:pt x="372" y="12"/>
                  <a:pt x="359" y="0"/>
                  <a:pt x="343" y="0"/>
                </a:cubicBezTo>
                <a:close/>
                <a:moveTo>
                  <a:pt x="29" y="20"/>
                </a:moveTo>
                <a:cubicBezTo>
                  <a:pt x="343" y="20"/>
                  <a:pt x="343" y="20"/>
                  <a:pt x="343" y="20"/>
                </a:cubicBezTo>
                <a:cubicBezTo>
                  <a:pt x="348" y="20"/>
                  <a:pt x="352" y="24"/>
                  <a:pt x="352" y="28"/>
                </a:cubicBezTo>
                <a:cubicBezTo>
                  <a:pt x="352" y="70"/>
                  <a:pt x="352" y="70"/>
                  <a:pt x="352" y="70"/>
                </a:cubicBezTo>
                <a:cubicBezTo>
                  <a:pt x="20" y="70"/>
                  <a:pt x="20" y="70"/>
                  <a:pt x="20" y="70"/>
                </a:cubicBezTo>
                <a:cubicBezTo>
                  <a:pt x="20" y="28"/>
                  <a:pt x="20" y="28"/>
                  <a:pt x="20" y="28"/>
                </a:cubicBezTo>
                <a:cubicBezTo>
                  <a:pt x="20" y="23"/>
                  <a:pt x="24" y="20"/>
                  <a:pt x="29" y="20"/>
                </a:cubicBezTo>
                <a:close/>
                <a:moveTo>
                  <a:pt x="343" y="280"/>
                </a:moveTo>
                <a:cubicBezTo>
                  <a:pt x="29" y="280"/>
                  <a:pt x="29" y="280"/>
                  <a:pt x="29" y="280"/>
                </a:cubicBezTo>
                <a:cubicBezTo>
                  <a:pt x="24" y="280"/>
                  <a:pt x="20" y="276"/>
                  <a:pt x="20" y="272"/>
                </a:cubicBezTo>
                <a:cubicBezTo>
                  <a:pt x="20" y="90"/>
                  <a:pt x="20" y="90"/>
                  <a:pt x="20" y="90"/>
                </a:cubicBezTo>
                <a:cubicBezTo>
                  <a:pt x="352" y="90"/>
                  <a:pt x="352" y="90"/>
                  <a:pt x="352" y="90"/>
                </a:cubicBezTo>
                <a:cubicBezTo>
                  <a:pt x="352" y="272"/>
                  <a:pt x="352" y="272"/>
                  <a:pt x="352" y="272"/>
                </a:cubicBezTo>
                <a:cubicBezTo>
                  <a:pt x="352" y="277"/>
                  <a:pt x="348" y="280"/>
                  <a:pt x="343" y="280"/>
                </a:cubicBezTo>
                <a:close/>
                <a:moveTo>
                  <a:pt x="232" y="146"/>
                </a:moveTo>
                <a:cubicBezTo>
                  <a:pt x="236" y="150"/>
                  <a:pt x="236" y="157"/>
                  <a:pt x="232" y="160"/>
                </a:cubicBezTo>
                <a:cubicBezTo>
                  <a:pt x="174" y="219"/>
                  <a:pt x="174" y="219"/>
                  <a:pt x="174" y="219"/>
                </a:cubicBezTo>
                <a:cubicBezTo>
                  <a:pt x="172" y="221"/>
                  <a:pt x="169" y="222"/>
                  <a:pt x="166" y="222"/>
                </a:cubicBezTo>
                <a:cubicBezTo>
                  <a:pt x="164" y="222"/>
                  <a:pt x="161" y="221"/>
                  <a:pt x="159" y="219"/>
                </a:cubicBezTo>
                <a:cubicBezTo>
                  <a:pt x="134" y="194"/>
                  <a:pt x="134" y="194"/>
                  <a:pt x="134" y="194"/>
                </a:cubicBezTo>
                <a:cubicBezTo>
                  <a:pt x="130" y="190"/>
                  <a:pt x="130" y="184"/>
                  <a:pt x="134" y="180"/>
                </a:cubicBezTo>
                <a:cubicBezTo>
                  <a:pt x="138" y="177"/>
                  <a:pt x="145" y="176"/>
                  <a:pt x="148" y="180"/>
                </a:cubicBezTo>
                <a:cubicBezTo>
                  <a:pt x="166" y="198"/>
                  <a:pt x="166" y="198"/>
                  <a:pt x="166" y="198"/>
                </a:cubicBezTo>
                <a:cubicBezTo>
                  <a:pt x="218" y="146"/>
                  <a:pt x="218" y="146"/>
                  <a:pt x="218" y="146"/>
                </a:cubicBezTo>
                <a:cubicBezTo>
                  <a:pt x="222" y="142"/>
                  <a:pt x="229" y="142"/>
                  <a:pt x="232" y="146"/>
                </a:cubicBezTo>
                <a:close/>
                <a:moveTo>
                  <a:pt x="74" y="44"/>
                </a:moveTo>
                <a:cubicBezTo>
                  <a:pt x="74" y="38"/>
                  <a:pt x="79" y="32"/>
                  <a:pt x="86" y="32"/>
                </a:cubicBezTo>
                <a:cubicBezTo>
                  <a:pt x="92" y="32"/>
                  <a:pt x="98" y="38"/>
                  <a:pt x="98" y="44"/>
                </a:cubicBezTo>
                <a:cubicBezTo>
                  <a:pt x="98" y="51"/>
                  <a:pt x="92" y="56"/>
                  <a:pt x="86" y="56"/>
                </a:cubicBezTo>
                <a:cubicBezTo>
                  <a:pt x="79" y="57"/>
                  <a:pt x="74" y="51"/>
                  <a:pt x="74" y="44"/>
                </a:cubicBezTo>
                <a:close/>
                <a:moveTo>
                  <a:pt x="114" y="44"/>
                </a:moveTo>
                <a:cubicBezTo>
                  <a:pt x="114" y="38"/>
                  <a:pt x="119" y="32"/>
                  <a:pt x="126" y="32"/>
                </a:cubicBezTo>
                <a:cubicBezTo>
                  <a:pt x="132" y="32"/>
                  <a:pt x="138" y="38"/>
                  <a:pt x="138" y="44"/>
                </a:cubicBezTo>
                <a:cubicBezTo>
                  <a:pt x="138" y="51"/>
                  <a:pt x="132" y="56"/>
                  <a:pt x="126" y="56"/>
                </a:cubicBezTo>
                <a:cubicBezTo>
                  <a:pt x="119" y="56"/>
                  <a:pt x="114" y="51"/>
                  <a:pt x="114" y="44"/>
                </a:cubicBezTo>
                <a:close/>
                <a:moveTo>
                  <a:pt x="34" y="44"/>
                </a:moveTo>
                <a:cubicBezTo>
                  <a:pt x="34" y="38"/>
                  <a:pt x="39" y="32"/>
                  <a:pt x="46" y="32"/>
                </a:cubicBezTo>
                <a:cubicBezTo>
                  <a:pt x="52" y="32"/>
                  <a:pt x="58" y="38"/>
                  <a:pt x="58" y="44"/>
                </a:cubicBezTo>
                <a:cubicBezTo>
                  <a:pt x="58" y="51"/>
                  <a:pt x="52" y="56"/>
                  <a:pt x="46" y="56"/>
                </a:cubicBezTo>
                <a:cubicBezTo>
                  <a:pt x="39" y="56"/>
                  <a:pt x="34" y="51"/>
                  <a:pt x="34" y="44"/>
                </a:cubicBezTo>
                <a:close/>
              </a:path>
            </a:pathLst>
          </a:custGeom>
          <a:solidFill>
            <a:schemeClr val="accent1"/>
          </a:solidFill>
          <a:ln>
            <a:noFill/>
          </a:ln>
        </p:spPr>
        <p:txBody>
          <a:bodyPr vert="horz" wrap="square" lIns="60960" tIns="30480" rIns="60960" bIns="30480" numCol="1" anchor="t" anchorCtr="0" compatLnSpc="1">
            <a:prstTxWarp prst="textNoShape">
              <a:avLst/>
            </a:prstTxWarp>
          </a:bodyPr>
          <a:lstStyle/>
          <a:p>
            <a:endParaRPr lang="en-IN" sz="1200"/>
          </a:p>
        </p:txBody>
      </p:sp>
      <p:grpSp>
        <p:nvGrpSpPr>
          <p:cNvPr id="4161" name="Group 4160"/>
          <p:cNvGrpSpPr/>
          <p:nvPr/>
        </p:nvGrpSpPr>
        <p:grpSpPr>
          <a:xfrm>
            <a:off x="1701574" y="5976519"/>
            <a:ext cx="377201" cy="324975"/>
            <a:chOff x="-21164550" y="563563"/>
            <a:chExt cx="13919200" cy="11991975"/>
          </a:xfrm>
          <a:solidFill>
            <a:schemeClr val="accent1"/>
          </a:solidFill>
        </p:grpSpPr>
        <p:sp>
          <p:nvSpPr>
            <p:cNvPr id="4135" name="Freeform 77"/>
            <p:cNvSpPr>
              <a:spLocks noEditPoints="1"/>
            </p:cNvSpPr>
            <p:nvPr/>
          </p:nvSpPr>
          <p:spPr bwMode="auto">
            <a:xfrm>
              <a:off x="-21164550" y="6796088"/>
              <a:ext cx="6719888" cy="5759450"/>
            </a:xfrm>
            <a:custGeom>
              <a:avLst/>
              <a:gdLst>
                <a:gd name="T0" fmla="*/ 302 w 4233"/>
                <a:gd name="T1" fmla="*/ 0 h 3628"/>
                <a:gd name="T2" fmla="*/ 3931 w 4233"/>
                <a:gd name="T3" fmla="*/ 0 h 3628"/>
                <a:gd name="T4" fmla="*/ 4233 w 4233"/>
                <a:gd name="T5" fmla="*/ 0 h 3628"/>
                <a:gd name="T6" fmla="*/ 4233 w 4233"/>
                <a:gd name="T7" fmla="*/ 302 h 3628"/>
                <a:gd name="T8" fmla="*/ 4233 w 4233"/>
                <a:gd name="T9" fmla="*/ 3325 h 3628"/>
                <a:gd name="T10" fmla="*/ 4233 w 4233"/>
                <a:gd name="T11" fmla="*/ 3628 h 3628"/>
                <a:gd name="T12" fmla="*/ 3931 w 4233"/>
                <a:gd name="T13" fmla="*/ 3628 h 3628"/>
                <a:gd name="T14" fmla="*/ 302 w 4233"/>
                <a:gd name="T15" fmla="*/ 3628 h 3628"/>
                <a:gd name="T16" fmla="*/ 0 w 4233"/>
                <a:gd name="T17" fmla="*/ 3628 h 3628"/>
                <a:gd name="T18" fmla="*/ 0 w 4233"/>
                <a:gd name="T19" fmla="*/ 3325 h 3628"/>
                <a:gd name="T20" fmla="*/ 0 w 4233"/>
                <a:gd name="T21" fmla="*/ 302 h 3628"/>
                <a:gd name="T22" fmla="*/ 0 w 4233"/>
                <a:gd name="T23" fmla="*/ 0 h 3628"/>
                <a:gd name="T24" fmla="*/ 302 w 4233"/>
                <a:gd name="T25" fmla="*/ 0 h 3628"/>
                <a:gd name="T26" fmla="*/ 302 w 4233"/>
                <a:gd name="T27" fmla="*/ 0 h 3628"/>
                <a:gd name="T28" fmla="*/ 3628 w 4233"/>
                <a:gd name="T29" fmla="*/ 604 h 3628"/>
                <a:gd name="T30" fmla="*/ 605 w 4233"/>
                <a:gd name="T31" fmla="*/ 604 h 3628"/>
                <a:gd name="T32" fmla="*/ 605 w 4233"/>
                <a:gd name="T33" fmla="*/ 3023 h 3628"/>
                <a:gd name="T34" fmla="*/ 3628 w 4233"/>
                <a:gd name="T35" fmla="*/ 3023 h 3628"/>
                <a:gd name="T36" fmla="*/ 3628 w 4233"/>
                <a:gd name="T37" fmla="*/ 604 h 3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33" h="3628">
                  <a:moveTo>
                    <a:pt x="302" y="0"/>
                  </a:moveTo>
                  <a:lnTo>
                    <a:pt x="3931" y="0"/>
                  </a:lnTo>
                  <a:lnTo>
                    <a:pt x="4233" y="0"/>
                  </a:lnTo>
                  <a:lnTo>
                    <a:pt x="4233" y="302"/>
                  </a:lnTo>
                  <a:lnTo>
                    <a:pt x="4233" y="3325"/>
                  </a:lnTo>
                  <a:lnTo>
                    <a:pt x="4233" y="3628"/>
                  </a:lnTo>
                  <a:lnTo>
                    <a:pt x="3931" y="3628"/>
                  </a:lnTo>
                  <a:lnTo>
                    <a:pt x="302" y="3628"/>
                  </a:lnTo>
                  <a:lnTo>
                    <a:pt x="0" y="3628"/>
                  </a:lnTo>
                  <a:lnTo>
                    <a:pt x="0" y="3325"/>
                  </a:lnTo>
                  <a:lnTo>
                    <a:pt x="0" y="302"/>
                  </a:lnTo>
                  <a:lnTo>
                    <a:pt x="0" y="0"/>
                  </a:lnTo>
                  <a:lnTo>
                    <a:pt x="302" y="0"/>
                  </a:lnTo>
                  <a:lnTo>
                    <a:pt x="302" y="0"/>
                  </a:lnTo>
                  <a:close/>
                  <a:moveTo>
                    <a:pt x="3628" y="604"/>
                  </a:moveTo>
                  <a:lnTo>
                    <a:pt x="605" y="604"/>
                  </a:lnTo>
                  <a:lnTo>
                    <a:pt x="605" y="3023"/>
                  </a:lnTo>
                  <a:lnTo>
                    <a:pt x="3628" y="3023"/>
                  </a:lnTo>
                  <a:lnTo>
                    <a:pt x="3628" y="6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36" name="Freeform 78"/>
            <p:cNvSpPr>
              <a:spLocks noEditPoints="1"/>
            </p:cNvSpPr>
            <p:nvPr/>
          </p:nvSpPr>
          <p:spPr bwMode="auto">
            <a:xfrm>
              <a:off x="-13965238" y="6796088"/>
              <a:ext cx="6719888" cy="5759450"/>
            </a:xfrm>
            <a:custGeom>
              <a:avLst/>
              <a:gdLst>
                <a:gd name="T0" fmla="*/ 303 w 4233"/>
                <a:gd name="T1" fmla="*/ 0 h 3628"/>
                <a:gd name="T2" fmla="*/ 3931 w 4233"/>
                <a:gd name="T3" fmla="*/ 0 h 3628"/>
                <a:gd name="T4" fmla="*/ 4233 w 4233"/>
                <a:gd name="T5" fmla="*/ 0 h 3628"/>
                <a:gd name="T6" fmla="*/ 4233 w 4233"/>
                <a:gd name="T7" fmla="*/ 302 h 3628"/>
                <a:gd name="T8" fmla="*/ 4233 w 4233"/>
                <a:gd name="T9" fmla="*/ 3325 h 3628"/>
                <a:gd name="T10" fmla="*/ 4233 w 4233"/>
                <a:gd name="T11" fmla="*/ 3628 h 3628"/>
                <a:gd name="T12" fmla="*/ 3931 w 4233"/>
                <a:gd name="T13" fmla="*/ 3628 h 3628"/>
                <a:gd name="T14" fmla="*/ 303 w 4233"/>
                <a:gd name="T15" fmla="*/ 3628 h 3628"/>
                <a:gd name="T16" fmla="*/ 0 w 4233"/>
                <a:gd name="T17" fmla="*/ 3628 h 3628"/>
                <a:gd name="T18" fmla="*/ 0 w 4233"/>
                <a:gd name="T19" fmla="*/ 3325 h 3628"/>
                <a:gd name="T20" fmla="*/ 0 w 4233"/>
                <a:gd name="T21" fmla="*/ 302 h 3628"/>
                <a:gd name="T22" fmla="*/ 0 w 4233"/>
                <a:gd name="T23" fmla="*/ 0 h 3628"/>
                <a:gd name="T24" fmla="*/ 303 w 4233"/>
                <a:gd name="T25" fmla="*/ 0 h 3628"/>
                <a:gd name="T26" fmla="*/ 303 w 4233"/>
                <a:gd name="T27" fmla="*/ 0 h 3628"/>
                <a:gd name="T28" fmla="*/ 3629 w 4233"/>
                <a:gd name="T29" fmla="*/ 604 h 3628"/>
                <a:gd name="T30" fmla="*/ 605 w 4233"/>
                <a:gd name="T31" fmla="*/ 604 h 3628"/>
                <a:gd name="T32" fmla="*/ 605 w 4233"/>
                <a:gd name="T33" fmla="*/ 3023 h 3628"/>
                <a:gd name="T34" fmla="*/ 3629 w 4233"/>
                <a:gd name="T35" fmla="*/ 3023 h 3628"/>
                <a:gd name="T36" fmla="*/ 3629 w 4233"/>
                <a:gd name="T37" fmla="*/ 604 h 3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33" h="3628">
                  <a:moveTo>
                    <a:pt x="303" y="0"/>
                  </a:moveTo>
                  <a:lnTo>
                    <a:pt x="3931" y="0"/>
                  </a:lnTo>
                  <a:lnTo>
                    <a:pt x="4233" y="0"/>
                  </a:lnTo>
                  <a:lnTo>
                    <a:pt x="4233" y="302"/>
                  </a:lnTo>
                  <a:lnTo>
                    <a:pt x="4233" y="3325"/>
                  </a:lnTo>
                  <a:lnTo>
                    <a:pt x="4233" y="3628"/>
                  </a:lnTo>
                  <a:lnTo>
                    <a:pt x="3931" y="3628"/>
                  </a:lnTo>
                  <a:lnTo>
                    <a:pt x="303" y="3628"/>
                  </a:lnTo>
                  <a:lnTo>
                    <a:pt x="0" y="3628"/>
                  </a:lnTo>
                  <a:lnTo>
                    <a:pt x="0" y="3325"/>
                  </a:lnTo>
                  <a:lnTo>
                    <a:pt x="0" y="302"/>
                  </a:lnTo>
                  <a:lnTo>
                    <a:pt x="0" y="0"/>
                  </a:lnTo>
                  <a:lnTo>
                    <a:pt x="303" y="0"/>
                  </a:lnTo>
                  <a:lnTo>
                    <a:pt x="303" y="0"/>
                  </a:lnTo>
                  <a:close/>
                  <a:moveTo>
                    <a:pt x="3629" y="604"/>
                  </a:moveTo>
                  <a:lnTo>
                    <a:pt x="605" y="604"/>
                  </a:lnTo>
                  <a:lnTo>
                    <a:pt x="605" y="3023"/>
                  </a:lnTo>
                  <a:lnTo>
                    <a:pt x="3629" y="3023"/>
                  </a:lnTo>
                  <a:lnTo>
                    <a:pt x="3629" y="6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37" name="Freeform 79"/>
            <p:cNvSpPr>
              <a:spLocks noEditPoints="1"/>
            </p:cNvSpPr>
            <p:nvPr/>
          </p:nvSpPr>
          <p:spPr bwMode="auto">
            <a:xfrm>
              <a:off x="-21164550" y="563563"/>
              <a:ext cx="6719888" cy="5759450"/>
            </a:xfrm>
            <a:custGeom>
              <a:avLst/>
              <a:gdLst>
                <a:gd name="T0" fmla="*/ 302 w 4233"/>
                <a:gd name="T1" fmla="*/ 0 h 3628"/>
                <a:gd name="T2" fmla="*/ 3931 w 4233"/>
                <a:gd name="T3" fmla="*/ 0 h 3628"/>
                <a:gd name="T4" fmla="*/ 4233 w 4233"/>
                <a:gd name="T5" fmla="*/ 0 h 3628"/>
                <a:gd name="T6" fmla="*/ 4233 w 4233"/>
                <a:gd name="T7" fmla="*/ 302 h 3628"/>
                <a:gd name="T8" fmla="*/ 4233 w 4233"/>
                <a:gd name="T9" fmla="*/ 3326 h 3628"/>
                <a:gd name="T10" fmla="*/ 4233 w 4233"/>
                <a:gd name="T11" fmla="*/ 3628 h 3628"/>
                <a:gd name="T12" fmla="*/ 3931 w 4233"/>
                <a:gd name="T13" fmla="*/ 3628 h 3628"/>
                <a:gd name="T14" fmla="*/ 302 w 4233"/>
                <a:gd name="T15" fmla="*/ 3628 h 3628"/>
                <a:gd name="T16" fmla="*/ 0 w 4233"/>
                <a:gd name="T17" fmla="*/ 3628 h 3628"/>
                <a:gd name="T18" fmla="*/ 0 w 4233"/>
                <a:gd name="T19" fmla="*/ 3326 h 3628"/>
                <a:gd name="T20" fmla="*/ 0 w 4233"/>
                <a:gd name="T21" fmla="*/ 302 h 3628"/>
                <a:gd name="T22" fmla="*/ 0 w 4233"/>
                <a:gd name="T23" fmla="*/ 0 h 3628"/>
                <a:gd name="T24" fmla="*/ 302 w 4233"/>
                <a:gd name="T25" fmla="*/ 0 h 3628"/>
                <a:gd name="T26" fmla="*/ 302 w 4233"/>
                <a:gd name="T27" fmla="*/ 0 h 3628"/>
                <a:gd name="T28" fmla="*/ 3628 w 4233"/>
                <a:gd name="T29" fmla="*/ 604 h 3628"/>
                <a:gd name="T30" fmla="*/ 605 w 4233"/>
                <a:gd name="T31" fmla="*/ 604 h 3628"/>
                <a:gd name="T32" fmla="*/ 605 w 4233"/>
                <a:gd name="T33" fmla="*/ 3023 h 3628"/>
                <a:gd name="T34" fmla="*/ 3628 w 4233"/>
                <a:gd name="T35" fmla="*/ 3023 h 3628"/>
                <a:gd name="T36" fmla="*/ 3628 w 4233"/>
                <a:gd name="T37" fmla="*/ 604 h 3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33" h="3628">
                  <a:moveTo>
                    <a:pt x="302" y="0"/>
                  </a:moveTo>
                  <a:lnTo>
                    <a:pt x="3931" y="0"/>
                  </a:lnTo>
                  <a:lnTo>
                    <a:pt x="4233" y="0"/>
                  </a:lnTo>
                  <a:lnTo>
                    <a:pt x="4233" y="302"/>
                  </a:lnTo>
                  <a:lnTo>
                    <a:pt x="4233" y="3326"/>
                  </a:lnTo>
                  <a:lnTo>
                    <a:pt x="4233" y="3628"/>
                  </a:lnTo>
                  <a:lnTo>
                    <a:pt x="3931" y="3628"/>
                  </a:lnTo>
                  <a:lnTo>
                    <a:pt x="302" y="3628"/>
                  </a:lnTo>
                  <a:lnTo>
                    <a:pt x="0" y="3628"/>
                  </a:lnTo>
                  <a:lnTo>
                    <a:pt x="0" y="3326"/>
                  </a:lnTo>
                  <a:lnTo>
                    <a:pt x="0" y="302"/>
                  </a:lnTo>
                  <a:lnTo>
                    <a:pt x="0" y="0"/>
                  </a:lnTo>
                  <a:lnTo>
                    <a:pt x="302" y="0"/>
                  </a:lnTo>
                  <a:lnTo>
                    <a:pt x="302" y="0"/>
                  </a:lnTo>
                  <a:close/>
                  <a:moveTo>
                    <a:pt x="3628" y="604"/>
                  </a:moveTo>
                  <a:lnTo>
                    <a:pt x="605" y="604"/>
                  </a:lnTo>
                  <a:lnTo>
                    <a:pt x="605" y="3023"/>
                  </a:lnTo>
                  <a:lnTo>
                    <a:pt x="3628" y="3023"/>
                  </a:lnTo>
                  <a:lnTo>
                    <a:pt x="3628" y="6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38" name="Rectangle 80"/>
            <p:cNvSpPr>
              <a:spLocks noChangeArrowheads="1"/>
            </p:cNvSpPr>
            <p:nvPr/>
          </p:nvSpPr>
          <p:spPr bwMode="auto">
            <a:xfrm>
              <a:off x="-18967450" y="2386013"/>
              <a:ext cx="481013" cy="152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39" name="Freeform 81"/>
            <p:cNvSpPr>
              <a:spLocks/>
            </p:cNvSpPr>
            <p:nvPr/>
          </p:nvSpPr>
          <p:spPr bwMode="auto">
            <a:xfrm>
              <a:off x="-19567525" y="2122488"/>
              <a:ext cx="1676400" cy="1103313"/>
            </a:xfrm>
            <a:custGeom>
              <a:avLst/>
              <a:gdLst>
                <a:gd name="T0" fmla="*/ 25 w 447"/>
                <a:gd name="T1" fmla="*/ 179 h 294"/>
                <a:gd name="T2" fmla="*/ 25 w 447"/>
                <a:gd name="T3" fmla="*/ 269 h 294"/>
                <a:gd name="T4" fmla="*/ 115 w 447"/>
                <a:gd name="T5" fmla="*/ 269 h 294"/>
                <a:gd name="T6" fmla="*/ 224 w 447"/>
                <a:gd name="T7" fmla="*/ 161 h 294"/>
                <a:gd name="T8" fmla="*/ 332 w 447"/>
                <a:gd name="T9" fmla="*/ 269 h 294"/>
                <a:gd name="T10" fmla="*/ 423 w 447"/>
                <a:gd name="T11" fmla="*/ 269 h 294"/>
                <a:gd name="T12" fmla="*/ 423 w 447"/>
                <a:gd name="T13" fmla="*/ 179 h 294"/>
                <a:gd name="T14" fmla="*/ 269 w 447"/>
                <a:gd name="T15" fmla="*/ 25 h 294"/>
                <a:gd name="T16" fmla="*/ 269 w 447"/>
                <a:gd name="T17" fmla="*/ 25 h 294"/>
                <a:gd name="T18" fmla="*/ 178 w 447"/>
                <a:gd name="T19" fmla="*/ 25 h 294"/>
                <a:gd name="T20" fmla="*/ 178 w 447"/>
                <a:gd name="T21" fmla="*/ 25 h 294"/>
                <a:gd name="T22" fmla="*/ 25 w 447"/>
                <a:gd name="T23" fmla="*/ 17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7" h="294">
                  <a:moveTo>
                    <a:pt x="25" y="179"/>
                  </a:moveTo>
                  <a:cubicBezTo>
                    <a:pt x="0" y="203"/>
                    <a:pt x="0" y="244"/>
                    <a:pt x="25" y="269"/>
                  </a:cubicBezTo>
                  <a:cubicBezTo>
                    <a:pt x="50" y="294"/>
                    <a:pt x="91" y="294"/>
                    <a:pt x="115" y="269"/>
                  </a:cubicBezTo>
                  <a:cubicBezTo>
                    <a:pt x="224" y="161"/>
                    <a:pt x="224" y="161"/>
                    <a:pt x="224" y="161"/>
                  </a:cubicBezTo>
                  <a:cubicBezTo>
                    <a:pt x="332" y="269"/>
                    <a:pt x="332" y="269"/>
                    <a:pt x="332" y="269"/>
                  </a:cubicBezTo>
                  <a:cubicBezTo>
                    <a:pt x="357" y="294"/>
                    <a:pt x="398" y="294"/>
                    <a:pt x="423" y="269"/>
                  </a:cubicBezTo>
                  <a:cubicBezTo>
                    <a:pt x="447" y="244"/>
                    <a:pt x="447" y="203"/>
                    <a:pt x="423" y="179"/>
                  </a:cubicBezTo>
                  <a:cubicBezTo>
                    <a:pt x="269" y="25"/>
                    <a:pt x="269" y="25"/>
                    <a:pt x="269" y="25"/>
                  </a:cubicBezTo>
                  <a:cubicBezTo>
                    <a:pt x="269" y="25"/>
                    <a:pt x="269" y="25"/>
                    <a:pt x="269" y="25"/>
                  </a:cubicBezTo>
                  <a:cubicBezTo>
                    <a:pt x="244" y="0"/>
                    <a:pt x="203" y="0"/>
                    <a:pt x="178" y="25"/>
                  </a:cubicBezTo>
                  <a:cubicBezTo>
                    <a:pt x="178" y="25"/>
                    <a:pt x="178" y="25"/>
                    <a:pt x="178" y="25"/>
                  </a:cubicBezTo>
                  <a:cubicBezTo>
                    <a:pt x="25" y="179"/>
                    <a:pt x="25" y="179"/>
                    <a:pt x="25"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40" name="Rectangle 82"/>
            <p:cNvSpPr>
              <a:spLocks noChangeArrowheads="1"/>
            </p:cNvSpPr>
            <p:nvPr/>
          </p:nvSpPr>
          <p:spPr bwMode="auto">
            <a:xfrm>
              <a:off x="-17125950" y="2386013"/>
              <a:ext cx="479425" cy="152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41" name="Freeform 83"/>
            <p:cNvSpPr>
              <a:spLocks/>
            </p:cNvSpPr>
            <p:nvPr/>
          </p:nvSpPr>
          <p:spPr bwMode="auto">
            <a:xfrm>
              <a:off x="-17722850" y="2122488"/>
              <a:ext cx="1676400" cy="1103313"/>
            </a:xfrm>
            <a:custGeom>
              <a:avLst/>
              <a:gdLst>
                <a:gd name="T0" fmla="*/ 25 w 447"/>
                <a:gd name="T1" fmla="*/ 179 h 294"/>
                <a:gd name="T2" fmla="*/ 25 w 447"/>
                <a:gd name="T3" fmla="*/ 269 h 294"/>
                <a:gd name="T4" fmla="*/ 115 w 447"/>
                <a:gd name="T5" fmla="*/ 269 h 294"/>
                <a:gd name="T6" fmla="*/ 223 w 447"/>
                <a:gd name="T7" fmla="*/ 161 h 294"/>
                <a:gd name="T8" fmla="*/ 332 w 447"/>
                <a:gd name="T9" fmla="*/ 269 h 294"/>
                <a:gd name="T10" fmla="*/ 422 w 447"/>
                <a:gd name="T11" fmla="*/ 269 h 294"/>
                <a:gd name="T12" fmla="*/ 422 w 447"/>
                <a:gd name="T13" fmla="*/ 179 h 294"/>
                <a:gd name="T14" fmla="*/ 269 w 447"/>
                <a:gd name="T15" fmla="*/ 25 h 294"/>
                <a:gd name="T16" fmla="*/ 268 w 447"/>
                <a:gd name="T17" fmla="*/ 25 h 294"/>
                <a:gd name="T18" fmla="*/ 178 w 447"/>
                <a:gd name="T19" fmla="*/ 25 h 294"/>
                <a:gd name="T20" fmla="*/ 178 w 447"/>
                <a:gd name="T21" fmla="*/ 25 h 294"/>
                <a:gd name="T22" fmla="*/ 25 w 447"/>
                <a:gd name="T23" fmla="*/ 17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7" h="294">
                  <a:moveTo>
                    <a:pt x="25" y="179"/>
                  </a:moveTo>
                  <a:cubicBezTo>
                    <a:pt x="0" y="203"/>
                    <a:pt x="0" y="244"/>
                    <a:pt x="25" y="269"/>
                  </a:cubicBezTo>
                  <a:cubicBezTo>
                    <a:pt x="49" y="294"/>
                    <a:pt x="90" y="294"/>
                    <a:pt x="115" y="269"/>
                  </a:cubicBezTo>
                  <a:cubicBezTo>
                    <a:pt x="223" y="161"/>
                    <a:pt x="223" y="161"/>
                    <a:pt x="223" y="161"/>
                  </a:cubicBezTo>
                  <a:cubicBezTo>
                    <a:pt x="332" y="269"/>
                    <a:pt x="332" y="269"/>
                    <a:pt x="332" y="269"/>
                  </a:cubicBezTo>
                  <a:cubicBezTo>
                    <a:pt x="357" y="294"/>
                    <a:pt x="397" y="294"/>
                    <a:pt x="422" y="269"/>
                  </a:cubicBezTo>
                  <a:cubicBezTo>
                    <a:pt x="447" y="244"/>
                    <a:pt x="447" y="203"/>
                    <a:pt x="422" y="179"/>
                  </a:cubicBezTo>
                  <a:cubicBezTo>
                    <a:pt x="269" y="25"/>
                    <a:pt x="269" y="25"/>
                    <a:pt x="269" y="25"/>
                  </a:cubicBezTo>
                  <a:cubicBezTo>
                    <a:pt x="268" y="25"/>
                    <a:pt x="268" y="25"/>
                    <a:pt x="268" y="25"/>
                  </a:cubicBezTo>
                  <a:cubicBezTo>
                    <a:pt x="243" y="0"/>
                    <a:pt x="203" y="0"/>
                    <a:pt x="178" y="25"/>
                  </a:cubicBezTo>
                  <a:cubicBezTo>
                    <a:pt x="178" y="25"/>
                    <a:pt x="178" y="25"/>
                    <a:pt x="178" y="25"/>
                  </a:cubicBezTo>
                  <a:cubicBezTo>
                    <a:pt x="25" y="179"/>
                    <a:pt x="25" y="179"/>
                    <a:pt x="25"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42" name="Rectangle 84"/>
            <p:cNvSpPr>
              <a:spLocks noChangeArrowheads="1"/>
            </p:cNvSpPr>
            <p:nvPr/>
          </p:nvSpPr>
          <p:spPr bwMode="auto">
            <a:xfrm>
              <a:off x="-19427825" y="4338638"/>
              <a:ext cx="3243263" cy="481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44" name="Freeform 85"/>
            <p:cNvSpPr>
              <a:spLocks noEditPoints="1"/>
            </p:cNvSpPr>
            <p:nvPr/>
          </p:nvSpPr>
          <p:spPr bwMode="auto">
            <a:xfrm>
              <a:off x="-13965238" y="563563"/>
              <a:ext cx="6719888" cy="5759450"/>
            </a:xfrm>
            <a:custGeom>
              <a:avLst/>
              <a:gdLst>
                <a:gd name="T0" fmla="*/ 303 w 4233"/>
                <a:gd name="T1" fmla="*/ 0 h 3628"/>
                <a:gd name="T2" fmla="*/ 3931 w 4233"/>
                <a:gd name="T3" fmla="*/ 0 h 3628"/>
                <a:gd name="T4" fmla="*/ 4233 w 4233"/>
                <a:gd name="T5" fmla="*/ 0 h 3628"/>
                <a:gd name="T6" fmla="*/ 4233 w 4233"/>
                <a:gd name="T7" fmla="*/ 302 h 3628"/>
                <a:gd name="T8" fmla="*/ 4233 w 4233"/>
                <a:gd name="T9" fmla="*/ 3326 h 3628"/>
                <a:gd name="T10" fmla="*/ 4233 w 4233"/>
                <a:gd name="T11" fmla="*/ 3628 h 3628"/>
                <a:gd name="T12" fmla="*/ 3931 w 4233"/>
                <a:gd name="T13" fmla="*/ 3628 h 3628"/>
                <a:gd name="T14" fmla="*/ 303 w 4233"/>
                <a:gd name="T15" fmla="*/ 3628 h 3628"/>
                <a:gd name="T16" fmla="*/ 0 w 4233"/>
                <a:gd name="T17" fmla="*/ 3628 h 3628"/>
                <a:gd name="T18" fmla="*/ 0 w 4233"/>
                <a:gd name="T19" fmla="*/ 3326 h 3628"/>
                <a:gd name="T20" fmla="*/ 0 w 4233"/>
                <a:gd name="T21" fmla="*/ 302 h 3628"/>
                <a:gd name="T22" fmla="*/ 0 w 4233"/>
                <a:gd name="T23" fmla="*/ 0 h 3628"/>
                <a:gd name="T24" fmla="*/ 303 w 4233"/>
                <a:gd name="T25" fmla="*/ 0 h 3628"/>
                <a:gd name="T26" fmla="*/ 303 w 4233"/>
                <a:gd name="T27" fmla="*/ 0 h 3628"/>
                <a:gd name="T28" fmla="*/ 3629 w 4233"/>
                <a:gd name="T29" fmla="*/ 604 h 3628"/>
                <a:gd name="T30" fmla="*/ 605 w 4233"/>
                <a:gd name="T31" fmla="*/ 604 h 3628"/>
                <a:gd name="T32" fmla="*/ 605 w 4233"/>
                <a:gd name="T33" fmla="*/ 3023 h 3628"/>
                <a:gd name="T34" fmla="*/ 3629 w 4233"/>
                <a:gd name="T35" fmla="*/ 3023 h 3628"/>
                <a:gd name="T36" fmla="*/ 3629 w 4233"/>
                <a:gd name="T37" fmla="*/ 604 h 3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33" h="3628">
                  <a:moveTo>
                    <a:pt x="303" y="0"/>
                  </a:moveTo>
                  <a:lnTo>
                    <a:pt x="3931" y="0"/>
                  </a:lnTo>
                  <a:lnTo>
                    <a:pt x="4233" y="0"/>
                  </a:lnTo>
                  <a:lnTo>
                    <a:pt x="4233" y="302"/>
                  </a:lnTo>
                  <a:lnTo>
                    <a:pt x="4233" y="3326"/>
                  </a:lnTo>
                  <a:lnTo>
                    <a:pt x="4233" y="3628"/>
                  </a:lnTo>
                  <a:lnTo>
                    <a:pt x="3931" y="3628"/>
                  </a:lnTo>
                  <a:lnTo>
                    <a:pt x="303" y="3628"/>
                  </a:lnTo>
                  <a:lnTo>
                    <a:pt x="0" y="3628"/>
                  </a:lnTo>
                  <a:lnTo>
                    <a:pt x="0" y="3326"/>
                  </a:lnTo>
                  <a:lnTo>
                    <a:pt x="0" y="302"/>
                  </a:lnTo>
                  <a:lnTo>
                    <a:pt x="0" y="0"/>
                  </a:lnTo>
                  <a:lnTo>
                    <a:pt x="303" y="0"/>
                  </a:lnTo>
                  <a:lnTo>
                    <a:pt x="303" y="0"/>
                  </a:lnTo>
                  <a:close/>
                  <a:moveTo>
                    <a:pt x="3629" y="604"/>
                  </a:moveTo>
                  <a:lnTo>
                    <a:pt x="605" y="604"/>
                  </a:lnTo>
                  <a:lnTo>
                    <a:pt x="605" y="3023"/>
                  </a:lnTo>
                  <a:lnTo>
                    <a:pt x="3629" y="3023"/>
                  </a:lnTo>
                  <a:lnTo>
                    <a:pt x="3629" y="6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45" name="Rectangle 86"/>
            <p:cNvSpPr>
              <a:spLocks noChangeArrowheads="1"/>
            </p:cNvSpPr>
            <p:nvPr/>
          </p:nvSpPr>
          <p:spPr bwMode="auto">
            <a:xfrm>
              <a:off x="-11766550" y="2386013"/>
              <a:ext cx="479425" cy="152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46" name="Freeform 87"/>
            <p:cNvSpPr>
              <a:spLocks/>
            </p:cNvSpPr>
            <p:nvPr/>
          </p:nvSpPr>
          <p:spPr bwMode="auto">
            <a:xfrm>
              <a:off x="-12366625" y="2122488"/>
              <a:ext cx="1676400" cy="1103313"/>
            </a:xfrm>
            <a:custGeom>
              <a:avLst/>
              <a:gdLst>
                <a:gd name="T0" fmla="*/ 25 w 447"/>
                <a:gd name="T1" fmla="*/ 179 h 294"/>
                <a:gd name="T2" fmla="*/ 25 w 447"/>
                <a:gd name="T3" fmla="*/ 269 h 294"/>
                <a:gd name="T4" fmla="*/ 115 w 447"/>
                <a:gd name="T5" fmla="*/ 269 h 294"/>
                <a:gd name="T6" fmla="*/ 224 w 447"/>
                <a:gd name="T7" fmla="*/ 161 h 294"/>
                <a:gd name="T8" fmla="*/ 332 w 447"/>
                <a:gd name="T9" fmla="*/ 269 h 294"/>
                <a:gd name="T10" fmla="*/ 423 w 447"/>
                <a:gd name="T11" fmla="*/ 269 h 294"/>
                <a:gd name="T12" fmla="*/ 423 w 447"/>
                <a:gd name="T13" fmla="*/ 179 h 294"/>
                <a:gd name="T14" fmla="*/ 269 w 447"/>
                <a:gd name="T15" fmla="*/ 25 h 294"/>
                <a:gd name="T16" fmla="*/ 269 w 447"/>
                <a:gd name="T17" fmla="*/ 25 h 294"/>
                <a:gd name="T18" fmla="*/ 178 w 447"/>
                <a:gd name="T19" fmla="*/ 25 h 294"/>
                <a:gd name="T20" fmla="*/ 178 w 447"/>
                <a:gd name="T21" fmla="*/ 25 h 294"/>
                <a:gd name="T22" fmla="*/ 25 w 447"/>
                <a:gd name="T23" fmla="*/ 17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7" h="294">
                  <a:moveTo>
                    <a:pt x="25" y="179"/>
                  </a:moveTo>
                  <a:cubicBezTo>
                    <a:pt x="0" y="203"/>
                    <a:pt x="0" y="244"/>
                    <a:pt x="25" y="269"/>
                  </a:cubicBezTo>
                  <a:cubicBezTo>
                    <a:pt x="50" y="294"/>
                    <a:pt x="91" y="294"/>
                    <a:pt x="115" y="269"/>
                  </a:cubicBezTo>
                  <a:cubicBezTo>
                    <a:pt x="224" y="161"/>
                    <a:pt x="224" y="161"/>
                    <a:pt x="224" y="161"/>
                  </a:cubicBezTo>
                  <a:cubicBezTo>
                    <a:pt x="332" y="269"/>
                    <a:pt x="332" y="269"/>
                    <a:pt x="332" y="269"/>
                  </a:cubicBezTo>
                  <a:cubicBezTo>
                    <a:pt x="357" y="294"/>
                    <a:pt x="398" y="294"/>
                    <a:pt x="423" y="269"/>
                  </a:cubicBezTo>
                  <a:cubicBezTo>
                    <a:pt x="447" y="244"/>
                    <a:pt x="447" y="203"/>
                    <a:pt x="423" y="179"/>
                  </a:cubicBezTo>
                  <a:cubicBezTo>
                    <a:pt x="269" y="25"/>
                    <a:pt x="269" y="25"/>
                    <a:pt x="269" y="25"/>
                  </a:cubicBezTo>
                  <a:cubicBezTo>
                    <a:pt x="269" y="25"/>
                    <a:pt x="269" y="25"/>
                    <a:pt x="269" y="25"/>
                  </a:cubicBezTo>
                  <a:cubicBezTo>
                    <a:pt x="244" y="0"/>
                    <a:pt x="203" y="0"/>
                    <a:pt x="178" y="25"/>
                  </a:cubicBezTo>
                  <a:cubicBezTo>
                    <a:pt x="178" y="25"/>
                    <a:pt x="178" y="25"/>
                    <a:pt x="178" y="25"/>
                  </a:cubicBezTo>
                  <a:cubicBezTo>
                    <a:pt x="25" y="179"/>
                    <a:pt x="25" y="179"/>
                    <a:pt x="25"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47" name="Rectangle 88"/>
            <p:cNvSpPr>
              <a:spLocks noChangeArrowheads="1"/>
            </p:cNvSpPr>
            <p:nvPr/>
          </p:nvSpPr>
          <p:spPr bwMode="auto">
            <a:xfrm>
              <a:off x="-9926638" y="2386013"/>
              <a:ext cx="481013" cy="152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48" name="Freeform 89"/>
            <p:cNvSpPr>
              <a:spLocks/>
            </p:cNvSpPr>
            <p:nvPr/>
          </p:nvSpPr>
          <p:spPr bwMode="auto">
            <a:xfrm>
              <a:off x="-10521950" y="2122488"/>
              <a:ext cx="1676400" cy="1103313"/>
            </a:xfrm>
            <a:custGeom>
              <a:avLst/>
              <a:gdLst>
                <a:gd name="T0" fmla="*/ 25 w 447"/>
                <a:gd name="T1" fmla="*/ 179 h 294"/>
                <a:gd name="T2" fmla="*/ 25 w 447"/>
                <a:gd name="T3" fmla="*/ 269 h 294"/>
                <a:gd name="T4" fmla="*/ 115 w 447"/>
                <a:gd name="T5" fmla="*/ 269 h 294"/>
                <a:gd name="T6" fmla="*/ 223 w 447"/>
                <a:gd name="T7" fmla="*/ 161 h 294"/>
                <a:gd name="T8" fmla="*/ 332 w 447"/>
                <a:gd name="T9" fmla="*/ 269 h 294"/>
                <a:gd name="T10" fmla="*/ 422 w 447"/>
                <a:gd name="T11" fmla="*/ 269 h 294"/>
                <a:gd name="T12" fmla="*/ 422 w 447"/>
                <a:gd name="T13" fmla="*/ 179 h 294"/>
                <a:gd name="T14" fmla="*/ 269 w 447"/>
                <a:gd name="T15" fmla="*/ 25 h 294"/>
                <a:gd name="T16" fmla="*/ 268 w 447"/>
                <a:gd name="T17" fmla="*/ 25 h 294"/>
                <a:gd name="T18" fmla="*/ 178 w 447"/>
                <a:gd name="T19" fmla="*/ 25 h 294"/>
                <a:gd name="T20" fmla="*/ 178 w 447"/>
                <a:gd name="T21" fmla="*/ 25 h 294"/>
                <a:gd name="T22" fmla="*/ 25 w 447"/>
                <a:gd name="T23" fmla="*/ 17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7" h="294">
                  <a:moveTo>
                    <a:pt x="25" y="179"/>
                  </a:moveTo>
                  <a:cubicBezTo>
                    <a:pt x="0" y="203"/>
                    <a:pt x="0" y="244"/>
                    <a:pt x="25" y="269"/>
                  </a:cubicBezTo>
                  <a:cubicBezTo>
                    <a:pt x="49" y="294"/>
                    <a:pt x="90" y="294"/>
                    <a:pt x="115" y="269"/>
                  </a:cubicBezTo>
                  <a:cubicBezTo>
                    <a:pt x="223" y="161"/>
                    <a:pt x="223" y="161"/>
                    <a:pt x="223" y="161"/>
                  </a:cubicBezTo>
                  <a:cubicBezTo>
                    <a:pt x="332" y="269"/>
                    <a:pt x="332" y="269"/>
                    <a:pt x="332" y="269"/>
                  </a:cubicBezTo>
                  <a:cubicBezTo>
                    <a:pt x="357" y="294"/>
                    <a:pt x="397" y="294"/>
                    <a:pt x="422" y="269"/>
                  </a:cubicBezTo>
                  <a:cubicBezTo>
                    <a:pt x="447" y="244"/>
                    <a:pt x="447" y="203"/>
                    <a:pt x="422" y="179"/>
                  </a:cubicBezTo>
                  <a:cubicBezTo>
                    <a:pt x="269" y="25"/>
                    <a:pt x="269" y="25"/>
                    <a:pt x="269" y="25"/>
                  </a:cubicBezTo>
                  <a:cubicBezTo>
                    <a:pt x="268" y="25"/>
                    <a:pt x="268" y="25"/>
                    <a:pt x="268" y="25"/>
                  </a:cubicBezTo>
                  <a:cubicBezTo>
                    <a:pt x="243" y="0"/>
                    <a:pt x="203" y="0"/>
                    <a:pt x="178" y="25"/>
                  </a:cubicBezTo>
                  <a:cubicBezTo>
                    <a:pt x="178" y="25"/>
                    <a:pt x="178" y="25"/>
                    <a:pt x="178" y="25"/>
                  </a:cubicBezTo>
                  <a:cubicBezTo>
                    <a:pt x="25" y="179"/>
                    <a:pt x="25" y="179"/>
                    <a:pt x="25"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49" name="Rectangle 90"/>
            <p:cNvSpPr>
              <a:spLocks noChangeArrowheads="1"/>
            </p:cNvSpPr>
            <p:nvPr/>
          </p:nvSpPr>
          <p:spPr bwMode="auto">
            <a:xfrm>
              <a:off x="-12228513" y="4338638"/>
              <a:ext cx="3243263" cy="481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50" name="Rectangle 91"/>
            <p:cNvSpPr>
              <a:spLocks noChangeArrowheads="1"/>
            </p:cNvSpPr>
            <p:nvPr/>
          </p:nvSpPr>
          <p:spPr bwMode="auto">
            <a:xfrm>
              <a:off x="-18967450" y="8618538"/>
              <a:ext cx="481013" cy="152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51" name="Freeform 92"/>
            <p:cNvSpPr>
              <a:spLocks/>
            </p:cNvSpPr>
            <p:nvPr/>
          </p:nvSpPr>
          <p:spPr bwMode="auto">
            <a:xfrm>
              <a:off x="-19567525" y="8355013"/>
              <a:ext cx="1676400" cy="1103313"/>
            </a:xfrm>
            <a:custGeom>
              <a:avLst/>
              <a:gdLst>
                <a:gd name="T0" fmla="*/ 25 w 447"/>
                <a:gd name="T1" fmla="*/ 179 h 294"/>
                <a:gd name="T2" fmla="*/ 25 w 447"/>
                <a:gd name="T3" fmla="*/ 269 h 294"/>
                <a:gd name="T4" fmla="*/ 115 w 447"/>
                <a:gd name="T5" fmla="*/ 269 h 294"/>
                <a:gd name="T6" fmla="*/ 224 w 447"/>
                <a:gd name="T7" fmla="*/ 161 h 294"/>
                <a:gd name="T8" fmla="*/ 332 w 447"/>
                <a:gd name="T9" fmla="*/ 269 h 294"/>
                <a:gd name="T10" fmla="*/ 423 w 447"/>
                <a:gd name="T11" fmla="*/ 269 h 294"/>
                <a:gd name="T12" fmla="*/ 423 w 447"/>
                <a:gd name="T13" fmla="*/ 179 h 294"/>
                <a:gd name="T14" fmla="*/ 269 w 447"/>
                <a:gd name="T15" fmla="*/ 25 h 294"/>
                <a:gd name="T16" fmla="*/ 269 w 447"/>
                <a:gd name="T17" fmla="*/ 25 h 294"/>
                <a:gd name="T18" fmla="*/ 178 w 447"/>
                <a:gd name="T19" fmla="*/ 25 h 294"/>
                <a:gd name="T20" fmla="*/ 178 w 447"/>
                <a:gd name="T21" fmla="*/ 25 h 294"/>
                <a:gd name="T22" fmla="*/ 25 w 447"/>
                <a:gd name="T23" fmla="*/ 17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7" h="294">
                  <a:moveTo>
                    <a:pt x="25" y="179"/>
                  </a:moveTo>
                  <a:cubicBezTo>
                    <a:pt x="0" y="203"/>
                    <a:pt x="0" y="244"/>
                    <a:pt x="25" y="269"/>
                  </a:cubicBezTo>
                  <a:cubicBezTo>
                    <a:pt x="50" y="294"/>
                    <a:pt x="91" y="294"/>
                    <a:pt x="115" y="269"/>
                  </a:cubicBezTo>
                  <a:cubicBezTo>
                    <a:pt x="224" y="161"/>
                    <a:pt x="224" y="161"/>
                    <a:pt x="224" y="161"/>
                  </a:cubicBezTo>
                  <a:cubicBezTo>
                    <a:pt x="332" y="269"/>
                    <a:pt x="332" y="269"/>
                    <a:pt x="332" y="269"/>
                  </a:cubicBezTo>
                  <a:cubicBezTo>
                    <a:pt x="357" y="294"/>
                    <a:pt x="398" y="294"/>
                    <a:pt x="423" y="269"/>
                  </a:cubicBezTo>
                  <a:cubicBezTo>
                    <a:pt x="447" y="244"/>
                    <a:pt x="447" y="203"/>
                    <a:pt x="423" y="179"/>
                  </a:cubicBezTo>
                  <a:cubicBezTo>
                    <a:pt x="269" y="25"/>
                    <a:pt x="269" y="25"/>
                    <a:pt x="269" y="25"/>
                  </a:cubicBezTo>
                  <a:cubicBezTo>
                    <a:pt x="269" y="25"/>
                    <a:pt x="269" y="25"/>
                    <a:pt x="269" y="25"/>
                  </a:cubicBezTo>
                  <a:cubicBezTo>
                    <a:pt x="244" y="0"/>
                    <a:pt x="203" y="0"/>
                    <a:pt x="178" y="25"/>
                  </a:cubicBezTo>
                  <a:cubicBezTo>
                    <a:pt x="178" y="25"/>
                    <a:pt x="178" y="25"/>
                    <a:pt x="178" y="25"/>
                  </a:cubicBezTo>
                  <a:cubicBezTo>
                    <a:pt x="25" y="179"/>
                    <a:pt x="25" y="179"/>
                    <a:pt x="25"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52" name="Rectangle 93"/>
            <p:cNvSpPr>
              <a:spLocks noChangeArrowheads="1"/>
            </p:cNvSpPr>
            <p:nvPr/>
          </p:nvSpPr>
          <p:spPr bwMode="auto">
            <a:xfrm>
              <a:off x="-17125950" y="8618538"/>
              <a:ext cx="479425" cy="152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53" name="Freeform 94"/>
            <p:cNvSpPr>
              <a:spLocks/>
            </p:cNvSpPr>
            <p:nvPr/>
          </p:nvSpPr>
          <p:spPr bwMode="auto">
            <a:xfrm>
              <a:off x="-17722850" y="8355013"/>
              <a:ext cx="1676400" cy="1103313"/>
            </a:xfrm>
            <a:custGeom>
              <a:avLst/>
              <a:gdLst>
                <a:gd name="T0" fmla="*/ 25 w 447"/>
                <a:gd name="T1" fmla="*/ 179 h 294"/>
                <a:gd name="T2" fmla="*/ 25 w 447"/>
                <a:gd name="T3" fmla="*/ 269 h 294"/>
                <a:gd name="T4" fmla="*/ 115 w 447"/>
                <a:gd name="T5" fmla="*/ 269 h 294"/>
                <a:gd name="T6" fmla="*/ 223 w 447"/>
                <a:gd name="T7" fmla="*/ 161 h 294"/>
                <a:gd name="T8" fmla="*/ 332 w 447"/>
                <a:gd name="T9" fmla="*/ 269 h 294"/>
                <a:gd name="T10" fmla="*/ 422 w 447"/>
                <a:gd name="T11" fmla="*/ 269 h 294"/>
                <a:gd name="T12" fmla="*/ 422 w 447"/>
                <a:gd name="T13" fmla="*/ 179 h 294"/>
                <a:gd name="T14" fmla="*/ 269 w 447"/>
                <a:gd name="T15" fmla="*/ 25 h 294"/>
                <a:gd name="T16" fmla="*/ 268 w 447"/>
                <a:gd name="T17" fmla="*/ 25 h 294"/>
                <a:gd name="T18" fmla="*/ 178 w 447"/>
                <a:gd name="T19" fmla="*/ 25 h 294"/>
                <a:gd name="T20" fmla="*/ 178 w 447"/>
                <a:gd name="T21" fmla="*/ 25 h 294"/>
                <a:gd name="T22" fmla="*/ 25 w 447"/>
                <a:gd name="T23" fmla="*/ 17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7" h="294">
                  <a:moveTo>
                    <a:pt x="25" y="179"/>
                  </a:moveTo>
                  <a:cubicBezTo>
                    <a:pt x="0" y="203"/>
                    <a:pt x="0" y="244"/>
                    <a:pt x="25" y="269"/>
                  </a:cubicBezTo>
                  <a:cubicBezTo>
                    <a:pt x="49" y="294"/>
                    <a:pt x="90" y="294"/>
                    <a:pt x="115" y="269"/>
                  </a:cubicBezTo>
                  <a:cubicBezTo>
                    <a:pt x="223" y="161"/>
                    <a:pt x="223" y="161"/>
                    <a:pt x="223" y="161"/>
                  </a:cubicBezTo>
                  <a:cubicBezTo>
                    <a:pt x="332" y="269"/>
                    <a:pt x="332" y="269"/>
                    <a:pt x="332" y="269"/>
                  </a:cubicBezTo>
                  <a:cubicBezTo>
                    <a:pt x="357" y="294"/>
                    <a:pt x="397" y="294"/>
                    <a:pt x="422" y="269"/>
                  </a:cubicBezTo>
                  <a:cubicBezTo>
                    <a:pt x="447" y="244"/>
                    <a:pt x="447" y="203"/>
                    <a:pt x="422" y="179"/>
                  </a:cubicBezTo>
                  <a:cubicBezTo>
                    <a:pt x="269" y="25"/>
                    <a:pt x="269" y="25"/>
                    <a:pt x="269" y="25"/>
                  </a:cubicBezTo>
                  <a:cubicBezTo>
                    <a:pt x="268" y="25"/>
                    <a:pt x="268" y="25"/>
                    <a:pt x="268" y="25"/>
                  </a:cubicBezTo>
                  <a:cubicBezTo>
                    <a:pt x="243" y="0"/>
                    <a:pt x="203" y="0"/>
                    <a:pt x="178" y="25"/>
                  </a:cubicBezTo>
                  <a:cubicBezTo>
                    <a:pt x="178" y="25"/>
                    <a:pt x="178" y="25"/>
                    <a:pt x="178" y="25"/>
                  </a:cubicBezTo>
                  <a:cubicBezTo>
                    <a:pt x="25" y="179"/>
                    <a:pt x="25" y="179"/>
                    <a:pt x="25"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54" name="Rectangle 95"/>
            <p:cNvSpPr>
              <a:spLocks noChangeArrowheads="1"/>
            </p:cNvSpPr>
            <p:nvPr/>
          </p:nvSpPr>
          <p:spPr bwMode="auto">
            <a:xfrm>
              <a:off x="-19427825" y="10571163"/>
              <a:ext cx="3243263" cy="479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55" name="Rectangle 96"/>
            <p:cNvSpPr>
              <a:spLocks noChangeArrowheads="1"/>
            </p:cNvSpPr>
            <p:nvPr/>
          </p:nvSpPr>
          <p:spPr bwMode="auto">
            <a:xfrm>
              <a:off x="-11766550" y="8618538"/>
              <a:ext cx="479425" cy="152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56" name="Freeform 97"/>
            <p:cNvSpPr>
              <a:spLocks/>
            </p:cNvSpPr>
            <p:nvPr/>
          </p:nvSpPr>
          <p:spPr bwMode="auto">
            <a:xfrm>
              <a:off x="-12366625" y="8355013"/>
              <a:ext cx="1676400" cy="1103313"/>
            </a:xfrm>
            <a:custGeom>
              <a:avLst/>
              <a:gdLst>
                <a:gd name="T0" fmla="*/ 25 w 447"/>
                <a:gd name="T1" fmla="*/ 179 h 294"/>
                <a:gd name="T2" fmla="*/ 25 w 447"/>
                <a:gd name="T3" fmla="*/ 269 h 294"/>
                <a:gd name="T4" fmla="*/ 115 w 447"/>
                <a:gd name="T5" fmla="*/ 269 h 294"/>
                <a:gd name="T6" fmla="*/ 224 w 447"/>
                <a:gd name="T7" fmla="*/ 161 h 294"/>
                <a:gd name="T8" fmla="*/ 332 w 447"/>
                <a:gd name="T9" fmla="*/ 269 h 294"/>
                <a:gd name="T10" fmla="*/ 423 w 447"/>
                <a:gd name="T11" fmla="*/ 269 h 294"/>
                <a:gd name="T12" fmla="*/ 423 w 447"/>
                <a:gd name="T13" fmla="*/ 179 h 294"/>
                <a:gd name="T14" fmla="*/ 269 w 447"/>
                <a:gd name="T15" fmla="*/ 25 h 294"/>
                <a:gd name="T16" fmla="*/ 269 w 447"/>
                <a:gd name="T17" fmla="*/ 25 h 294"/>
                <a:gd name="T18" fmla="*/ 178 w 447"/>
                <a:gd name="T19" fmla="*/ 25 h 294"/>
                <a:gd name="T20" fmla="*/ 178 w 447"/>
                <a:gd name="T21" fmla="*/ 25 h 294"/>
                <a:gd name="T22" fmla="*/ 25 w 447"/>
                <a:gd name="T23" fmla="*/ 17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7" h="294">
                  <a:moveTo>
                    <a:pt x="25" y="179"/>
                  </a:moveTo>
                  <a:cubicBezTo>
                    <a:pt x="0" y="203"/>
                    <a:pt x="0" y="244"/>
                    <a:pt x="25" y="269"/>
                  </a:cubicBezTo>
                  <a:cubicBezTo>
                    <a:pt x="50" y="294"/>
                    <a:pt x="91" y="294"/>
                    <a:pt x="115" y="269"/>
                  </a:cubicBezTo>
                  <a:cubicBezTo>
                    <a:pt x="224" y="161"/>
                    <a:pt x="224" y="161"/>
                    <a:pt x="224" y="161"/>
                  </a:cubicBezTo>
                  <a:cubicBezTo>
                    <a:pt x="332" y="269"/>
                    <a:pt x="332" y="269"/>
                    <a:pt x="332" y="269"/>
                  </a:cubicBezTo>
                  <a:cubicBezTo>
                    <a:pt x="357" y="294"/>
                    <a:pt x="398" y="294"/>
                    <a:pt x="423" y="269"/>
                  </a:cubicBezTo>
                  <a:cubicBezTo>
                    <a:pt x="447" y="244"/>
                    <a:pt x="447" y="203"/>
                    <a:pt x="423" y="179"/>
                  </a:cubicBezTo>
                  <a:cubicBezTo>
                    <a:pt x="269" y="25"/>
                    <a:pt x="269" y="25"/>
                    <a:pt x="269" y="25"/>
                  </a:cubicBezTo>
                  <a:cubicBezTo>
                    <a:pt x="269" y="25"/>
                    <a:pt x="269" y="25"/>
                    <a:pt x="269" y="25"/>
                  </a:cubicBezTo>
                  <a:cubicBezTo>
                    <a:pt x="244" y="0"/>
                    <a:pt x="203" y="0"/>
                    <a:pt x="178" y="25"/>
                  </a:cubicBezTo>
                  <a:cubicBezTo>
                    <a:pt x="178" y="25"/>
                    <a:pt x="178" y="25"/>
                    <a:pt x="178" y="25"/>
                  </a:cubicBezTo>
                  <a:cubicBezTo>
                    <a:pt x="25" y="179"/>
                    <a:pt x="25" y="179"/>
                    <a:pt x="25"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57" name="Rectangle 98"/>
            <p:cNvSpPr>
              <a:spLocks noChangeArrowheads="1"/>
            </p:cNvSpPr>
            <p:nvPr/>
          </p:nvSpPr>
          <p:spPr bwMode="auto">
            <a:xfrm>
              <a:off x="-9926638" y="8618538"/>
              <a:ext cx="481013" cy="152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58" name="Freeform 99"/>
            <p:cNvSpPr>
              <a:spLocks/>
            </p:cNvSpPr>
            <p:nvPr/>
          </p:nvSpPr>
          <p:spPr bwMode="auto">
            <a:xfrm>
              <a:off x="-10521950" y="8355013"/>
              <a:ext cx="1676400" cy="1103313"/>
            </a:xfrm>
            <a:custGeom>
              <a:avLst/>
              <a:gdLst>
                <a:gd name="T0" fmla="*/ 25 w 447"/>
                <a:gd name="T1" fmla="*/ 179 h 294"/>
                <a:gd name="T2" fmla="*/ 25 w 447"/>
                <a:gd name="T3" fmla="*/ 269 h 294"/>
                <a:gd name="T4" fmla="*/ 115 w 447"/>
                <a:gd name="T5" fmla="*/ 269 h 294"/>
                <a:gd name="T6" fmla="*/ 223 w 447"/>
                <a:gd name="T7" fmla="*/ 161 h 294"/>
                <a:gd name="T8" fmla="*/ 332 w 447"/>
                <a:gd name="T9" fmla="*/ 269 h 294"/>
                <a:gd name="T10" fmla="*/ 422 w 447"/>
                <a:gd name="T11" fmla="*/ 269 h 294"/>
                <a:gd name="T12" fmla="*/ 422 w 447"/>
                <a:gd name="T13" fmla="*/ 179 h 294"/>
                <a:gd name="T14" fmla="*/ 269 w 447"/>
                <a:gd name="T15" fmla="*/ 25 h 294"/>
                <a:gd name="T16" fmla="*/ 268 w 447"/>
                <a:gd name="T17" fmla="*/ 25 h 294"/>
                <a:gd name="T18" fmla="*/ 178 w 447"/>
                <a:gd name="T19" fmla="*/ 25 h 294"/>
                <a:gd name="T20" fmla="*/ 178 w 447"/>
                <a:gd name="T21" fmla="*/ 25 h 294"/>
                <a:gd name="T22" fmla="*/ 25 w 447"/>
                <a:gd name="T23" fmla="*/ 17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7" h="294">
                  <a:moveTo>
                    <a:pt x="25" y="179"/>
                  </a:moveTo>
                  <a:cubicBezTo>
                    <a:pt x="0" y="203"/>
                    <a:pt x="0" y="244"/>
                    <a:pt x="25" y="269"/>
                  </a:cubicBezTo>
                  <a:cubicBezTo>
                    <a:pt x="49" y="294"/>
                    <a:pt x="90" y="294"/>
                    <a:pt x="115" y="269"/>
                  </a:cubicBezTo>
                  <a:cubicBezTo>
                    <a:pt x="223" y="161"/>
                    <a:pt x="223" y="161"/>
                    <a:pt x="223" y="161"/>
                  </a:cubicBezTo>
                  <a:cubicBezTo>
                    <a:pt x="332" y="269"/>
                    <a:pt x="332" y="269"/>
                    <a:pt x="332" y="269"/>
                  </a:cubicBezTo>
                  <a:cubicBezTo>
                    <a:pt x="357" y="294"/>
                    <a:pt x="397" y="294"/>
                    <a:pt x="422" y="269"/>
                  </a:cubicBezTo>
                  <a:cubicBezTo>
                    <a:pt x="447" y="244"/>
                    <a:pt x="447" y="203"/>
                    <a:pt x="422" y="179"/>
                  </a:cubicBezTo>
                  <a:cubicBezTo>
                    <a:pt x="269" y="25"/>
                    <a:pt x="269" y="25"/>
                    <a:pt x="269" y="25"/>
                  </a:cubicBezTo>
                  <a:cubicBezTo>
                    <a:pt x="268" y="25"/>
                    <a:pt x="268" y="25"/>
                    <a:pt x="268" y="25"/>
                  </a:cubicBezTo>
                  <a:cubicBezTo>
                    <a:pt x="243" y="0"/>
                    <a:pt x="203" y="0"/>
                    <a:pt x="178" y="25"/>
                  </a:cubicBezTo>
                  <a:cubicBezTo>
                    <a:pt x="178" y="25"/>
                    <a:pt x="178" y="25"/>
                    <a:pt x="178" y="25"/>
                  </a:cubicBezTo>
                  <a:cubicBezTo>
                    <a:pt x="25" y="179"/>
                    <a:pt x="25" y="179"/>
                    <a:pt x="25"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60" name="Rectangle 100"/>
            <p:cNvSpPr>
              <a:spLocks noChangeArrowheads="1"/>
            </p:cNvSpPr>
            <p:nvPr/>
          </p:nvSpPr>
          <p:spPr bwMode="auto">
            <a:xfrm>
              <a:off x="-12228513" y="10571163"/>
              <a:ext cx="3243263" cy="479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170" name="Group 4169"/>
          <p:cNvGrpSpPr/>
          <p:nvPr/>
        </p:nvGrpSpPr>
        <p:grpSpPr>
          <a:xfrm>
            <a:off x="7413579" y="1708009"/>
            <a:ext cx="382205" cy="382124"/>
            <a:chOff x="-9753600" y="2249488"/>
            <a:chExt cx="7500937" cy="7499351"/>
          </a:xfrm>
          <a:solidFill>
            <a:schemeClr val="accent2"/>
          </a:solidFill>
        </p:grpSpPr>
        <p:sp>
          <p:nvSpPr>
            <p:cNvPr id="4165" name="Freeform 105"/>
            <p:cNvSpPr>
              <a:spLocks/>
            </p:cNvSpPr>
            <p:nvPr/>
          </p:nvSpPr>
          <p:spPr bwMode="auto">
            <a:xfrm>
              <a:off x="-9126538" y="3224213"/>
              <a:ext cx="3633787" cy="3675063"/>
            </a:xfrm>
            <a:custGeom>
              <a:avLst/>
              <a:gdLst>
                <a:gd name="T0" fmla="*/ 163 w 969"/>
                <a:gd name="T1" fmla="*/ 966 h 980"/>
                <a:gd name="T2" fmla="*/ 163 w 969"/>
                <a:gd name="T3" fmla="*/ 966 h 980"/>
                <a:gd name="T4" fmla="*/ 166 w 969"/>
                <a:gd name="T5" fmla="*/ 969 h 980"/>
                <a:gd name="T6" fmla="*/ 168 w 969"/>
                <a:gd name="T7" fmla="*/ 970 h 980"/>
                <a:gd name="T8" fmla="*/ 170 w 969"/>
                <a:gd name="T9" fmla="*/ 972 h 980"/>
                <a:gd name="T10" fmla="*/ 172 w 969"/>
                <a:gd name="T11" fmla="*/ 973 h 980"/>
                <a:gd name="T12" fmla="*/ 174 w 969"/>
                <a:gd name="T13" fmla="*/ 974 h 980"/>
                <a:gd name="T14" fmla="*/ 176 w 969"/>
                <a:gd name="T15" fmla="*/ 975 h 980"/>
                <a:gd name="T16" fmla="*/ 178 w 969"/>
                <a:gd name="T17" fmla="*/ 976 h 980"/>
                <a:gd name="T18" fmla="*/ 180 w 969"/>
                <a:gd name="T19" fmla="*/ 977 h 980"/>
                <a:gd name="T20" fmla="*/ 182 w 969"/>
                <a:gd name="T21" fmla="*/ 978 h 980"/>
                <a:gd name="T22" fmla="*/ 184 w 969"/>
                <a:gd name="T23" fmla="*/ 978 h 980"/>
                <a:gd name="T24" fmla="*/ 187 w 969"/>
                <a:gd name="T25" fmla="*/ 978 h 980"/>
                <a:gd name="T26" fmla="*/ 189 w 969"/>
                <a:gd name="T27" fmla="*/ 979 h 980"/>
                <a:gd name="T28" fmla="*/ 191 w 969"/>
                <a:gd name="T29" fmla="*/ 979 h 980"/>
                <a:gd name="T30" fmla="*/ 195 w 969"/>
                <a:gd name="T31" fmla="*/ 980 h 980"/>
                <a:gd name="T32" fmla="*/ 200 w 969"/>
                <a:gd name="T33" fmla="*/ 979 h 980"/>
                <a:gd name="T34" fmla="*/ 202 w 969"/>
                <a:gd name="T35" fmla="*/ 979 h 980"/>
                <a:gd name="T36" fmla="*/ 204 w 969"/>
                <a:gd name="T37" fmla="*/ 978 h 980"/>
                <a:gd name="T38" fmla="*/ 207 w 969"/>
                <a:gd name="T39" fmla="*/ 978 h 980"/>
                <a:gd name="T40" fmla="*/ 209 w 969"/>
                <a:gd name="T41" fmla="*/ 978 h 980"/>
                <a:gd name="T42" fmla="*/ 211 w 969"/>
                <a:gd name="T43" fmla="*/ 977 h 980"/>
                <a:gd name="T44" fmla="*/ 213 w 969"/>
                <a:gd name="T45" fmla="*/ 976 h 980"/>
                <a:gd name="T46" fmla="*/ 215 w 969"/>
                <a:gd name="T47" fmla="*/ 975 h 980"/>
                <a:gd name="T48" fmla="*/ 217 w 969"/>
                <a:gd name="T49" fmla="*/ 974 h 980"/>
                <a:gd name="T50" fmla="*/ 219 w 969"/>
                <a:gd name="T51" fmla="*/ 973 h 980"/>
                <a:gd name="T52" fmla="*/ 221 w 969"/>
                <a:gd name="T53" fmla="*/ 972 h 980"/>
                <a:gd name="T54" fmla="*/ 223 w 969"/>
                <a:gd name="T55" fmla="*/ 970 h 980"/>
                <a:gd name="T56" fmla="*/ 225 w 969"/>
                <a:gd name="T57" fmla="*/ 969 h 980"/>
                <a:gd name="T58" fmla="*/ 228 w 969"/>
                <a:gd name="T59" fmla="*/ 966 h 980"/>
                <a:gd name="T60" fmla="*/ 228 w 969"/>
                <a:gd name="T61" fmla="*/ 966 h 980"/>
                <a:gd name="T62" fmla="*/ 372 w 969"/>
                <a:gd name="T63" fmla="*/ 822 h 980"/>
                <a:gd name="T64" fmla="*/ 372 w 969"/>
                <a:gd name="T65" fmla="*/ 756 h 980"/>
                <a:gd name="T66" fmla="*/ 307 w 969"/>
                <a:gd name="T67" fmla="*/ 756 h 980"/>
                <a:gd name="T68" fmla="*/ 241 w 969"/>
                <a:gd name="T69" fmla="*/ 821 h 980"/>
                <a:gd name="T70" fmla="*/ 241 w 969"/>
                <a:gd name="T71" fmla="*/ 93 h 980"/>
                <a:gd name="T72" fmla="*/ 922 w 969"/>
                <a:gd name="T73" fmla="*/ 93 h 980"/>
                <a:gd name="T74" fmla="*/ 969 w 969"/>
                <a:gd name="T75" fmla="*/ 46 h 980"/>
                <a:gd name="T76" fmla="*/ 922 w 969"/>
                <a:gd name="T77" fmla="*/ 0 h 980"/>
                <a:gd name="T78" fmla="*/ 195 w 969"/>
                <a:gd name="T79" fmla="*/ 0 h 980"/>
                <a:gd name="T80" fmla="*/ 149 w 969"/>
                <a:gd name="T81" fmla="*/ 46 h 980"/>
                <a:gd name="T82" fmla="*/ 149 w 969"/>
                <a:gd name="T83" fmla="*/ 821 h 980"/>
                <a:gd name="T84" fmla="*/ 84 w 969"/>
                <a:gd name="T85" fmla="*/ 756 h 980"/>
                <a:gd name="T86" fmla="*/ 18 w 969"/>
                <a:gd name="T87" fmla="*/ 756 h 980"/>
                <a:gd name="T88" fmla="*/ 18 w 969"/>
                <a:gd name="T89" fmla="*/ 822 h 980"/>
                <a:gd name="T90" fmla="*/ 163 w 969"/>
                <a:gd name="T91" fmla="*/ 966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9" h="980">
                  <a:moveTo>
                    <a:pt x="163" y="966"/>
                  </a:moveTo>
                  <a:cubicBezTo>
                    <a:pt x="163" y="966"/>
                    <a:pt x="163" y="966"/>
                    <a:pt x="163" y="966"/>
                  </a:cubicBezTo>
                  <a:cubicBezTo>
                    <a:pt x="164" y="967"/>
                    <a:pt x="165" y="968"/>
                    <a:pt x="166" y="969"/>
                  </a:cubicBezTo>
                  <a:cubicBezTo>
                    <a:pt x="167" y="970"/>
                    <a:pt x="167" y="970"/>
                    <a:pt x="168" y="970"/>
                  </a:cubicBezTo>
                  <a:cubicBezTo>
                    <a:pt x="169" y="971"/>
                    <a:pt x="169" y="972"/>
                    <a:pt x="170" y="972"/>
                  </a:cubicBezTo>
                  <a:cubicBezTo>
                    <a:pt x="171" y="972"/>
                    <a:pt x="171" y="973"/>
                    <a:pt x="172" y="973"/>
                  </a:cubicBezTo>
                  <a:cubicBezTo>
                    <a:pt x="173" y="974"/>
                    <a:pt x="173" y="974"/>
                    <a:pt x="174" y="974"/>
                  </a:cubicBezTo>
                  <a:cubicBezTo>
                    <a:pt x="175" y="975"/>
                    <a:pt x="175" y="975"/>
                    <a:pt x="176" y="975"/>
                  </a:cubicBezTo>
                  <a:cubicBezTo>
                    <a:pt x="177" y="976"/>
                    <a:pt x="177" y="976"/>
                    <a:pt x="178" y="976"/>
                  </a:cubicBezTo>
                  <a:cubicBezTo>
                    <a:pt x="179" y="976"/>
                    <a:pt x="179" y="976"/>
                    <a:pt x="180" y="977"/>
                  </a:cubicBezTo>
                  <a:cubicBezTo>
                    <a:pt x="181" y="977"/>
                    <a:pt x="181" y="977"/>
                    <a:pt x="182" y="978"/>
                  </a:cubicBezTo>
                  <a:cubicBezTo>
                    <a:pt x="183" y="978"/>
                    <a:pt x="183" y="978"/>
                    <a:pt x="184" y="978"/>
                  </a:cubicBezTo>
                  <a:cubicBezTo>
                    <a:pt x="185" y="978"/>
                    <a:pt x="186" y="978"/>
                    <a:pt x="187" y="978"/>
                  </a:cubicBezTo>
                  <a:cubicBezTo>
                    <a:pt x="187" y="978"/>
                    <a:pt x="188" y="979"/>
                    <a:pt x="189" y="979"/>
                  </a:cubicBezTo>
                  <a:cubicBezTo>
                    <a:pt x="190" y="979"/>
                    <a:pt x="190" y="979"/>
                    <a:pt x="191" y="979"/>
                  </a:cubicBezTo>
                  <a:cubicBezTo>
                    <a:pt x="193" y="979"/>
                    <a:pt x="194" y="980"/>
                    <a:pt x="195" y="980"/>
                  </a:cubicBezTo>
                  <a:cubicBezTo>
                    <a:pt x="197" y="980"/>
                    <a:pt x="199" y="980"/>
                    <a:pt x="200" y="979"/>
                  </a:cubicBezTo>
                  <a:cubicBezTo>
                    <a:pt x="201" y="979"/>
                    <a:pt x="201" y="979"/>
                    <a:pt x="202" y="979"/>
                  </a:cubicBezTo>
                  <a:cubicBezTo>
                    <a:pt x="203" y="979"/>
                    <a:pt x="203" y="978"/>
                    <a:pt x="204" y="978"/>
                  </a:cubicBezTo>
                  <a:cubicBezTo>
                    <a:pt x="205" y="978"/>
                    <a:pt x="206" y="978"/>
                    <a:pt x="207" y="978"/>
                  </a:cubicBezTo>
                  <a:cubicBezTo>
                    <a:pt x="207" y="978"/>
                    <a:pt x="208" y="978"/>
                    <a:pt x="209" y="978"/>
                  </a:cubicBezTo>
                  <a:cubicBezTo>
                    <a:pt x="209" y="977"/>
                    <a:pt x="210" y="977"/>
                    <a:pt x="211" y="977"/>
                  </a:cubicBezTo>
                  <a:cubicBezTo>
                    <a:pt x="212" y="976"/>
                    <a:pt x="212" y="976"/>
                    <a:pt x="213" y="976"/>
                  </a:cubicBezTo>
                  <a:cubicBezTo>
                    <a:pt x="214" y="976"/>
                    <a:pt x="214" y="975"/>
                    <a:pt x="215" y="975"/>
                  </a:cubicBezTo>
                  <a:cubicBezTo>
                    <a:pt x="216" y="975"/>
                    <a:pt x="216" y="974"/>
                    <a:pt x="217" y="974"/>
                  </a:cubicBezTo>
                  <a:cubicBezTo>
                    <a:pt x="218" y="974"/>
                    <a:pt x="218" y="974"/>
                    <a:pt x="219" y="973"/>
                  </a:cubicBezTo>
                  <a:cubicBezTo>
                    <a:pt x="220" y="973"/>
                    <a:pt x="220" y="972"/>
                    <a:pt x="221" y="972"/>
                  </a:cubicBezTo>
                  <a:cubicBezTo>
                    <a:pt x="222" y="972"/>
                    <a:pt x="222" y="971"/>
                    <a:pt x="223" y="970"/>
                  </a:cubicBezTo>
                  <a:cubicBezTo>
                    <a:pt x="223" y="970"/>
                    <a:pt x="224" y="970"/>
                    <a:pt x="225" y="969"/>
                  </a:cubicBezTo>
                  <a:cubicBezTo>
                    <a:pt x="226" y="968"/>
                    <a:pt x="227" y="967"/>
                    <a:pt x="228" y="966"/>
                  </a:cubicBezTo>
                  <a:cubicBezTo>
                    <a:pt x="228" y="966"/>
                    <a:pt x="228" y="966"/>
                    <a:pt x="228" y="966"/>
                  </a:cubicBezTo>
                  <a:cubicBezTo>
                    <a:pt x="372" y="822"/>
                    <a:pt x="372" y="822"/>
                    <a:pt x="372" y="822"/>
                  </a:cubicBezTo>
                  <a:cubicBezTo>
                    <a:pt x="390" y="804"/>
                    <a:pt x="390" y="774"/>
                    <a:pt x="372" y="756"/>
                  </a:cubicBezTo>
                  <a:cubicBezTo>
                    <a:pt x="354" y="738"/>
                    <a:pt x="325" y="738"/>
                    <a:pt x="307" y="756"/>
                  </a:cubicBezTo>
                  <a:cubicBezTo>
                    <a:pt x="241" y="821"/>
                    <a:pt x="241" y="821"/>
                    <a:pt x="241" y="821"/>
                  </a:cubicBezTo>
                  <a:cubicBezTo>
                    <a:pt x="241" y="93"/>
                    <a:pt x="241" y="93"/>
                    <a:pt x="241" y="93"/>
                  </a:cubicBezTo>
                  <a:cubicBezTo>
                    <a:pt x="922" y="93"/>
                    <a:pt x="922" y="93"/>
                    <a:pt x="922" y="93"/>
                  </a:cubicBezTo>
                  <a:cubicBezTo>
                    <a:pt x="948" y="93"/>
                    <a:pt x="969" y="72"/>
                    <a:pt x="969" y="46"/>
                  </a:cubicBezTo>
                  <a:cubicBezTo>
                    <a:pt x="969" y="21"/>
                    <a:pt x="948" y="0"/>
                    <a:pt x="922" y="0"/>
                  </a:cubicBezTo>
                  <a:cubicBezTo>
                    <a:pt x="195" y="0"/>
                    <a:pt x="195" y="0"/>
                    <a:pt x="195" y="0"/>
                  </a:cubicBezTo>
                  <a:cubicBezTo>
                    <a:pt x="169" y="0"/>
                    <a:pt x="149" y="21"/>
                    <a:pt x="149" y="46"/>
                  </a:cubicBezTo>
                  <a:cubicBezTo>
                    <a:pt x="149" y="821"/>
                    <a:pt x="149" y="821"/>
                    <a:pt x="149" y="821"/>
                  </a:cubicBezTo>
                  <a:cubicBezTo>
                    <a:pt x="84" y="756"/>
                    <a:pt x="84" y="756"/>
                    <a:pt x="84" y="756"/>
                  </a:cubicBezTo>
                  <a:cubicBezTo>
                    <a:pt x="66" y="738"/>
                    <a:pt x="36" y="738"/>
                    <a:pt x="18" y="756"/>
                  </a:cubicBezTo>
                  <a:cubicBezTo>
                    <a:pt x="0" y="774"/>
                    <a:pt x="0" y="804"/>
                    <a:pt x="18" y="822"/>
                  </a:cubicBezTo>
                  <a:lnTo>
                    <a:pt x="163" y="9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66" name="Freeform 106"/>
            <p:cNvSpPr>
              <a:spLocks noEditPoints="1"/>
            </p:cNvSpPr>
            <p:nvPr/>
          </p:nvSpPr>
          <p:spPr bwMode="auto">
            <a:xfrm>
              <a:off x="-4949825" y="2249488"/>
              <a:ext cx="2697162" cy="2293938"/>
            </a:xfrm>
            <a:custGeom>
              <a:avLst/>
              <a:gdLst>
                <a:gd name="T0" fmla="*/ 673 w 719"/>
                <a:gd name="T1" fmla="*/ 0 h 612"/>
                <a:gd name="T2" fmla="*/ 46 w 719"/>
                <a:gd name="T3" fmla="*/ 0 h 612"/>
                <a:gd name="T4" fmla="*/ 0 w 719"/>
                <a:gd name="T5" fmla="*/ 46 h 612"/>
                <a:gd name="T6" fmla="*/ 0 w 719"/>
                <a:gd name="T7" fmla="*/ 440 h 612"/>
                <a:gd name="T8" fmla="*/ 46 w 719"/>
                <a:gd name="T9" fmla="*/ 486 h 612"/>
                <a:gd name="T10" fmla="*/ 313 w 719"/>
                <a:gd name="T11" fmla="*/ 486 h 612"/>
                <a:gd name="T12" fmla="*/ 313 w 719"/>
                <a:gd name="T13" fmla="*/ 520 h 612"/>
                <a:gd name="T14" fmla="*/ 220 w 719"/>
                <a:gd name="T15" fmla="*/ 520 h 612"/>
                <a:gd name="T16" fmla="*/ 174 w 719"/>
                <a:gd name="T17" fmla="*/ 566 h 612"/>
                <a:gd name="T18" fmla="*/ 220 w 719"/>
                <a:gd name="T19" fmla="*/ 612 h 612"/>
                <a:gd name="T20" fmla="*/ 499 w 719"/>
                <a:gd name="T21" fmla="*/ 612 h 612"/>
                <a:gd name="T22" fmla="*/ 545 w 719"/>
                <a:gd name="T23" fmla="*/ 566 h 612"/>
                <a:gd name="T24" fmla="*/ 499 w 719"/>
                <a:gd name="T25" fmla="*/ 520 h 612"/>
                <a:gd name="T26" fmla="*/ 406 w 719"/>
                <a:gd name="T27" fmla="*/ 520 h 612"/>
                <a:gd name="T28" fmla="*/ 406 w 719"/>
                <a:gd name="T29" fmla="*/ 486 h 612"/>
                <a:gd name="T30" fmla="*/ 673 w 719"/>
                <a:gd name="T31" fmla="*/ 486 h 612"/>
                <a:gd name="T32" fmla="*/ 719 w 719"/>
                <a:gd name="T33" fmla="*/ 440 h 612"/>
                <a:gd name="T34" fmla="*/ 719 w 719"/>
                <a:gd name="T35" fmla="*/ 46 h 612"/>
                <a:gd name="T36" fmla="*/ 673 w 719"/>
                <a:gd name="T37" fmla="*/ 0 h 612"/>
                <a:gd name="T38" fmla="*/ 626 w 719"/>
                <a:gd name="T39" fmla="*/ 393 h 612"/>
                <a:gd name="T40" fmla="*/ 93 w 719"/>
                <a:gd name="T41" fmla="*/ 393 h 612"/>
                <a:gd name="T42" fmla="*/ 93 w 719"/>
                <a:gd name="T43" fmla="*/ 93 h 612"/>
                <a:gd name="T44" fmla="*/ 626 w 719"/>
                <a:gd name="T45" fmla="*/ 93 h 612"/>
                <a:gd name="T46" fmla="*/ 626 w 719"/>
                <a:gd name="T47" fmla="*/ 39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9" h="612">
                  <a:moveTo>
                    <a:pt x="673" y="0"/>
                  </a:moveTo>
                  <a:cubicBezTo>
                    <a:pt x="46" y="0"/>
                    <a:pt x="46" y="0"/>
                    <a:pt x="46" y="0"/>
                  </a:cubicBezTo>
                  <a:cubicBezTo>
                    <a:pt x="21" y="0"/>
                    <a:pt x="0" y="21"/>
                    <a:pt x="0" y="46"/>
                  </a:cubicBezTo>
                  <a:cubicBezTo>
                    <a:pt x="0" y="440"/>
                    <a:pt x="0" y="440"/>
                    <a:pt x="0" y="440"/>
                  </a:cubicBezTo>
                  <a:cubicBezTo>
                    <a:pt x="0" y="465"/>
                    <a:pt x="21" y="486"/>
                    <a:pt x="46" y="486"/>
                  </a:cubicBezTo>
                  <a:cubicBezTo>
                    <a:pt x="313" y="486"/>
                    <a:pt x="313" y="486"/>
                    <a:pt x="313" y="486"/>
                  </a:cubicBezTo>
                  <a:cubicBezTo>
                    <a:pt x="313" y="520"/>
                    <a:pt x="313" y="520"/>
                    <a:pt x="313" y="520"/>
                  </a:cubicBezTo>
                  <a:cubicBezTo>
                    <a:pt x="220" y="520"/>
                    <a:pt x="220" y="520"/>
                    <a:pt x="220" y="520"/>
                  </a:cubicBezTo>
                  <a:cubicBezTo>
                    <a:pt x="195" y="520"/>
                    <a:pt x="174" y="540"/>
                    <a:pt x="174" y="566"/>
                  </a:cubicBezTo>
                  <a:cubicBezTo>
                    <a:pt x="174" y="592"/>
                    <a:pt x="195" y="612"/>
                    <a:pt x="220" y="612"/>
                  </a:cubicBezTo>
                  <a:cubicBezTo>
                    <a:pt x="499" y="612"/>
                    <a:pt x="499" y="612"/>
                    <a:pt x="499" y="612"/>
                  </a:cubicBezTo>
                  <a:cubicBezTo>
                    <a:pt x="524" y="612"/>
                    <a:pt x="545" y="592"/>
                    <a:pt x="545" y="566"/>
                  </a:cubicBezTo>
                  <a:cubicBezTo>
                    <a:pt x="545" y="540"/>
                    <a:pt x="524" y="520"/>
                    <a:pt x="499" y="520"/>
                  </a:cubicBezTo>
                  <a:cubicBezTo>
                    <a:pt x="406" y="520"/>
                    <a:pt x="406" y="520"/>
                    <a:pt x="406" y="520"/>
                  </a:cubicBezTo>
                  <a:cubicBezTo>
                    <a:pt x="406" y="486"/>
                    <a:pt x="406" y="486"/>
                    <a:pt x="406" y="486"/>
                  </a:cubicBezTo>
                  <a:cubicBezTo>
                    <a:pt x="673" y="486"/>
                    <a:pt x="673" y="486"/>
                    <a:pt x="673" y="486"/>
                  </a:cubicBezTo>
                  <a:cubicBezTo>
                    <a:pt x="698" y="486"/>
                    <a:pt x="719" y="465"/>
                    <a:pt x="719" y="440"/>
                  </a:cubicBezTo>
                  <a:cubicBezTo>
                    <a:pt x="719" y="46"/>
                    <a:pt x="719" y="46"/>
                    <a:pt x="719" y="46"/>
                  </a:cubicBezTo>
                  <a:cubicBezTo>
                    <a:pt x="719" y="21"/>
                    <a:pt x="698" y="0"/>
                    <a:pt x="673" y="0"/>
                  </a:cubicBezTo>
                  <a:close/>
                  <a:moveTo>
                    <a:pt x="626" y="393"/>
                  </a:moveTo>
                  <a:cubicBezTo>
                    <a:pt x="93" y="393"/>
                    <a:pt x="93" y="393"/>
                    <a:pt x="93" y="393"/>
                  </a:cubicBezTo>
                  <a:cubicBezTo>
                    <a:pt x="93" y="93"/>
                    <a:pt x="93" y="93"/>
                    <a:pt x="93" y="93"/>
                  </a:cubicBezTo>
                  <a:cubicBezTo>
                    <a:pt x="626" y="93"/>
                    <a:pt x="626" y="93"/>
                    <a:pt x="626" y="93"/>
                  </a:cubicBezTo>
                  <a:lnTo>
                    <a:pt x="626" y="3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67" name="Freeform 107"/>
            <p:cNvSpPr>
              <a:spLocks/>
            </p:cNvSpPr>
            <p:nvPr/>
          </p:nvSpPr>
          <p:spPr bwMode="auto">
            <a:xfrm>
              <a:off x="-6535738" y="5099051"/>
              <a:ext cx="3656012" cy="3675063"/>
            </a:xfrm>
            <a:custGeom>
              <a:avLst/>
              <a:gdLst>
                <a:gd name="T0" fmla="*/ 813 w 975"/>
                <a:gd name="T1" fmla="*/ 14 h 980"/>
                <a:gd name="T2" fmla="*/ 813 w 975"/>
                <a:gd name="T3" fmla="*/ 14 h 980"/>
                <a:gd name="T4" fmla="*/ 809 w 975"/>
                <a:gd name="T5" fmla="*/ 11 h 980"/>
                <a:gd name="T6" fmla="*/ 808 w 975"/>
                <a:gd name="T7" fmla="*/ 10 h 980"/>
                <a:gd name="T8" fmla="*/ 806 w 975"/>
                <a:gd name="T9" fmla="*/ 8 h 980"/>
                <a:gd name="T10" fmla="*/ 804 w 975"/>
                <a:gd name="T11" fmla="*/ 7 h 980"/>
                <a:gd name="T12" fmla="*/ 802 w 975"/>
                <a:gd name="T13" fmla="*/ 6 h 980"/>
                <a:gd name="T14" fmla="*/ 800 w 975"/>
                <a:gd name="T15" fmla="*/ 5 h 980"/>
                <a:gd name="T16" fmla="*/ 798 w 975"/>
                <a:gd name="T17" fmla="*/ 4 h 980"/>
                <a:gd name="T18" fmla="*/ 796 w 975"/>
                <a:gd name="T19" fmla="*/ 3 h 980"/>
                <a:gd name="T20" fmla="*/ 793 w 975"/>
                <a:gd name="T21" fmla="*/ 2 h 980"/>
                <a:gd name="T22" fmla="*/ 791 w 975"/>
                <a:gd name="T23" fmla="*/ 2 h 980"/>
                <a:gd name="T24" fmla="*/ 789 w 975"/>
                <a:gd name="T25" fmla="*/ 1 h 980"/>
                <a:gd name="T26" fmla="*/ 787 w 975"/>
                <a:gd name="T27" fmla="*/ 1 h 980"/>
                <a:gd name="T28" fmla="*/ 784 w 975"/>
                <a:gd name="T29" fmla="*/ 0 h 980"/>
                <a:gd name="T30" fmla="*/ 781 w 975"/>
                <a:gd name="T31" fmla="*/ 0 h 980"/>
                <a:gd name="T32" fmla="*/ 780 w 975"/>
                <a:gd name="T33" fmla="*/ 0 h 980"/>
                <a:gd name="T34" fmla="*/ 779 w 975"/>
                <a:gd name="T35" fmla="*/ 0 h 980"/>
                <a:gd name="T36" fmla="*/ 776 w 975"/>
                <a:gd name="T37" fmla="*/ 0 h 980"/>
                <a:gd name="T38" fmla="*/ 773 w 975"/>
                <a:gd name="T39" fmla="*/ 1 h 980"/>
                <a:gd name="T40" fmla="*/ 771 w 975"/>
                <a:gd name="T41" fmla="*/ 1 h 980"/>
                <a:gd name="T42" fmla="*/ 769 w 975"/>
                <a:gd name="T43" fmla="*/ 2 h 980"/>
                <a:gd name="T44" fmla="*/ 767 w 975"/>
                <a:gd name="T45" fmla="*/ 2 h 980"/>
                <a:gd name="T46" fmla="*/ 764 w 975"/>
                <a:gd name="T47" fmla="*/ 3 h 980"/>
                <a:gd name="T48" fmla="*/ 762 w 975"/>
                <a:gd name="T49" fmla="*/ 4 h 980"/>
                <a:gd name="T50" fmla="*/ 760 w 975"/>
                <a:gd name="T51" fmla="*/ 5 h 980"/>
                <a:gd name="T52" fmla="*/ 758 w 975"/>
                <a:gd name="T53" fmla="*/ 6 h 980"/>
                <a:gd name="T54" fmla="*/ 756 w 975"/>
                <a:gd name="T55" fmla="*/ 7 h 980"/>
                <a:gd name="T56" fmla="*/ 754 w 975"/>
                <a:gd name="T57" fmla="*/ 8 h 980"/>
                <a:gd name="T58" fmla="*/ 752 w 975"/>
                <a:gd name="T59" fmla="*/ 10 h 980"/>
                <a:gd name="T60" fmla="*/ 751 w 975"/>
                <a:gd name="T61" fmla="*/ 11 h 980"/>
                <a:gd name="T62" fmla="*/ 748 w 975"/>
                <a:gd name="T63" fmla="*/ 14 h 980"/>
                <a:gd name="T64" fmla="*/ 748 w 975"/>
                <a:gd name="T65" fmla="*/ 14 h 980"/>
                <a:gd name="T66" fmla="*/ 603 w 975"/>
                <a:gd name="T67" fmla="*/ 158 h 980"/>
                <a:gd name="T68" fmla="*/ 603 w 975"/>
                <a:gd name="T69" fmla="*/ 224 h 980"/>
                <a:gd name="T70" fmla="*/ 669 w 975"/>
                <a:gd name="T71" fmla="*/ 224 h 980"/>
                <a:gd name="T72" fmla="*/ 734 w 975"/>
                <a:gd name="T73" fmla="*/ 159 h 980"/>
                <a:gd name="T74" fmla="*/ 734 w 975"/>
                <a:gd name="T75" fmla="*/ 887 h 980"/>
                <a:gd name="T76" fmla="*/ 46 w 975"/>
                <a:gd name="T77" fmla="*/ 887 h 980"/>
                <a:gd name="T78" fmla="*/ 0 w 975"/>
                <a:gd name="T79" fmla="*/ 934 h 980"/>
                <a:gd name="T80" fmla="*/ 46 w 975"/>
                <a:gd name="T81" fmla="*/ 980 h 980"/>
                <a:gd name="T82" fmla="*/ 780 w 975"/>
                <a:gd name="T83" fmla="*/ 980 h 980"/>
                <a:gd name="T84" fmla="*/ 826 w 975"/>
                <a:gd name="T85" fmla="*/ 934 h 980"/>
                <a:gd name="T86" fmla="*/ 826 w 975"/>
                <a:gd name="T87" fmla="*/ 159 h 980"/>
                <a:gd name="T88" fmla="*/ 892 w 975"/>
                <a:gd name="T89" fmla="*/ 224 h 980"/>
                <a:gd name="T90" fmla="*/ 924 w 975"/>
                <a:gd name="T91" fmla="*/ 238 h 980"/>
                <a:gd name="T92" fmla="*/ 957 w 975"/>
                <a:gd name="T93" fmla="*/ 224 h 980"/>
                <a:gd name="T94" fmla="*/ 957 w 975"/>
                <a:gd name="T95" fmla="*/ 158 h 980"/>
                <a:gd name="T96" fmla="*/ 813 w 975"/>
                <a:gd name="T97" fmla="*/ 14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75" h="980">
                  <a:moveTo>
                    <a:pt x="813" y="14"/>
                  </a:moveTo>
                  <a:cubicBezTo>
                    <a:pt x="812" y="14"/>
                    <a:pt x="812" y="14"/>
                    <a:pt x="813" y="14"/>
                  </a:cubicBezTo>
                  <a:cubicBezTo>
                    <a:pt x="812" y="13"/>
                    <a:pt x="810" y="12"/>
                    <a:pt x="809" y="11"/>
                  </a:cubicBezTo>
                  <a:cubicBezTo>
                    <a:pt x="809" y="10"/>
                    <a:pt x="808" y="10"/>
                    <a:pt x="808" y="10"/>
                  </a:cubicBezTo>
                  <a:cubicBezTo>
                    <a:pt x="807" y="9"/>
                    <a:pt x="806" y="8"/>
                    <a:pt x="806" y="8"/>
                  </a:cubicBezTo>
                  <a:cubicBezTo>
                    <a:pt x="805" y="8"/>
                    <a:pt x="804" y="7"/>
                    <a:pt x="804" y="7"/>
                  </a:cubicBezTo>
                  <a:cubicBezTo>
                    <a:pt x="803" y="6"/>
                    <a:pt x="802" y="6"/>
                    <a:pt x="802" y="6"/>
                  </a:cubicBezTo>
                  <a:cubicBezTo>
                    <a:pt x="801" y="5"/>
                    <a:pt x="800" y="5"/>
                    <a:pt x="800" y="5"/>
                  </a:cubicBezTo>
                  <a:cubicBezTo>
                    <a:pt x="799" y="4"/>
                    <a:pt x="798" y="4"/>
                    <a:pt x="798" y="4"/>
                  </a:cubicBezTo>
                  <a:cubicBezTo>
                    <a:pt x="797" y="4"/>
                    <a:pt x="796" y="4"/>
                    <a:pt x="796" y="3"/>
                  </a:cubicBezTo>
                  <a:cubicBezTo>
                    <a:pt x="795" y="3"/>
                    <a:pt x="794" y="3"/>
                    <a:pt x="793" y="2"/>
                  </a:cubicBezTo>
                  <a:cubicBezTo>
                    <a:pt x="792" y="2"/>
                    <a:pt x="792" y="2"/>
                    <a:pt x="791" y="2"/>
                  </a:cubicBezTo>
                  <a:cubicBezTo>
                    <a:pt x="790" y="2"/>
                    <a:pt x="790" y="2"/>
                    <a:pt x="789" y="1"/>
                  </a:cubicBezTo>
                  <a:cubicBezTo>
                    <a:pt x="788" y="1"/>
                    <a:pt x="787" y="1"/>
                    <a:pt x="787" y="1"/>
                  </a:cubicBezTo>
                  <a:cubicBezTo>
                    <a:pt x="786" y="1"/>
                    <a:pt x="785" y="0"/>
                    <a:pt x="784" y="0"/>
                  </a:cubicBezTo>
                  <a:cubicBezTo>
                    <a:pt x="783" y="0"/>
                    <a:pt x="782" y="0"/>
                    <a:pt x="781" y="0"/>
                  </a:cubicBezTo>
                  <a:cubicBezTo>
                    <a:pt x="780" y="0"/>
                    <a:pt x="780" y="0"/>
                    <a:pt x="780" y="0"/>
                  </a:cubicBezTo>
                  <a:cubicBezTo>
                    <a:pt x="780" y="0"/>
                    <a:pt x="780" y="0"/>
                    <a:pt x="779" y="0"/>
                  </a:cubicBezTo>
                  <a:cubicBezTo>
                    <a:pt x="778" y="0"/>
                    <a:pt x="777" y="0"/>
                    <a:pt x="776" y="0"/>
                  </a:cubicBezTo>
                  <a:cubicBezTo>
                    <a:pt x="775" y="0"/>
                    <a:pt x="774" y="1"/>
                    <a:pt x="773" y="1"/>
                  </a:cubicBezTo>
                  <a:cubicBezTo>
                    <a:pt x="772" y="1"/>
                    <a:pt x="772" y="1"/>
                    <a:pt x="771" y="1"/>
                  </a:cubicBezTo>
                  <a:cubicBezTo>
                    <a:pt x="770" y="1"/>
                    <a:pt x="770" y="2"/>
                    <a:pt x="769" y="2"/>
                  </a:cubicBezTo>
                  <a:cubicBezTo>
                    <a:pt x="768" y="2"/>
                    <a:pt x="768" y="2"/>
                    <a:pt x="767" y="2"/>
                  </a:cubicBezTo>
                  <a:cubicBezTo>
                    <a:pt x="766" y="3"/>
                    <a:pt x="765" y="3"/>
                    <a:pt x="764" y="3"/>
                  </a:cubicBezTo>
                  <a:cubicBezTo>
                    <a:pt x="764" y="4"/>
                    <a:pt x="763" y="4"/>
                    <a:pt x="762" y="4"/>
                  </a:cubicBezTo>
                  <a:cubicBezTo>
                    <a:pt x="762" y="4"/>
                    <a:pt x="761" y="5"/>
                    <a:pt x="760" y="5"/>
                  </a:cubicBezTo>
                  <a:cubicBezTo>
                    <a:pt x="760" y="5"/>
                    <a:pt x="759" y="6"/>
                    <a:pt x="758" y="6"/>
                  </a:cubicBezTo>
                  <a:cubicBezTo>
                    <a:pt x="758" y="6"/>
                    <a:pt x="757" y="6"/>
                    <a:pt x="756" y="7"/>
                  </a:cubicBezTo>
                  <a:cubicBezTo>
                    <a:pt x="756" y="7"/>
                    <a:pt x="755" y="8"/>
                    <a:pt x="754" y="8"/>
                  </a:cubicBezTo>
                  <a:cubicBezTo>
                    <a:pt x="754" y="8"/>
                    <a:pt x="753" y="9"/>
                    <a:pt x="752" y="10"/>
                  </a:cubicBezTo>
                  <a:cubicBezTo>
                    <a:pt x="752" y="10"/>
                    <a:pt x="751" y="10"/>
                    <a:pt x="751" y="11"/>
                  </a:cubicBezTo>
                  <a:cubicBezTo>
                    <a:pt x="750" y="12"/>
                    <a:pt x="748" y="13"/>
                    <a:pt x="748" y="14"/>
                  </a:cubicBezTo>
                  <a:cubicBezTo>
                    <a:pt x="748" y="14"/>
                    <a:pt x="748" y="14"/>
                    <a:pt x="748" y="14"/>
                  </a:cubicBezTo>
                  <a:cubicBezTo>
                    <a:pt x="603" y="158"/>
                    <a:pt x="603" y="158"/>
                    <a:pt x="603" y="158"/>
                  </a:cubicBezTo>
                  <a:cubicBezTo>
                    <a:pt x="585" y="176"/>
                    <a:pt x="585" y="206"/>
                    <a:pt x="603" y="224"/>
                  </a:cubicBezTo>
                  <a:cubicBezTo>
                    <a:pt x="621" y="242"/>
                    <a:pt x="651" y="242"/>
                    <a:pt x="669" y="224"/>
                  </a:cubicBezTo>
                  <a:cubicBezTo>
                    <a:pt x="734" y="159"/>
                    <a:pt x="734" y="159"/>
                    <a:pt x="734" y="159"/>
                  </a:cubicBezTo>
                  <a:cubicBezTo>
                    <a:pt x="734" y="887"/>
                    <a:pt x="734" y="887"/>
                    <a:pt x="734" y="887"/>
                  </a:cubicBezTo>
                  <a:cubicBezTo>
                    <a:pt x="46" y="887"/>
                    <a:pt x="46" y="887"/>
                    <a:pt x="46" y="887"/>
                  </a:cubicBezTo>
                  <a:cubicBezTo>
                    <a:pt x="20" y="887"/>
                    <a:pt x="0" y="908"/>
                    <a:pt x="0" y="934"/>
                  </a:cubicBezTo>
                  <a:cubicBezTo>
                    <a:pt x="0" y="959"/>
                    <a:pt x="20" y="980"/>
                    <a:pt x="46" y="980"/>
                  </a:cubicBezTo>
                  <a:cubicBezTo>
                    <a:pt x="780" y="980"/>
                    <a:pt x="780" y="980"/>
                    <a:pt x="780" y="980"/>
                  </a:cubicBezTo>
                  <a:cubicBezTo>
                    <a:pt x="806" y="980"/>
                    <a:pt x="826" y="959"/>
                    <a:pt x="826" y="934"/>
                  </a:cubicBezTo>
                  <a:cubicBezTo>
                    <a:pt x="826" y="159"/>
                    <a:pt x="826" y="159"/>
                    <a:pt x="826" y="159"/>
                  </a:cubicBezTo>
                  <a:cubicBezTo>
                    <a:pt x="892" y="224"/>
                    <a:pt x="892" y="224"/>
                    <a:pt x="892" y="224"/>
                  </a:cubicBezTo>
                  <a:cubicBezTo>
                    <a:pt x="901" y="233"/>
                    <a:pt x="912" y="238"/>
                    <a:pt x="924" y="238"/>
                  </a:cubicBezTo>
                  <a:cubicBezTo>
                    <a:pt x="936" y="238"/>
                    <a:pt x="948" y="233"/>
                    <a:pt x="957" y="224"/>
                  </a:cubicBezTo>
                  <a:cubicBezTo>
                    <a:pt x="975" y="206"/>
                    <a:pt x="975" y="176"/>
                    <a:pt x="957" y="158"/>
                  </a:cubicBezTo>
                  <a:lnTo>
                    <a:pt x="81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68" name="Freeform 108"/>
            <p:cNvSpPr>
              <a:spLocks noEditPoints="1"/>
            </p:cNvSpPr>
            <p:nvPr/>
          </p:nvSpPr>
          <p:spPr bwMode="auto">
            <a:xfrm>
              <a:off x="-9753600" y="7454901"/>
              <a:ext cx="2697162" cy="2293938"/>
            </a:xfrm>
            <a:custGeom>
              <a:avLst/>
              <a:gdLst>
                <a:gd name="T0" fmla="*/ 673 w 719"/>
                <a:gd name="T1" fmla="*/ 0 h 612"/>
                <a:gd name="T2" fmla="*/ 46 w 719"/>
                <a:gd name="T3" fmla="*/ 0 h 612"/>
                <a:gd name="T4" fmla="*/ 0 w 719"/>
                <a:gd name="T5" fmla="*/ 46 h 612"/>
                <a:gd name="T6" fmla="*/ 0 w 719"/>
                <a:gd name="T7" fmla="*/ 439 h 612"/>
                <a:gd name="T8" fmla="*/ 46 w 719"/>
                <a:gd name="T9" fmla="*/ 486 h 612"/>
                <a:gd name="T10" fmla="*/ 313 w 719"/>
                <a:gd name="T11" fmla="*/ 486 h 612"/>
                <a:gd name="T12" fmla="*/ 313 w 719"/>
                <a:gd name="T13" fmla="*/ 519 h 612"/>
                <a:gd name="T14" fmla="*/ 220 w 719"/>
                <a:gd name="T15" fmla="*/ 519 h 612"/>
                <a:gd name="T16" fmla="*/ 174 w 719"/>
                <a:gd name="T17" fmla="*/ 566 h 612"/>
                <a:gd name="T18" fmla="*/ 220 w 719"/>
                <a:gd name="T19" fmla="*/ 612 h 612"/>
                <a:gd name="T20" fmla="*/ 499 w 719"/>
                <a:gd name="T21" fmla="*/ 612 h 612"/>
                <a:gd name="T22" fmla="*/ 545 w 719"/>
                <a:gd name="T23" fmla="*/ 566 h 612"/>
                <a:gd name="T24" fmla="*/ 499 w 719"/>
                <a:gd name="T25" fmla="*/ 519 h 612"/>
                <a:gd name="T26" fmla="*/ 406 w 719"/>
                <a:gd name="T27" fmla="*/ 519 h 612"/>
                <a:gd name="T28" fmla="*/ 406 w 719"/>
                <a:gd name="T29" fmla="*/ 486 h 612"/>
                <a:gd name="T30" fmla="*/ 673 w 719"/>
                <a:gd name="T31" fmla="*/ 486 h 612"/>
                <a:gd name="T32" fmla="*/ 719 w 719"/>
                <a:gd name="T33" fmla="*/ 439 h 612"/>
                <a:gd name="T34" fmla="*/ 719 w 719"/>
                <a:gd name="T35" fmla="*/ 46 h 612"/>
                <a:gd name="T36" fmla="*/ 673 w 719"/>
                <a:gd name="T37" fmla="*/ 0 h 612"/>
                <a:gd name="T38" fmla="*/ 626 w 719"/>
                <a:gd name="T39" fmla="*/ 393 h 612"/>
                <a:gd name="T40" fmla="*/ 93 w 719"/>
                <a:gd name="T41" fmla="*/ 393 h 612"/>
                <a:gd name="T42" fmla="*/ 93 w 719"/>
                <a:gd name="T43" fmla="*/ 92 h 612"/>
                <a:gd name="T44" fmla="*/ 626 w 719"/>
                <a:gd name="T45" fmla="*/ 92 h 612"/>
                <a:gd name="T46" fmla="*/ 626 w 719"/>
                <a:gd name="T47" fmla="*/ 39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9" h="612">
                  <a:moveTo>
                    <a:pt x="673" y="0"/>
                  </a:moveTo>
                  <a:cubicBezTo>
                    <a:pt x="46" y="0"/>
                    <a:pt x="46" y="0"/>
                    <a:pt x="46" y="0"/>
                  </a:cubicBezTo>
                  <a:cubicBezTo>
                    <a:pt x="21" y="0"/>
                    <a:pt x="0" y="20"/>
                    <a:pt x="0" y="46"/>
                  </a:cubicBezTo>
                  <a:cubicBezTo>
                    <a:pt x="0" y="439"/>
                    <a:pt x="0" y="439"/>
                    <a:pt x="0" y="439"/>
                  </a:cubicBezTo>
                  <a:cubicBezTo>
                    <a:pt x="0" y="465"/>
                    <a:pt x="21" y="486"/>
                    <a:pt x="46" y="486"/>
                  </a:cubicBezTo>
                  <a:cubicBezTo>
                    <a:pt x="313" y="486"/>
                    <a:pt x="313" y="486"/>
                    <a:pt x="313" y="486"/>
                  </a:cubicBezTo>
                  <a:cubicBezTo>
                    <a:pt x="313" y="519"/>
                    <a:pt x="313" y="519"/>
                    <a:pt x="313" y="519"/>
                  </a:cubicBezTo>
                  <a:cubicBezTo>
                    <a:pt x="220" y="519"/>
                    <a:pt x="220" y="519"/>
                    <a:pt x="220" y="519"/>
                  </a:cubicBezTo>
                  <a:cubicBezTo>
                    <a:pt x="195" y="519"/>
                    <a:pt x="174" y="540"/>
                    <a:pt x="174" y="566"/>
                  </a:cubicBezTo>
                  <a:cubicBezTo>
                    <a:pt x="174" y="591"/>
                    <a:pt x="195" y="612"/>
                    <a:pt x="220" y="612"/>
                  </a:cubicBezTo>
                  <a:cubicBezTo>
                    <a:pt x="499" y="612"/>
                    <a:pt x="499" y="612"/>
                    <a:pt x="499" y="612"/>
                  </a:cubicBezTo>
                  <a:cubicBezTo>
                    <a:pt x="524" y="612"/>
                    <a:pt x="545" y="591"/>
                    <a:pt x="545" y="566"/>
                  </a:cubicBezTo>
                  <a:cubicBezTo>
                    <a:pt x="545" y="540"/>
                    <a:pt x="524" y="519"/>
                    <a:pt x="499" y="519"/>
                  </a:cubicBezTo>
                  <a:cubicBezTo>
                    <a:pt x="406" y="519"/>
                    <a:pt x="406" y="519"/>
                    <a:pt x="406" y="519"/>
                  </a:cubicBezTo>
                  <a:cubicBezTo>
                    <a:pt x="406" y="486"/>
                    <a:pt x="406" y="486"/>
                    <a:pt x="406" y="486"/>
                  </a:cubicBezTo>
                  <a:cubicBezTo>
                    <a:pt x="673" y="486"/>
                    <a:pt x="673" y="486"/>
                    <a:pt x="673" y="486"/>
                  </a:cubicBezTo>
                  <a:cubicBezTo>
                    <a:pt x="698" y="486"/>
                    <a:pt x="719" y="465"/>
                    <a:pt x="719" y="439"/>
                  </a:cubicBezTo>
                  <a:cubicBezTo>
                    <a:pt x="719" y="46"/>
                    <a:pt x="719" y="46"/>
                    <a:pt x="719" y="46"/>
                  </a:cubicBezTo>
                  <a:cubicBezTo>
                    <a:pt x="719" y="20"/>
                    <a:pt x="698" y="0"/>
                    <a:pt x="673" y="0"/>
                  </a:cubicBezTo>
                  <a:close/>
                  <a:moveTo>
                    <a:pt x="626" y="393"/>
                  </a:moveTo>
                  <a:cubicBezTo>
                    <a:pt x="93" y="393"/>
                    <a:pt x="93" y="393"/>
                    <a:pt x="93" y="393"/>
                  </a:cubicBezTo>
                  <a:cubicBezTo>
                    <a:pt x="93" y="92"/>
                    <a:pt x="93" y="92"/>
                    <a:pt x="93" y="92"/>
                  </a:cubicBezTo>
                  <a:cubicBezTo>
                    <a:pt x="626" y="92"/>
                    <a:pt x="626" y="92"/>
                    <a:pt x="626" y="92"/>
                  </a:cubicBezTo>
                  <a:cubicBezTo>
                    <a:pt x="626" y="393"/>
                    <a:pt x="626" y="393"/>
                    <a:pt x="626" y="3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175" name="Group 4174"/>
          <p:cNvGrpSpPr/>
          <p:nvPr/>
        </p:nvGrpSpPr>
        <p:grpSpPr>
          <a:xfrm>
            <a:off x="7474506" y="2355022"/>
            <a:ext cx="260350" cy="299508"/>
            <a:chOff x="19473863" y="5456238"/>
            <a:chExt cx="390525" cy="449262"/>
          </a:xfrm>
          <a:solidFill>
            <a:schemeClr val="accent2"/>
          </a:solidFill>
        </p:grpSpPr>
        <p:sp>
          <p:nvSpPr>
            <p:cNvPr id="4173" name="Freeform 113"/>
            <p:cNvSpPr>
              <a:spLocks noEditPoints="1"/>
            </p:cNvSpPr>
            <p:nvPr/>
          </p:nvSpPr>
          <p:spPr bwMode="auto">
            <a:xfrm>
              <a:off x="19523076" y="5599113"/>
              <a:ext cx="292100" cy="306387"/>
            </a:xfrm>
            <a:custGeom>
              <a:avLst/>
              <a:gdLst>
                <a:gd name="T0" fmla="*/ 4 w 78"/>
                <a:gd name="T1" fmla="*/ 0 h 82"/>
                <a:gd name="T2" fmla="*/ 0 w 78"/>
                <a:gd name="T3" fmla="*/ 4 h 82"/>
                <a:gd name="T4" fmla="*/ 0 w 78"/>
                <a:gd name="T5" fmla="*/ 4 h 82"/>
                <a:gd name="T6" fmla="*/ 4 w 78"/>
                <a:gd name="T7" fmla="*/ 78 h 82"/>
                <a:gd name="T8" fmla="*/ 8 w 78"/>
                <a:gd name="T9" fmla="*/ 82 h 82"/>
                <a:gd name="T10" fmla="*/ 70 w 78"/>
                <a:gd name="T11" fmla="*/ 82 h 82"/>
                <a:gd name="T12" fmla="*/ 74 w 78"/>
                <a:gd name="T13" fmla="*/ 78 h 82"/>
                <a:gd name="T14" fmla="*/ 78 w 78"/>
                <a:gd name="T15" fmla="*/ 4 h 82"/>
                <a:gd name="T16" fmla="*/ 74 w 78"/>
                <a:gd name="T17" fmla="*/ 0 h 82"/>
                <a:gd name="T18" fmla="*/ 74 w 78"/>
                <a:gd name="T19" fmla="*/ 0 h 82"/>
                <a:gd name="T20" fmla="*/ 4 w 78"/>
                <a:gd name="T21" fmla="*/ 0 h 82"/>
                <a:gd name="T22" fmla="*/ 66 w 78"/>
                <a:gd name="T23" fmla="*/ 74 h 82"/>
                <a:gd name="T24" fmla="*/ 12 w 78"/>
                <a:gd name="T25" fmla="*/ 74 h 82"/>
                <a:gd name="T26" fmla="*/ 8 w 78"/>
                <a:gd name="T27" fmla="*/ 8 h 82"/>
                <a:gd name="T28" fmla="*/ 70 w 78"/>
                <a:gd name="T29" fmla="*/ 8 h 82"/>
                <a:gd name="T30" fmla="*/ 66 w 78"/>
                <a:gd name="T31" fmla="*/ 7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82">
                  <a:moveTo>
                    <a:pt x="4" y="0"/>
                  </a:moveTo>
                  <a:cubicBezTo>
                    <a:pt x="2" y="0"/>
                    <a:pt x="0" y="2"/>
                    <a:pt x="0" y="4"/>
                  </a:cubicBezTo>
                  <a:cubicBezTo>
                    <a:pt x="0" y="4"/>
                    <a:pt x="0" y="4"/>
                    <a:pt x="0" y="4"/>
                  </a:cubicBezTo>
                  <a:cubicBezTo>
                    <a:pt x="4" y="78"/>
                    <a:pt x="4" y="78"/>
                    <a:pt x="4" y="78"/>
                  </a:cubicBezTo>
                  <a:cubicBezTo>
                    <a:pt x="5" y="80"/>
                    <a:pt x="6" y="82"/>
                    <a:pt x="8" y="82"/>
                  </a:cubicBezTo>
                  <a:cubicBezTo>
                    <a:pt x="70" y="82"/>
                    <a:pt x="70" y="82"/>
                    <a:pt x="70" y="82"/>
                  </a:cubicBezTo>
                  <a:cubicBezTo>
                    <a:pt x="72" y="82"/>
                    <a:pt x="73" y="80"/>
                    <a:pt x="74" y="78"/>
                  </a:cubicBezTo>
                  <a:cubicBezTo>
                    <a:pt x="78" y="4"/>
                    <a:pt x="78" y="4"/>
                    <a:pt x="78" y="4"/>
                  </a:cubicBezTo>
                  <a:cubicBezTo>
                    <a:pt x="78" y="2"/>
                    <a:pt x="76" y="0"/>
                    <a:pt x="74" y="0"/>
                  </a:cubicBezTo>
                  <a:cubicBezTo>
                    <a:pt x="74" y="0"/>
                    <a:pt x="74" y="0"/>
                    <a:pt x="74" y="0"/>
                  </a:cubicBezTo>
                  <a:lnTo>
                    <a:pt x="4" y="0"/>
                  </a:lnTo>
                  <a:close/>
                  <a:moveTo>
                    <a:pt x="66" y="74"/>
                  </a:moveTo>
                  <a:cubicBezTo>
                    <a:pt x="12" y="74"/>
                    <a:pt x="12" y="74"/>
                    <a:pt x="12" y="74"/>
                  </a:cubicBezTo>
                  <a:cubicBezTo>
                    <a:pt x="8" y="8"/>
                    <a:pt x="8" y="8"/>
                    <a:pt x="8" y="8"/>
                  </a:cubicBezTo>
                  <a:cubicBezTo>
                    <a:pt x="70" y="8"/>
                    <a:pt x="70" y="8"/>
                    <a:pt x="70" y="8"/>
                  </a:cubicBezTo>
                  <a:lnTo>
                    <a:pt x="66"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74" name="Freeform 114"/>
            <p:cNvSpPr>
              <a:spLocks noEditPoints="1"/>
            </p:cNvSpPr>
            <p:nvPr/>
          </p:nvSpPr>
          <p:spPr bwMode="auto">
            <a:xfrm>
              <a:off x="19473863" y="5456238"/>
              <a:ext cx="390525" cy="90487"/>
            </a:xfrm>
            <a:custGeom>
              <a:avLst/>
              <a:gdLst>
                <a:gd name="T0" fmla="*/ 104 w 104"/>
                <a:gd name="T1" fmla="*/ 20 h 24"/>
                <a:gd name="T2" fmla="*/ 100 w 104"/>
                <a:gd name="T3" fmla="*/ 16 h 24"/>
                <a:gd name="T4" fmla="*/ 75 w 104"/>
                <a:gd name="T5" fmla="*/ 16 h 24"/>
                <a:gd name="T6" fmla="*/ 71 w 104"/>
                <a:gd name="T7" fmla="*/ 3 h 24"/>
                <a:gd name="T8" fmla="*/ 67 w 104"/>
                <a:gd name="T9" fmla="*/ 0 h 24"/>
                <a:gd name="T10" fmla="*/ 36 w 104"/>
                <a:gd name="T11" fmla="*/ 0 h 24"/>
                <a:gd name="T12" fmla="*/ 32 w 104"/>
                <a:gd name="T13" fmla="*/ 3 h 24"/>
                <a:gd name="T14" fmla="*/ 29 w 104"/>
                <a:gd name="T15" fmla="*/ 16 h 24"/>
                <a:gd name="T16" fmla="*/ 4 w 104"/>
                <a:gd name="T17" fmla="*/ 16 h 24"/>
                <a:gd name="T18" fmla="*/ 0 w 104"/>
                <a:gd name="T19" fmla="*/ 20 h 24"/>
                <a:gd name="T20" fmla="*/ 4 w 104"/>
                <a:gd name="T21" fmla="*/ 24 h 24"/>
                <a:gd name="T22" fmla="*/ 100 w 104"/>
                <a:gd name="T23" fmla="*/ 24 h 24"/>
                <a:gd name="T24" fmla="*/ 104 w 104"/>
                <a:gd name="T25" fmla="*/ 20 h 24"/>
                <a:gd name="T26" fmla="*/ 37 w 104"/>
                <a:gd name="T27" fmla="*/ 16 h 24"/>
                <a:gd name="T28" fmla="*/ 40 w 104"/>
                <a:gd name="T29" fmla="*/ 8 h 24"/>
                <a:gd name="T30" fmla="*/ 64 w 104"/>
                <a:gd name="T31" fmla="*/ 8 h 24"/>
                <a:gd name="T32" fmla="*/ 67 w 104"/>
                <a:gd name="T33" fmla="*/ 16 h 24"/>
                <a:gd name="T34" fmla="*/ 37 w 104"/>
                <a:gd name="T3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24">
                  <a:moveTo>
                    <a:pt x="104" y="20"/>
                  </a:moveTo>
                  <a:cubicBezTo>
                    <a:pt x="104" y="18"/>
                    <a:pt x="102" y="16"/>
                    <a:pt x="100" y="16"/>
                  </a:cubicBezTo>
                  <a:cubicBezTo>
                    <a:pt x="75" y="16"/>
                    <a:pt x="75" y="16"/>
                    <a:pt x="75" y="16"/>
                  </a:cubicBezTo>
                  <a:cubicBezTo>
                    <a:pt x="71" y="3"/>
                    <a:pt x="71" y="3"/>
                    <a:pt x="71" y="3"/>
                  </a:cubicBezTo>
                  <a:cubicBezTo>
                    <a:pt x="71" y="1"/>
                    <a:pt x="69" y="0"/>
                    <a:pt x="67" y="0"/>
                  </a:cubicBezTo>
                  <a:cubicBezTo>
                    <a:pt x="36" y="0"/>
                    <a:pt x="36" y="0"/>
                    <a:pt x="36" y="0"/>
                  </a:cubicBezTo>
                  <a:cubicBezTo>
                    <a:pt x="35" y="0"/>
                    <a:pt x="33" y="1"/>
                    <a:pt x="32" y="3"/>
                  </a:cubicBezTo>
                  <a:cubicBezTo>
                    <a:pt x="29" y="16"/>
                    <a:pt x="29" y="16"/>
                    <a:pt x="29" y="16"/>
                  </a:cubicBezTo>
                  <a:cubicBezTo>
                    <a:pt x="4" y="16"/>
                    <a:pt x="4" y="16"/>
                    <a:pt x="4" y="16"/>
                  </a:cubicBezTo>
                  <a:cubicBezTo>
                    <a:pt x="2" y="16"/>
                    <a:pt x="0" y="18"/>
                    <a:pt x="0" y="20"/>
                  </a:cubicBezTo>
                  <a:cubicBezTo>
                    <a:pt x="0" y="22"/>
                    <a:pt x="2" y="24"/>
                    <a:pt x="4" y="24"/>
                  </a:cubicBezTo>
                  <a:cubicBezTo>
                    <a:pt x="100" y="24"/>
                    <a:pt x="100" y="24"/>
                    <a:pt x="100" y="24"/>
                  </a:cubicBezTo>
                  <a:cubicBezTo>
                    <a:pt x="102" y="24"/>
                    <a:pt x="104" y="22"/>
                    <a:pt x="104" y="20"/>
                  </a:cubicBezTo>
                  <a:close/>
                  <a:moveTo>
                    <a:pt x="37" y="16"/>
                  </a:moveTo>
                  <a:cubicBezTo>
                    <a:pt x="40" y="8"/>
                    <a:pt x="40" y="8"/>
                    <a:pt x="40" y="8"/>
                  </a:cubicBezTo>
                  <a:cubicBezTo>
                    <a:pt x="64" y="8"/>
                    <a:pt x="64" y="8"/>
                    <a:pt x="64" y="8"/>
                  </a:cubicBezTo>
                  <a:cubicBezTo>
                    <a:pt x="67" y="16"/>
                    <a:pt x="67" y="16"/>
                    <a:pt x="67" y="16"/>
                  </a:cubicBezTo>
                  <a:lnTo>
                    <a:pt x="3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181" name="Group 4180"/>
          <p:cNvGrpSpPr/>
          <p:nvPr/>
        </p:nvGrpSpPr>
        <p:grpSpPr>
          <a:xfrm>
            <a:off x="7415332" y="2921600"/>
            <a:ext cx="378699" cy="377762"/>
            <a:chOff x="18705513" y="3698875"/>
            <a:chExt cx="1924050" cy="1919288"/>
          </a:xfrm>
          <a:solidFill>
            <a:schemeClr val="accent2"/>
          </a:solidFill>
        </p:grpSpPr>
        <p:sp>
          <p:nvSpPr>
            <p:cNvPr id="4178" name="Freeform 119"/>
            <p:cNvSpPr>
              <a:spLocks noEditPoints="1"/>
            </p:cNvSpPr>
            <p:nvPr/>
          </p:nvSpPr>
          <p:spPr bwMode="auto">
            <a:xfrm>
              <a:off x="18705513" y="4775200"/>
              <a:ext cx="1924050" cy="842963"/>
            </a:xfrm>
            <a:custGeom>
              <a:avLst/>
              <a:gdLst>
                <a:gd name="T0" fmla="*/ 504 w 513"/>
                <a:gd name="T1" fmla="*/ 15 h 225"/>
                <a:gd name="T2" fmla="*/ 402 w 513"/>
                <a:gd name="T3" fmla="*/ 34 h 225"/>
                <a:gd name="T4" fmla="*/ 381 w 513"/>
                <a:gd name="T5" fmla="*/ 24 h 225"/>
                <a:gd name="T6" fmla="*/ 287 w 513"/>
                <a:gd name="T7" fmla="*/ 68 h 225"/>
                <a:gd name="T8" fmla="*/ 229 w 513"/>
                <a:gd name="T9" fmla="*/ 62 h 225"/>
                <a:gd name="T10" fmla="*/ 99 w 513"/>
                <a:gd name="T11" fmla="*/ 13 h 225"/>
                <a:gd name="T12" fmla="*/ 2 w 513"/>
                <a:gd name="T13" fmla="*/ 25 h 225"/>
                <a:gd name="T14" fmla="*/ 96 w 513"/>
                <a:gd name="T15" fmla="*/ 29 h 225"/>
                <a:gd name="T16" fmla="*/ 227 w 513"/>
                <a:gd name="T17" fmla="*/ 78 h 225"/>
                <a:gd name="T18" fmla="*/ 317 w 513"/>
                <a:gd name="T19" fmla="*/ 90 h 225"/>
                <a:gd name="T20" fmla="*/ 369 w 513"/>
                <a:gd name="T21" fmla="*/ 146 h 225"/>
                <a:gd name="T22" fmla="*/ 306 w 513"/>
                <a:gd name="T23" fmla="*/ 141 h 225"/>
                <a:gd name="T24" fmla="*/ 169 w 513"/>
                <a:gd name="T25" fmla="*/ 141 h 225"/>
                <a:gd name="T26" fmla="*/ 173 w 513"/>
                <a:gd name="T27" fmla="*/ 156 h 225"/>
                <a:gd name="T28" fmla="*/ 271 w 513"/>
                <a:gd name="T29" fmla="*/ 149 h 225"/>
                <a:gd name="T30" fmla="*/ 339 w 513"/>
                <a:gd name="T31" fmla="*/ 166 h 225"/>
                <a:gd name="T32" fmla="*/ 13 w 513"/>
                <a:gd name="T33" fmla="*/ 112 h 225"/>
                <a:gd name="T34" fmla="*/ 5 w 513"/>
                <a:gd name="T35" fmla="*/ 127 h 225"/>
                <a:gd name="T36" fmla="*/ 369 w 513"/>
                <a:gd name="T37" fmla="*/ 166 h 225"/>
                <a:gd name="T38" fmla="*/ 505 w 513"/>
                <a:gd name="T39" fmla="*/ 57 h 225"/>
                <a:gd name="T40" fmla="*/ 513 w 513"/>
                <a:gd name="T41" fmla="*/ 27 h 225"/>
                <a:gd name="T42" fmla="*/ 496 w 513"/>
                <a:gd name="T43" fmla="*/ 28 h 225"/>
                <a:gd name="T44" fmla="*/ 454 w 513"/>
                <a:gd name="T45" fmla="*/ 35 h 225"/>
                <a:gd name="T46" fmla="*/ 360 w 513"/>
                <a:gd name="T47" fmla="*/ 89 h 225"/>
                <a:gd name="T48" fmla="*/ 377 w 513"/>
                <a:gd name="T49" fmla="*/ 67 h 225"/>
                <a:gd name="T50" fmla="*/ 443 w 513"/>
                <a:gd name="T51" fmla="*/ 29 h 225"/>
                <a:gd name="T52" fmla="*/ 380 w 513"/>
                <a:gd name="T53" fmla="*/ 40 h 225"/>
                <a:gd name="T54" fmla="*/ 370 w 513"/>
                <a:gd name="T55" fmla="*/ 53 h 225"/>
                <a:gd name="T56" fmla="*/ 320 w 513"/>
                <a:gd name="T57" fmla="*/ 74 h 225"/>
                <a:gd name="T58" fmla="*/ 323 w 513"/>
                <a:gd name="T59" fmla="*/ 67 h 225"/>
                <a:gd name="T60" fmla="*/ 390 w 513"/>
                <a:gd name="T61" fmla="*/ 133 h 225"/>
                <a:gd name="T62" fmla="*/ 374 w 513"/>
                <a:gd name="T63" fmla="*/ 99 h 225"/>
                <a:gd name="T64" fmla="*/ 460 w 513"/>
                <a:gd name="T65" fmla="*/ 50 h 225"/>
                <a:gd name="T66" fmla="*/ 490 w 513"/>
                <a:gd name="T67" fmla="*/ 5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3" h="225">
                  <a:moveTo>
                    <a:pt x="513" y="27"/>
                  </a:moveTo>
                  <a:cubicBezTo>
                    <a:pt x="512" y="22"/>
                    <a:pt x="509" y="17"/>
                    <a:pt x="504" y="15"/>
                  </a:cubicBezTo>
                  <a:cubicBezTo>
                    <a:pt x="492" y="7"/>
                    <a:pt x="463" y="0"/>
                    <a:pt x="436" y="14"/>
                  </a:cubicBezTo>
                  <a:cubicBezTo>
                    <a:pt x="424" y="20"/>
                    <a:pt x="413" y="27"/>
                    <a:pt x="402" y="34"/>
                  </a:cubicBezTo>
                  <a:cubicBezTo>
                    <a:pt x="401" y="33"/>
                    <a:pt x="401" y="33"/>
                    <a:pt x="401" y="32"/>
                  </a:cubicBezTo>
                  <a:cubicBezTo>
                    <a:pt x="397" y="27"/>
                    <a:pt x="390" y="24"/>
                    <a:pt x="381" y="24"/>
                  </a:cubicBezTo>
                  <a:cubicBezTo>
                    <a:pt x="368" y="24"/>
                    <a:pt x="346" y="36"/>
                    <a:pt x="315" y="53"/>
                  </a:cubicBezTo>
                  <a:cubicBezTo>
                    <a:pt x="306" y="59"/>
                    <a:pt x="296" y="64"/>
                    <a:pt x="287" y="68"/>
                  </a:cubicBezTo>
                  <a:cubicBezTo>
                    <a:pt x="280" y="67"/>
                    <a:pt x="274" y="67"/>
                    <a:pt x="267" y="66"/>
                  </a:cubicBezTo>
                  <a:cubicBezTo>
                    <a:pt x="257" y="65"/>
                    <a:pt x="245" y="64"/>
                    <a:pt x="229" y="62"/>
                  </a:cubicBezTo>
                  <a:cubicBezTo>
                    <a:pt x="224" y="60"/>
                    <a:pt x="219" y="57"/>
                    <a:pt x="214" y="54"/>
                  </a:cubicBezTo>
                  <a:cubicBezTo>
                    <a:pt x="178" y="33"/>
                    <a:pt x="139" y="19"/>
                    <a:pt x="99" y="13"/>
                  </a:cubicBezTo>
                  <a:cubicBezTo>
                    <a:pt x="36" y="2"/>
                    <a:pt x="7" y="14"/>
                    <a:pt x="6" y="15"/>
                  </a:cubicBezTo>
                  <a:cubicBezTo>
                    <a:pt x="2" y="17"/>
                    <a:pt x="0" y="21"/>
                    <a:pt x="2" y="25"/>
                  </a:cubicBezTo>
                  <a:cubicBezTo>
                    <a:pt x="3" y="30"/>
                    <a:pt x="8" y="31"/>
                    <a:pt x="12" y="30"/>
                  </a:cubicBezTo>
                  <a:cubicBezTo>
                    <a:pt x="12" y="30"/>
                    <a:pt x="38" y="19"/>
                    <a:pt x="96" y="29"/>
                  </a:cubicBezTo>
                  <a:cubicBezTo>
                    <a:pt x="135" y="35"/>
                    <a:pt x="172" y="48"/>
                    <a:pt x="206" y="68"/>
                  </a:cubicBezTo>
                  <a:cubicBezTo>
                    <a:pt x="215" y="74"/>
                    <a:pt x="221" y="77"/>
                    <a:pt x="227" y="78"/>
                  </a:cubicBezTo>
                  <a:cubicBezTo>
                    <a:pt x="243" y="80"/>
                    <a:pt x="255" y="81"/>
                    <a:pt x="265" y="82"/>
                  </a:cubicBezTo>
                  <a:cubicBezTo>
                    <a:pt x="283" y="83"/>
                    <a:pt x="300" y="86"/>
                    <a:pt x="317" y="90"/>
                  </a:cubicBezTo>
                  <a:cubicBezTo>
                    <a:pt x="347" y="96"/>
                    <a:pt x="366" y="109"/>
                    <a:pt x="372" y="124"/>
                  </a:cubicBezTo>
                  <a:cubicBezTo>
                    <a:pt x="375" y="132"/>
                    <a:pt x="375" y="140"/>
                    <a:pt x="369" y="146"/>
                  </a:cubicBezTo>
                  <a:cubicBezTo>
                    <a:pt x="367" y="148"/>
                    <a:pt x="365" y="149"/>
                    <a:pt x="363" y="150"/>
                  </a:cubicBezTo>
                  <a:cubicBezTo>
                    <a:pt x="351" y="155"/>
                    <a:pt x="323" y="146"/>
                    <a:pt x="306" y="141"/>
                  </a:cubicBezTo>
                  <a:cubicBezTo>
                    <a:pt x="295" y="137"/>
                    <a:pt x="284" y="134"/>
                    <a:pt x="272" y="133"/>
                  </a:cubicBezTo>
                  <a:cubicBezTo>
                    <a:pt x="238" y="132"/>
                    <a:pt x="203" y="134"/>
                    <a:pt x="169" y="141"/>
                  </a:cubicBezTo>
                  <a:cubicBezTo>
                    <a:pt x="165" y="141"/>
                    <a:pt x="162" y="146"/>
                    <a:pt x="163" y="150"/>
                  </a:cubicBezTo>
                  <a:cubicBezTo>
                    <a:pt x="164" y="154"/>
                    <a:pt x="168" y="157"/>
                    <a:pt x="173" y="156"/>
                  </a:cubicBezTo>
                  <a:cubicBezTo>
                    <a:pt x="173" y="156"/>
                    <a:pt x="173" y="156"/>
                    <a:pt x="173" y="156"/>
                  </a:cubicBezTo>
                  <a:cubicBezTo>
                    <a:pt x="205" y="150"/>
                    <a:pt x="238" y="148"/>
                    <a:pt x="271" y="149"/>
                  </a:cubicBezTo>
                  <a:cubicBezTo>
                    <a:pt x="282" y="151"/>
                    <a:pt x="292" y="153"/>
                    <a:pt x="302" y="156"/>
                  </a:cubicBezTo>
                  <a:cubicBezTo>
                    <a:pt x="315" y="160"/>
                    <a:pt x="328" y="164"/>
                    <a:pt x="339" y="166"/>
                  </a:cubicBezTo>
                  <a:cubicBezTo>
                    <a:pt x="299" y="190"/>
                    <a:pt x="261" y="209"/>
                    <a:pt x="244" y="209"/>
                  </a:cubicBezTo>
                  <a:cubicBezTo>
                    <a:pt x="209" y="209"/>
                    <a:pt x="65" y="139"/>
                    <a:pt x="13" y="112"/>
                  </a:cubicBezTo>
                  <a:cubicBezTo>
                    <a:pt x="9" y="110"/>
                    <a:pt x="4" y="112"/>
                    <a:pt x="2" y="116"/>
                  </a:cubicBezTo>
                  <a:cubicBezTo>
                    <a:pt x="0" y="120"/>
                    <a:pt x="2" y="124"/>
                    <a:pt x="5" y="127"/>
                  </a:cubicBezTo>
                  <a:cubicBezTo>
                    <a:pt x="13" y="131"/>
                    <a:pt x="198" y="225"/>
                    <a:pt x="244" y="225"/>
                  </a:cubicBezTo>
                  <a:cubicBezTo>
                    <a:pt x="267" y="225"/>
                    <a:pt x="318" y="198"/>
                    <a:pt x="369" y="166"/>
                  </a:cubicBezTo>
                  <a:cubicBezTo>
                    <a:pt x="374" y="163"/>
                    <a:pt x="377" y="161"/>
                    <a:pt x="381" y="158"/>
                  </a:cubicBezTo>
                  <a:cubicBezTo>
                    <a:pt x="441" y="119"/>
                    <a:pt x="498" y="73"/>
                    <a:pt x="505" y="57"/>
                  </a:cubicBezTo>
                  <a:cubicBezTo>
                    <a:pt x="507" y="53"/>
                    <a:pt x="508" y="49"/>
                    <a:pt x="508" y="44"/>
                  </a:cubicBezTo>
                  <a:cubicBezTo>
                    <a:pt x="512" y="39"/>
                    <a:pt x="513" y="33"/>
                    <a:pt x="513" y="27"/>
                  </a:cubicBezTo>
                  <a:close/>
                  <a:moveTo>
                    <a:pt x="443" y="29"/>
                  </a:moveTo>
                  <a:cubicBezTo>
                    <a:pt x="464" y="18"/>
                    <a:pt x="487" y="23"/>
                    <a:pt x="496" y="28"/>
                  </a:cubicBezTo>
                  <a:cubicBezTo>
                    <a:pt x="496" y="28"/>
                    <a:pt x="497" y="29"/>
                    <a:pt x="497" y="29"/>
                  </a:cubicBezTo>
                  <a:cubicBezTo>
                    <a:pt x="488" y="26"/>
                    <a:pt x="473" y="28"/>
                    <a:pt x="454" y="35"/>
                  </a:cubicBezTo>
                  <a:cubicBezTo>
                    <a:pt x="441" y="40"/>
                    <a:pt x="428" y="47"/>
                    <a:pt x="415" y="56"/>
                  </a:cubicBezTo>
                  <a:cubicBezTo>
                    <a:pt x="404" y="63"/>
                    <a:pt x="388" y="73"/>
                    <a:pt x="360" y="89"/>
                  </a:cubicBezTo>
                  <a:cubicBezTo>
                    <a:pt x="356" y="86"/>
                    <a:pt x="351" y="84"/>
                    <a:pt x="346" y="82"/>
                  </a:cubicBezTo>
                  <a:cubicBezTo>
                    <a:pt x="358" y="77"/>
                    <a:pt x="371" y="70"/>
                    <a:pt x="377" y="67"/>
                  </a:cubicBezTo>
                  <a:cubicBezTo>
                    <a:pt x="384" y="63"/>
                    <a:pt x="393" y="58"/>
                    <a:pt x="402" y="53"/>
                  </a:cubicBezTo>
                  <a:cubicBezTo>
                    <a:pt x="414" y="45"/>
                    <a:pt x="429" y="36"/>
                    <a:pt x="443" y="29"/>
                  </a:cubicBezTo>
                  <a:close/>
                  <a:moveTo>
                    <a:pt x="323" y="67"/>
                  </a:moveTo>
                  <a:cubicBezTo>
                    <a:pt x="341" y="57"/>
                    <a:pt x="371" y="41"/>
                    <a:pt x="380" y="40"/>
                  </a:cubicBezTo>
                  <a:cubicBezTo>
                    <a:pt x="383" y="40"/>
                    <a:pt x="387" y="40"/>
                    <a:pt x="390" y="41"/>
                  </a:cubicBezTo>
                  <a:cubicBezTo>
                    <a:pt x="382" y="46"/>
                    <a:pt x="375" y="50"/>
                    <a:pt x="370" y="53"/>
                  </a:cubicBezTo>
                  <a:cubicBezTo>
                    <a:pt x="361" y="58"/>
                    <a:pt x="332" y="71"/>
                    <a:pt x="323" y="75"/>
                  </a:cubicBezTo>
                  <a:cubicBezTo>
                    <a:pt x="320" y="74"/>
                    <a:pt x="320" y="74"/>
                    <a:pt x="320" y="74"/>
                  </a:cubicBezTo>
                  <a:cubicBezTo>
                    <a:pt x="313" y="73"/>
                    <a:pt x="313" y="73"/>
                    <a:pt x="313" y="73"/>
                  </a:cubicBezTo>
                  <a:cubicBezTo>
                    <a:pt x="316" y="71"/>
                    <a:pt x="319" y="69"/>
                    <a:pt x="323" y="67"/>
                  </a:cubicBezTo>
                  <a:close/>
                  <a:moveTo>
                    <a:pt x="491" y="51"/>
                  </a:moveTo>
                  <a:cubicBezTo>
                    <a:pt x="485" y="63"/>
                    <a:pt x="441" y="99"/>
                    <a:pt x="390" y="133"/>
                  </a:cubicBezTo>
                  <a:cubicBezTo>
                    <a:pt x="390" y="128"/>
                    <a:pt x="389" y="123"/>
                    <a:pt x="387" y="118"/>
                  </a:cubicBezTo>
                  <a:cubicBezTo>
                    <a:pt x="384" y="111"/>
                    <a:pt x="380" y="104"/>
                    <a:pt x="374" y="99"/>
                  </a:cubicBezTo>
                  <a:cubicBezTo>
                    <a:pt x="399" y="86"/>
                    <a:pt x="413" y="76"/>
                    <a:pt x="424" y="69"/>
                  </a:cubicBezTo>
                  <a:cubicBezTo>
                    <a:pt x="435" y="61"/>
                    <a:pt x="447" y="55"/>
                    <a:pt x="460" y="50"/>
                  </a:cubicBezTo>
                  <a:cubicBezTo>
                    <a:pt x="483" y="41"/>
                    <a:pt x="491" y="43"/>
                    <a:pt x="492" y="44"/>
                  </a:cubicBezTo>
                  <a:cubicBezTo>
                    <a:pt x="492" y="46"/>
                    <a:pt x="492" y="49"/>
                    <a:pt x="490" y="51"/>
                  </a:cubicBezTo>
                  <a:lnTo>
                    <a:pt x="49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79" name="Freeform 120"/>
            <p:cNvSpPr>
              <a:spLocks noEditPoints="1"/>
            </p:cNvSpPr>
            <p:nvPr/>
          </p:nvSpPr>
          <p:spPr bwMode="auto">
            <a:xfrm>
              <a:off x="19129376" y="3698875"/>
              <a:ext cx="1079500" cy="1079500"/>
            </a:xfrm>
            <a:custGeom>
              <a:avLst/>
              <a:gdLst>
                <a:gd name="T0" fmla="*/ 144 w 288"/>
                <a:gd name="T1" fmla="*/ 288 h 288"/>
                <a:gd name="T2" fmla="*/ 288 w 288"/>
                <a:gd name="T3" fmla="*/ 144 h 288"/>
                <a:gd name="T4" fmla="*/ 144 w 288"/>
                <a:gd name="T5" fmla="*/ 0 h 288"/>
                <a:gd name="T6" fmla="*/ 0 w 288"/>
                <a:gd name="T7" fmla="*/ 144 h 288"/>
                <a:gd name="T8" fmla="*/ 144 w 288"/>
                <a:gd name="T9" fmla="*/ 288 h 288"/>
                <a:gd name="T10" fmla="*/ 136 w 288"/>
                <a:gd name="T11" fmla="*/ 16 h 288"/>
                <a:gd name="T12" fmla="*/ 136 w 288"/>
                <a:gd name="T13" fmla="*/ 26 h 288"/>
                <a:gd name="T14" fmla="*/ 144 w 288"/>
                <a:gd name="T15" fmla="*/ 34 h 288"/>
                <a:gd name="T16" fmla="*/ 152 w 288"/>
                <a:gd name="T17" fmla="*/ 26 h 288"/>
                <a:gd name="T18" fmla="*/ 152 w 288"/>
                <a:gd name="T19" fmla="*/ 16 h 288"/>
                <a:gd name="T20" fmla="*/ 272 w 288"/>
                <a:gd name="T21" fmla="*/ 136 h 288"/>
                <a:gd name="T22" fmla="*/ 262 w 288"/>
                <a:gd name="T23" fmla="*/ 136 h 288"/>
                <a:gd name="T24" fmla="*/ 254 w 288"/>
                <a:gd name="T25" fmla="*/ 144 h 288"/>
                <a:gd name="T26" fmla="*/ 262 w 288"/>
                <a:gd name="T27" fmla="*/ 152 h 288"/>
                <a:gd name="T28" fmla="*/ 272 w 288"/>
                <a:gd name="T29" fmla="*/ 152 h 288"/>
                <a:gd name="T30" fmla="*/ 152 w 288"/>
                <a:gd name="T31" fmla="*/ 272 h 288"/>
                <a:gd name="T32" fmla="*/ 152 w 288"/>
                <a:gd name="T33" fmla="*/ 262 h 288"/>
                <a:gd name="T34" fmla="*/ 144 w 288"/>
                <a:gd name="T35" fmla="*/ 254 h 288"/>
                <a:gd name="T36" fmla="*/ 136 w 288"/>
                <a:gd name="T37" fmla="*/ 262 h 288"/>
                <a:gd name="T38" fmla="*/ 136 w 288"/>
                <a:gd name="T39" fmla="*/ 272 h 288"/>
                <a:gd name="T40" fmla="*/ 16 w 288"/>
                <a:gd name="T41" fmla="*/ 152 h 288"/>
                <a:gd name="T42" fmla="*/ 26 w 288"/>
                <a:gd name="T43" fmla="*/ 152 h 288"/>
                <a:gd name="T44" fmla="*/ 34 w 288"/>
                <a:gd name="T45" fmla="*/ 144 h 288"/>
                <a:gd name="T46" fmla="*/ 26 w 288"/>
                <a:gd name="T47" fmla="*/ 136 h 288"/>
                <a:gd name="T48" fmla="*/ 16 w 288"/>
                <a:gd name="T49" fmla="*/ 136 h 288"/>
                <a:gd name="T50" fmla="*/ 136 w 288"/>
                <a:gd name="T51" fmla="*/ 1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8" h="288">
                  <a:moveTo>
                    <a:pt x="144" y="288"/>
                  </a:moveTo>
                  <a:cubicBezTo>
                    <a:pt x="224" y="288"/>
                    <a:pt x="288" y="224"/>
                    <a:pt x="288" y="144"/>
                  </a:cubicBezTo>
                  <a:cubicBezTo>
                    <a:pt x="288" y="64"/>
                    <a:pt x="224" y="0"/>
                    <a:pt x="144" y="0"/>
                  </a:cubicBezTo>
                  <a:cubicBezTo>
                    <a:pt x="64" y="0"/>
                    <a:pt x="0" y="64"/>
                    <a:pt x="0" y="144"/>
                  </a:cubicBezTo>
                  <a:cubicBezTo>
                    <a:pt x="0" y="224"/>
                    <a:pt x="64" y="288"/>
                    <a:pt x="144" y="288"/>
                  </a:cubicBezTo>
                  <a:close/>
                  <a:moveTo>
                    <a:pt x="136" y="16"/>
                  </a:moveTo>
                  <a:cubicBezTo>
                    <a:pt x="136" y="26"/>
                    <a:pt x="136" y="26"/>
                    <a:pt x="136" y="26"/>
                  </a:cubicBezTo>
                  <a:cubicBezTo>
                    <a:pt x="136" y="31"/>
                    <a:pt x="140" y="34"/>
                    <a:pt x="144" y="34"/>
                  </a:cubicBezTo>
                  <a:cubicBezTo>
                    <a:pt x="148" y="34"/>
                    <a:pt x="152" y="31"/>
                    <a:pt x="152" y="26"/>
                  </a:cubicBezTo>
                  <a:cubicBezTo>
                    <a:pt x="152" y="16"/>
                    <a:pt x="152" y="16"/>
                    <a:pt x="152" y="16"/>
                  </a:cubicBezTo>
                  <a:cubicBezTo>
                    <a:pt x="216" y="20"/>
                    <a:pt x="268" y="72"/>
                    <a:pt x="272" y="136"/>
                  </a:cubicBezTo>
                  <a:cubicBezTo>
                    <a:pt x="262" y="136"/>
                    <a:pt x="262" y="136"/>
                    <a:pt x="262" y="136"/>
                  </a:cubicBezTo>
                  <a:cubicBezTo>
                    <a:pt x="257" y="136"/>
                    <a:pt x="254" y="140"/>
                    <a:pt x="254" y="144"/>
                  </a:cubicBezTo>
                  <a:cubicBezTo>
                    <a:pt x="254" y="148"/>
                    <a:pt x="257" y="152"/>
                    <a:pt x="262" y="152"/>
                  </a:cubicBezTo>
                  <a:cubicBezTo>
                    <a:pt x="272" y="152"/>
                    <a:pt x="272" y="152"/>
                    <a:pt x="272" y="152"/>
                  </a:cubicBezTo>
                  <a:cubicBezTo>
                    <a:pt x="268" y="216"/>
                    <a:pt x="216" y="268"/>
                    <a:pt x="152" y="272"/>
                  </a:cubicBezTo>
                  <a:cubicBezTo>
                    <a:pt x="152" y="262"/>
                    <a:pt x="152" y="262"/>
                    <a:pt x="152" y="262"/>
                  </a:cubicBezTo>
                  <a:cubicBezTo>
                    <a:pt x="152" y="257"/>
                    <a:pt x="148" y="254"/>
                    <a:pt x="144" y="254"/>
                  </a:cubicBezTo>
                  <a:cubicBezTo>
                    <a:pt x="140" y="254"/>
                    <a:pt x="136" y="257"/>
                    <a:pt x="136" y="262"/>
                  </a:cubicBezTo>
                  <a:cubicBezTo>
                    <a:pt x="136" y="272"/>
                    <a:pt x="136" y="272"/>
                    <a:pt x="136" y="272"/>
                  </a:cubicBezTo>
                  <a:cubicBezTo>
                    <a:pt x="72" y="268"/>
                    <a:pt x="20" y="216"/>
                    <a:pt x="16" y="152"/>
                  </a:cubicBezTo>
                  <a:cubicBezTo>
                    <a:pt x="26" y="152"/>
                    <a:pt x="26" y="152"/>
                    <a:pt x="26" y="152"/>
                  </a:cubicBezTo>
                  <a:cubicBezTo>
                    <a:pt x="31" y="152"/>
                    <a:pt x="34" y="148"/>
                    <a:pt x="34" y="144"/>
                  </a:cubicBezTo>
                  <a:cubicBezTo>
                    <a:pt x="34" y="140"/>
                    <a:pt x="31" y="136"/>
                    <a:pt x="26" y="136"/>
                  </a:cubicBezTo>
                  <a:cubicBezTo>
                    <a:pt x="16" y="136"/>
                    <a:pt x="16" y="136"/>
                    <a:pt x="16" y="136"/>
                  </a:cubicBezTo>
                  <a:cubicBezTo>
                    <a:pt x="20" y="72"/>
                    <a:pt x="72" y="20"/>
                    <a:pt x="13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80" name="Freeform 121"/>
            <p:cNvSpPr>
              <a:spLocks noEditPoints="1"/>
            </p:cNvSpPr>
            <p:nvPr/>
          </p:nvSpPr>
          <p:spPr bwMode="auto">
            <a:xfrm>
              <a:off x="19511963" y="3900488"/>
              <a:ext cx="250825" cy="611188"/>
            </a:xfrm>
            <a:custGeom>
              <a:avLst/>
              <a:gdLst>
                <a:gd name="T0" fmla="*/ 5 w 67"/>
                <a:gd name="T1" fmla="*/ 162 h 163"/>
                <a:gd name="T2" fmla="*/ 9 w 67"/>
                <a:gd name="T3" fmla="*/ 163 h 163"/>
                <a:gd name="T4" fmla="*/ 16 w 67"/>
                <a:gd name="T5" fmla="*/ 158 h 163"/>
                <a:gd name="T6" fmla="*/ 38 w 67"/>
                <a:gd name="T7" fmla="*/ 114 h 163"/>
                <a:gd name="T8" fmla="*/ 42 w 67"/>
                <a:gd name="T9" fmla="*/ 115 h 163"/>
                <a:gd name="T10" fmla="*/ 66 w 67"/>
                <a:gd name="T11" fmla="*/ 90 h 163"/>
                <a:gd name="T12" fmla="*/ 50 w 67"/>
                <a:gd name="T13" fmla="*/ 67 h 163"/>
                <a:gd name="T14" fmla="*/ 50 w 67"/>
                <a:gd name="T15" fmla="*/ 8 h 163"/>
                <a:gd name="T16" fmla="*/ 42 w 67"/>
                <a:gd name="T17" fmla="*/ 0 h 163"/>
                <a:gd name="T18" fmla="*/ 34 w 67"/>
                <a:gd name="T19" fmla="*/ 8 h 163"/>
                <a:gd name="T20" fmla="*/ 34 w 67"/>
                <a:gd name="T21" fmla="*/ 67 h 163"/>
                <a:gd name="T22" fmla="*/ 19 w 67"/>
                <a:gd name="T23" fmla="*/ 98 h 163"/>
                <a:gd name="T24" fmla="*/ 24 w 67"/>
                <a:gd name="T25" fmla="*/ 107 h 163"/>
                <a:gd name="T26" fmla="*/ 1 w 67"/>
                <a:gd name="T27" fmla="*/ 151 h 163"/>
                <a:gd name="T28" fmla="*/ 5 w 67"/>
                <a:gd name="T29" fmla="*/ 162 h 163"/>
                <a:gd name="T30" fmla="*/ 42 w 67"/>
                <a:gd name="T31" fmla="*/ 81 h 163"/>
                <a:gd name="T32" fmla="*/ 51 w 67"/>
                <a:gd name="T33" fmla="*/ 90 h 163"/>
                <a:gd name="T34" fmla="*/ 42 w 67"/>
                <a:gd name="T35" fmla="*/ 99 h 163"/>
                <a:gd name="T36" fmla="*/ 33 w 67"/>
                <a:gd name="T37" fmla="*/ 90 h 163"/>
                <a:gd name="T38" fmla="*/ 42 w 67"/>
                <a:gd name="T39" fmla="*/ 8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163">
                  <a:moveTo>
                    <a:pt x="5" y="162"/>
                  </a:moveTo>
                  <a:cubicBezTo>
                    <a:pt x="6" y="162"/>
                    <a:pt x="7" y="163"/>
                    <a:pt x="9" y="163"/>
                  </a:cubicBezTo>
                  <a:cubicBezTo>
                    <a:pt x="12" y="163"/>
                    <a:pt x="14" y="161"/>
                    <a:pt x="16" y="158"/>
                  </a:cubicBezTo>
                  <a:cubicBezTo>
                    <a:pt x="38" y="114"/>
                    <a:pt x="38" y="114"/>
                    <a:pt x="38" y="114"/>
                  </a:cubicBezTo>
                  <a:cubicBezTo>
                    <a:pt x="40" y="114"/>
                    <a:pt x="41" y="115"/>
                    <a:pt x="42" y="115"/>
                  </a:cubicBezTo>
                  <a:cubicBezTo>
                    <a:pt x="56" y="114"/>
                    <a:pt x="67" y="103"/>
                    <a:pt x="66" y="90"/>
                  </a:cubicBezTo>
                  <a:cubicBezTo>
                    <a:pt x="66" y="79"/>
                    <a:pt x="60" y="70"/>
                    <a:pt x="50" y="67"/>
                  </a:cubicBezTo>
                  <a:cubicBezTo>
                    <a:pt x="50" y="8"/>
                    <a:pt x="50" y="8"/>
                    <a:pt x="50" y="8"/>
                  </a:cubicBezTo>
                  <a:cubicBezTo>
                    <a:pt x="50" y="4"/>
                    <a:pt x="46" y="0"/>
                    <a:pt x="42" y="0"/>
                  </a:cubicBezTo>
                  <a:cubicBezTo>
                    <a:pt x="38" y="0"/>
                    <a:pt x="34" y="4"/>
                    <a:pt x="34" y="8"/>
                  </a:cubicBezTo>
                  <a:cubicBezTo>
                    <a:pt x="34" y="67"/>
                    <a:pt x="34" y="67"/>
                    <a:pt x="34" y="67"/>
                  </a:cubicBezTo>
                  <a:cubicBezTo>
                    <a:pt x="21" y="71"/>
                    <a:pt x="14" y="85"/>
                    <a:pt x="19" y="98"/>
                  </a:cubicBezTo>
                  <a:cubicBezTo>
                    <a:pt x="20" y="101"/>
                    <a:pt x="22" y="104"/>
                    <a:pt x="24" y="107"/>
                  </a:cubicBezTo>
                  <a:cubicBezTo>
                    <a:pt x="1" y="151"/>
                    <a:pt x="1" y="151"/>
                    <a:pt x="1" y="151"/>
                  </a:cubicBezTo>
                  <a:cubicBezTo>
                    <a:pt x="0" y="155"/>
                    <a:pt x="1" y="160"/>
                    <a:pt x="5" y="162"/>
                  </a:cubicBezTo>
                  <a:close/>
                  <a:moveTo>
                    <a:pt x="42" y="81"/>
                  </a:moveTo>
                  <a:cubicBezTo>
                    <a:pt x="47" y="81"/>
                    <a:pt x="51" y="85"/>
                    <a:pt x="51" y="90"/>
                  </a:cubicBezTo>
                  <a:cubicBezTo>
                    <a:pt x="51" y="95"/>
                    <a:pt x="47" y="99"/>
                    <a:pt x="42" y="99"/>
                  </a:cubicBezTo>
                  <a:cubicBezTo>
                    <a:pt x="37" y="99"/>
                    <a:pt x="33" y="95"/>
                    <a:pt x="33" y="90"/>
                  </a:cubicBezTo>
                  <a:cubicBezTo>
                    <a:pt x="33" y="85"/>
                    <a:pt x="37" y="81"/>
                    <a:pt x="42"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188" name="Group 4187"/>
          <p:cNvGrpSpPr/>
          <p:nvPr/>
        </p:nvGrpSpPr>
        <p:grpSpPr>
          <a:xfrm>
            <a:off x="7451513" y="3562985"/>
            <a:ext cx="306336" cy="306400"/>
            <a:chOff x="18876963" y="930275"/>
            <a:chExt cx="7620000" cy="7621588"/>
          </a:xfrm>
          <a:solidFill>
            <a:schemeClr val="accent2"/>
          </a:solidFill>
        </p:grpSpPr>
        <p:sp>
          <p:nvSpPr>
            <p:cNvPr id="4184" name="Freeform 126"/>
            <p:cNvSpPr>
              <a:spLocks noEditPoints="1"/>
            </p:cNvSpPr>
            <p:nvPr/>
          </p:nvSpPr>
          <p:spPr bwMode="auto">
            <a:xfrm>
              <a:off x="18876963" y="930275"/>
              <a:ext cx="7620000" cy="7621588"/>
            </a:xfrm>
            <a:custGeom>
              <a:avLst/>
              <a:gdLst>
                <a:gd name="T0" fmla="*/ 1863 w 2032"/>
                <a:gd name="T1" fmla="*/ 0 h 2032"/>
                <a:gd name="T2" fmla="*/ 169 w 2032"/>
                <a:gd name="T3" fmla="*/ 0 h 2032"/>
                <a:gd name="T4" fmla="*/ 0 w 2032"/>
                <a:gd name="T5" fmla="*/ 169 h 2032"/>
                <a:gd name="T6" fmla="*/ 0 w 2032"/>
                <a:gd name="T7" fmla="*/ 1862 h 2032"/>
                <a:gd name="T8" fmla="*/ 169 w 2032"/>
                <a:gd name="T9" fmla="*/ 2032 h 2032"/>
                <a:gd name="T10" fmla="*/ 1862 w 2032"/>
                <a:gd name="T11" fmla="*/ 2032 h 2032"/>
                <a:gd name="T12" fmla="*/ 2032 w 2032"/>
                <a:gd name="T13" fmla="*/ 1863 h 2032"/>
                <a:gd name="T14" fmla="*/ 2032 w 2032"/>
                <a:gd name="T15" fmla="*/ 169 h 2032"/>
                <a:gd name="T16" fmla="*/ 1863 w 2032"/>
                <a:gd name="T17" fmla="*/ 0 h 2032"/>
                <a:gd name="T18" fmla="*/ 1919 w 2032"/>
                <a:gd name="T19" fmla="*/ 1863 h 2032"/>
                <a:gd name="T20" fmla="*/ 1863 w 2032"/>
                <a:gd name="T21" fmla="*/ 1919 h 2032"/>
                <a:gd name="T22" fmla="*/ 169 w 2032"/>
                <a:gd name="T23" fmla="*/ 1919 h 2032"/>
                <a:gd name="T24" fmla="*/ 113 w 2032"/>
                <a:gd name="T25" fmla="*/ 1863 h 2032"/>
                <a:gd name="T26" fmla="*/ 113 w 2032"/>
                <a:gd name="T27" fmla="*/ 662 h 2032"/>
                <a:gd name="T28" fmla="*/ 290 w 2032"/>
                <a:gd name="T29" fmla="*/ 662 h 2032"/>
                <a:gd name="T30" fmla="*/ 346 w 2032"/>
                <a:gd name="T31" fmla="*/ 606 h 2032"/>
                <a:gd name="T32" fmla="*/ 290 w 2032"/>
                <a:gd name="T33" fmla="*/ 550 h 2032"/>
                <a:gd name="T34" fmla="*/ 113 w 2032"/>
                <a:gd name="T35" fmla="*/ 550 h 2032"/>
                <a:gd name="T36" fmla="*/ 113 w 2032"/>
                <a:gd name="T37" fmla="*/ 389 h 2032"/>
                <a:gd name="T38" fmla="*/ 391 w 2032"/>
                <a:gd name="T39" fmla="*/ 389 h 2032"/>
                <a:gd name="T40" fmla="*/ 447 w 2032"/>
                <a:gd name="T41" fmla="*/ 332 h 2032"/>
                <a:gd name="T42" fmla="*/ 391 w 2032"/>
                <a:gd name="T43" fmla="*/ 276 h 2032"/>
                <a:gd name="T44" fmla="*/ 113 w 2032"/>
                <a:gd name="T45" fmla="*/ 276 h 2032"/>
                <a:gd name="T46" fmla="*/ 113 w 2032"/>
                <a:gd name="T47" fmla="*/ 169 h 2032"/>
                <a:gd name="T48" fmla="*/ 169 w 2032"/>
                <a:gd name="T49" fmla="*/ 113 h 2032"/>
                <a:gd name="T50" fmla="*/ 1862 w 2032"/>
                <a:gd name="T51" fmla="*/ 113 h 2032"/>
                <a:gd name="T52" fmla="*/ 1919 w 2032"/>
                <a:gd name="T53" fmla="*/ 169 h 2032"/>
                <a:gd name="T54" fmla="*/ 1919 w 2032"/>
                <a:gd name="T55" fmla="*/ 1863 h 2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32" h="2032">
                  <a:moveTo>
                    <a:pt x="1863" y="0"/>
                  </a:moveTo>
                  <a:cubicBezTo>
                    <a:pt x="169" y="0"/>
                    <a:pt x="169" y="0"/>
                    <a:pt x="169" y="0"/>
                  </a:cubicBezTo>
                  <a:cubicBezTo>
                    <a:pt x="76" y="0"/>
                    <a:pt x="0" y="76"/>
                    <a:pt x="0" y="169"/>
                  </a:cubicBezTo>
                  <a:cubicBezTo>
                    <a:pt x="0" y="1862"/>
                    <a:pt x="0" y="1862"/>
                    <a:pt x="0" y="1862"/>
                  </a:cubicBezTo>
                  <a:cubicBezTo>
                    <a:pt x="0" y="1956"/>
                    <a:pt x="76" y="2032"/>
                    <a:pt x="169" y="2032"/>
                  </a:cubicBezTo>
                  <a:cubicBezTo>
                    <a:pt x="1862" y="2032"/>
                    <a:pt x="1862" y="2032"/>
                    <a:pt x="1862" y="2032"/>
                  </a:cubicBezTo>
                  <a:cubicBezTo>
                    <a:pt x="1956" y="2032"/>
                    <a:pt x="2032" y="1956"/>
                    <a:pt x="2032" y="1863"/>
                  </a:cubicBezTo>
                  <a:cubicBezTo>
                    <a:pt x="2032" y="169"/>
                    <a:pt x="2032" y="169"/>
                    <a:pt x="2032" y="169"/>
                  </a:cubicBezTo>
                  <a:cubicBezTo>
                    <a:pt x="2032" y="76"/>
                    <a:pt x="1956" y="0"/>
                    <a:pt x="1863" y="0"/>
                  </a:cubicBezTo>
                  <a:close/>
                  <a:moveTo>
                    <a:pt x="1919" y="1863"/>
                  </a:moveTo>
                  <a:cubicBezTo>
                    <a:pt x="1919" y="1894"/>
                    <a:pt x="1894" y="1919"/>
                    <a:pt x="1863" y="1919"/>
                  </a:cubicBezTo>
                  <a:cubicBezTo>
                    <a:pt x="169" y="1919"/>
                    <a:pt x="169" y="1919"/>
                    <a:pt x="169" y="1919"/>
                  </a:cubicBezTo>
                  <a:cubicBezTo>
                    <a:pt x="138" y="1919"/>
                    <a:pt x="113" y="1894"/>
                    <a:pt x="113" y="1863"/>
                  </a:cubicBezTo>
                  <a:cubicBezTo>
                    <a:pt x="113" y="662"/>
                    <a:pt x="113" y="662"/>
                    <a:pt x="113" y="662"/>
                  </a:cubicBezTo>
                  <a:cubicBezTo>
                    <a:pt x="290" y="662"/>
                    <a:pt x="290" y="662"/>
                    <a:pt x="290" y="662"/>
                  </a:cubicBezTo>
                  <a:cubicBezTo>
                    <a:pt x="321" y="662"/>
                    <a:pt x="346" y="637"/>
                    <a:pt x="346" y="606"/>
                  </a:cubicBezTo>
                  <a:cubicBezTo>
                    <a:pt x="346" y="575"/>
                    <a:pt x="321" y="550"/>
                    <a:pt x="290" y="550"/>
                  </a:cubicBezTo>
                  <a:cubicBezTo>
                    <a:pt x="113" y="550"/>
                    <a:pt x="113" y="550"/>
                    <a:pt x="113" y="550"/>
                  </a:cubicBezTo>
                  <a:cubicBezTo>
                    <a:pt x="113" y="389"/>
                    <a:pt x="113" y="389"/>
                    <a:pt x="113" y="389"/>
                  </a:cubicBezTo>
                  <a:cubicBezTo>
                    <a:pt x="391" y="389"/>
                    <a:pt x="391" y="389"/>
                    <a:pt x="391" y="389"/>
                  </a:cubicBezTo>
                  <a:cubicBezTo>
                    <a:pt x="422" y="389"/>
                    <a:pt x="447" y="364"/>
                    <a:pt x="447" y="332"/>
                  </a:cubicBezTo>
                  <a:cubicBezTo>
                    <a:pt x="447" y="301"/>
                    <a:pt x="422" y="276"/>
                    <a:pt x="391" y="276"/>
                  </a:cubicBezTo>
                  <a:cubicBezTo>
                    <a:pt x="113" y="276"/>
                    <a:pt x="113" y="276"/>
                    <a:pt x="113" y="276"/>
                  </a:cubicBezTo>
                  <a:cubicBezTo>
                    <a:pt x="113" y="169"/>
                    <a:pt x="113" y="169"/>
                    <a:pt x="113" y="169"/>
                  </a:cubicBezTo>
                  <a:cubicBezTo>
                    <a:pt x="113" y="138"/>
                    <a:pt x="138" y="113"/>
                    <a:pt x="169" y="113"/>
                  </a:cubicBezTo>
                  <a:cubicBezTo>
                    <a:pt x="1862" y="113"/>
                    <a:pt x="1862" y="113"/>
                    <a:pt x="1862" y="113"/>
                  </a:cubicBezTo>
                  <a:cubicBezTo>
                    <a:pt x="1894" y="113"/>
                    <a:pt x="1919" y="138"/>
                    <a:pt x="1919" y="169"/>
                  </a:cubicBezTo>
                  <a:cubicBezTo>
                    <a:pt x="1919" y="1863"/>
                    <a:pt x="1919" y="1863"/>
                    <a:pt x="1919" y="18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85" name="Freeform 127"/>
            <p:cNvSpPr>
              <a:spLocks noEditPoints="1"/>
            </p:cNvSpPr>
            <p:nvPr/>
          </p:nvSpPr>
          <p:spPr bwMode="auto">
            <a:xfrm>
              <a:off x="20294601" y="1884363"/>
              <a:ext cx="4784725" cy="5715000"/>
            </a:xfrm>
            <a:custGeom>
              <a:avLst/>
              <a:gdLst>
                <a:gd name="T0" fmla="*/ 694 w 1276"/>
                <a:gd name="T1" fmla="*/ 127 h 1524"/>
                <a:gd name="T2" fmla="*/ 694 w 1276"/>
                <a:gd name="T3" fmla="*/ 56 h 1524"/>
                <a:gd name="T4" fmla="*/ 638 w 1276"/>
                <a:gd name="T5" fmla="*/ 0 h 1524"/>
                <a:gd name="T6" fmla="*/ 582 w 1276"/>
                <a:gd name="T7" fmla="*/ 56 h 1524"/>
                <a:gd name="T8" fmla="*/ 582 w 1276"/>
                <a:gd name="T9" fmla="*/ 127 h 1524"/>
                <a:gd name="T10" fmla="*/ 0 w 1276"/>
                <a:gd name="T11" fmla="*/ 762 h 1524"/>
                <a:gd name="T12" fmla="*/ 582 w 1276"/>
                <a:gd name="T13" fmla="*/ 1397 h 1524"/>
                <a:gd name="T14" fmla="*/ 582 w 1276"/>
                <a:gd name="T15" fmla="*/ 1467 h 1524"/>
                <a:gd name="T16" fmla="*/ 638 w 1276"/>
                <a:gd name="T17" fmla="*/ 1524 h 1524"/>
                <a:gd name="T18" fmla="*/ 694 w 1276"/>
                <a:gd name="T19" fmla="*/ 1467 h 1524"/>
                <a:gd name="T20" fmla="*/ 694 w 1276"/>
                <a:gd name="T21" fmla="*/ 1397 h 1524"/>
                <a:gd name="T22" fmla="*/ 1276 w 1276"/>
                <a:gd name="T23" fmla="*/ 762 h 1524"/>
                <a:gd name="T24" fmla="*/ 694 w 1276"/>
                <a:gd name="T25" fmla="*/ 127 h 1524"/>
                <a:gd name="T26" fmla="*/ 638 w 1276"/>
                <a:gd name="T27" fmla="*/ 1287 h 1524"/>
                <a:gd name="T28" fmla="*/ 113 w 1276"/>
                <a:gd name="T29" fmla="*/ 762 h 1524"/>
                <a:gd name="T30" fmla="*/ 638 w 1276"/>
                <a:gd name="T31" fmla="*/ 237 h 1524"/>
                <a:gd name="T32" fmla="*/ 1163 w 1276"/>
                <a:gd name="T33" fmla="*/ 762 h 1524"/>
                <a:gd name="T34" fmla="*/ 638 w 1276"/>
                <a:gd name="T35" fmla="*/ 1287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6" h="1524">
                  <a:moveTo>
                    <a:pt x="694" y="127"/>
                  </a:moveTo>
                  <a:cubicBezTo>
                    <a:pt x="694" y="56"/>
                    <a:pt x="694" y="56"/>
                    <a:pt x="694" y="56"/>
                  </a:cubicBezTo>
                  <a:cubicBezTo>
                    <a:pt x="694" y="25"/>
                    <a:pt x="669" y="0"/>
                    <a:pt x="638" y="0"/>
                  </a:cubicBezTo>
                  <a:cubicBezTo>
                    <a:pt x="607" y="0"/>
                    <a:pt x="582" y="25"/>
                    <a:pt x="582" y="56"/>
                  </a:cubicBezTo>
                  <a:cubicBezTo>
                    <a:pt x="582" y="127"/>
                    <a:pt x="582" y="127"/>
                    <a:pt x="582" y="127"/>
                  </a:cubicBezTo>
                  <a:cubicBezTo>
                    <a:pt x="256" y="156"/>
                    <a:pt x="0" y="430"/>
                    <a:pt x="0" y="762"/>
                  </a:cubicBezTo>
                  <a:cubicBezTo>
                    <a:pt x="0" y="1094"/>
                    <a:pt x="256" y="1368"/>
                    <a:pt x="582" y="1397"/>
                  </a:cubicBezTo>
                  <a:cubicBezTo>
                    <a:pt x="582" y="1467"/>
                    <a:pt x="582" y="1467"/>
                    <a:pt x="582" y="1467"/>
                  </a:cubicBezTo>
                  <a:cubicBezTo>
                    <a:pt x="582" y="1498"/>
                    <a:pt x="607" y="1524"/>
                    <a:pt x="638" y="1524"/>
                  </a:cubicBezTo>
                  <a:cubicBezTo>
                    <a:pt x="669" y="1524"/>
                    <a:pt x="694" y="1498"/>
                    <a:pt x="694" y="1467"/>
                  </a:cubicBezTo>
                  <a:cubicBezTo>
                    <a:pt x="694" y="1397"/>
                    <a:pt x="694" y="1397"/>
                    <a:pt x="694" y="1397"/>
                  </a:cubicBezTo>
                  <a:cubicBezTo>
                    <a:pt x="1020" y="1368"/>
                    <a:pt x="1276" y="1094"/>
                    <a:pt x="1276" y="762"/>
                  </a:cubicBezTo>
                  <a:cubicBezTo>
                    <a:pt x="1276" y="430"/>
                    <a:pt x="1020" y="156"/>
                    <a:pt x="694" y="127"/>
                  </a:cubicBezTo>
                  <a:close/>
                  <a:moveTo>
                    <a:pt x="638" y="1287"/>
                  </a:moveTo>
                  <a:cubicBezTo>
                    <a:pt x="349" y="1287"/>
                    <a:pt x="113" y="1052"/>
                    <a:pt x="113" y="762"/>
                  </a:cubicBezTo>
                  <a:cubicBezTo>
                    <a:pt x="113" y="472"/>
                    <a:pt x="349" y="237"/>
                    <a:pt x="638" y="237"/>
                  </a:cubicBezTo>
                  <a:cubicBezTo>
                    <a:pt x="927" y="237"/>
                    <a:pt x="1163" y="472"/>
                    <a:pt x="1163" y="762"/>
                  </a:cubicBezTo>
                  <a:cubicBezTo>
                    <a:pt x="1163" y="1052"/>
                    <a:pt x="927" y="1287"/>
                    <a:pt x="638" y="1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86" name="Freeform 128"/>
            <p:cNvSpPr>
              <a:spLocks noEditPoints="1"/>
            </p:cNvSpPr>
            <p:nvPr/>
          </p:nvSpPr>
          <p:spPr bwMode="auto">
            <a:xfrm>
              <a:off x="22053551" y="3176588"/>
              <a:ext cx="1266825" cy="1268413"/>
            </a:xfrm>
            <a:custGeom>
              <a:avLst/>
              <a:gdLst>
                <a:gd name="T0" fmla="*/ 169 w 338"/>
                <a:gd name="T1" fmla="*/ 0 h 338"/>
                <a:gd name="T2" fmla="*/ 0 w 338"/>
                <a:gd name="T3" fmla="*/ 169 h 338"/>
                <a:gd name="T4" fmla="*/ 169 w 338"/>
                <a:gd name="T5" fmla="*/ 338 h 338"/>
                <a:gd name="T6" fmla="*/ 338 w 338"/>
                <a:gd name="T7" fmla="*/ 169 h 338"/>
                <a:gd name="T8" fmla="*/ 169 w 338"/>
                <a:gd name="T9" fmla="*/ 0 h 338"/>
                <a:gd name="T10" fmla="*/ 169 w 338"/>
                <a:gd name="T11" fmla="*/ 225 h 338"/>
                <a:gd name="T12" fmla="*/ 113 w 338"/>
                <a:gd name="T13" fmla="*/ 169 h 338"/>
                <a:gd name="T14" fmla="*/ 169 w 338"/>
                <a:gd name="T15" fmla="*/ 113 h 338"/>
                <a:gd name="T16" fmla="*/ 225 w 338"/>
                <a:gd name="T17" fmla="*/ 169 h 338"/>
                <a:gd name="T18" fmla="*/ 169 w 338"/>
                <a:gd name="T19" fmla="*/ 22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69" y="0"/>
                  </a:moveTo>
                  <a:cubicBezTo>
                    <a:pt x="76" y="0"/>
                    <a:pt x="0" y="76"/>
                    <a:pt x="0" y="169"/>
                  </a:cubicBezTo>
                  <a:cubicBezTo>
                    <a:pt x="0" y="262"/>
                    <a:pt x="76" y="338"/>
                    <a:pt x="169" y="338"/>
                  </a:cubicBezTo>
                  <a:cubicBezTo>
                    <a:pt x="262" y="338"/>
                    <a:pt x="338" y="262"/>
                    <a:pt x="338" y="169"/>
                  </a:cubicBezTo>
                  <a:cubicBezTo>
                    <a:pt x="338" y="76"/>
                    <a:pt x="262" y="0"/>
                    <a:pt x="169" y="0"/>
                  </a:cubicBezTo>
                  <a:close/>
                  <a:moveTo>
                    <a:pt x="169" y="225"/>
                  </a:moveTo>
                  <a:cubicBezTo>
                    <a:pt x="138" y="225"/>
                    <a:pt x="113" y="200"/>
                    <a:pt x="113" y="169"/>
                  </a:cubicBezTo>
                  <a:cubicBezTo>
                    <a:pt x="113" y="138"/>
                    <a:pt x="138" y="113"/>
                    <a:pt x="169" y="113"/>
                  </a:cubicBezTo>
                  <a:cubicBezTo>
                    <a:pt x="200" y="113"/>
                    <a:pt x="225" y="138"/>
                    <a:pt x="225" y="169"/>
                  </a:cubicBezTo>
                  <a:cubicBezTo>
                    <a:pt x="225" y="200"/>
                    <a:pt x="200" y="225"/>
                    <a:pt x="169"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87" name="Freeform 129"/>
            <p:cNvSpPr>
              <a:spLocks noEditPoints="1"/>
            </p:cNvSpPr>
            <p:nvPr/>
          </p:nvSpPr>
          <p:spPr bwMode="auto">
            <a:xfrm>
              <a:off x="22053551" y="5037138"/>
              <a:ext cx="1266825" cy="1268413"/>
            </a:xfrm>
            <a:custGeom>
              <a:avLst/>
              <a:gdLst>
                <a:gd name="T0" fmla="*/ 169 w 338"/>
                <a:gd name="T1" fmla="*/ 0 h 338"/>
                <a:gd name="T2" fmla="*/ 0 w 338"/>
                <a:gd name="T3" fmla="*/ 169 h 338"/>
                <a:gd name="T4" fmla="*/ 169 w 338"/>
                <a:gd name="T5" fmla="*/ 338 h 338"/>
                <a:gd name="T6" fmla="*/ 338 w 338"/>
                <a:gd name="T7" fmla="*/ 169 h 338"/>
                <a:gd name="T8" fmla="*/ 169 w 338"/>
                <a:gd name="T9" fmla="*/ 0 h 338"/>
                <a:gd name="T10" fmla="*/ 169 w 338"/>
                <a:gd name="T11" fmla="*/ 225 h 338"/>
                <a:gd name="T12" fmla="*/ 113 w 338"/>
                <a:gd name="T13" fmla="*/ 169 h 338"/>
                <a:gd name="T14" fmla="*/ 169 w 338"/>
                <a:gd name="T15" fmla="*/ 113 h 338"/>
                <a:gd name="T16" fmla="*/ 225 w 338"/>
                <a:gd name="T17" fmla="*/ 169 h 338"/>
                <a:gd name="T18" fmla="*/ 169 w 338"/>
                <a:gd name="T19" fmla="*/ 22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69" y="0"/>
                  </a:moveTo>
                  <a:cubicBezTo>
                    <a:pt x="76" y="0"/>
                    <a:pt x="0" y="76"/>
                    <a:pt x="0" y="169"/>
                  </a:cubicBezTo>
                  <a:cubicBezTo>
                    <a:pt x="0" y="262"/>
                    <a:pt x="76" y="338"/>
                    <a:pt x="169" y="338"/>
                  </a:cubicBezTo>
                  <a:cubicBezTo>
                    <a:pt x="262" y="338"/>
                    <a:pt x="338" y="262"/>
                    <a:pt x="338" y="169"/>
                  </a:cubicBezTo>
                  <a:cubicBezTo>
                    <a:pt x="338" y="76"/>
                    <a:pt x="262" y="0"/>
                    <a:pt x="169" y="0"/>
                  </a:cubicBezTo>
                  <a:close/>
                  <a:moveTo>
                    <a:pt x="169" y="225"/>
                  </a:moveTo>
                  <a:cubicBezTo>
                    <a:pt x="138" y="225"/>
                    <a:pt x="113" y="200"/>
                    <a:pt x="113" y="169"/>
                  </a:cubicBezTo>
                  <a:cubicBezTo>
                    <a:pt x="113" y="138"/>
                    <a:pt x="138" y="113"/>
                    <a:pt x="169" y="113"/>
                  </a:cubicBezTo>
                  <a:cubicBezTo>
                    <a:pt x="200" y="113"/>
                    <a:pt x="225" y="138"/>
                    <a:pt x="225" y="169"/>
                  </a:cubicBezTo>
                  <a:cubicBezTo>
                    <a:pt x="225" y="200"/>
                    <a:pt x="200" y="225"/>
                    <a:pt x="169"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198" name="Group 4197"/>
          <p:cNvGrpSpPr/>
          <p:nvPr/>
        </p:nvGrpSpPr>
        <p:grpSpPr>
          <a:xfrm>
            <a:off x="7437539" y="4154478"/>
            <a:ext cx="334285" cy="334826"/>
            <a:chOff x="18961100" y="5281613"/>
            <a:chExt cx="979488" cy="981075"/>
          </a:xfrm>
          <a:solidFill>
            <a:schemeClr val="accent2"/>
          </a:solidFill>
        </p:grpSpPr>
        <p:sp>
          <p:nvSpPr>
            <p:cNvPr id="4191" name="Freeform 134"/>
            <p:cNvSpPr>
              <a:spLocks noEditPoints="1"/>
            </p:cNvSpPr>
            <p:nvPr/>
          </p:nvSpPr>
          <p:spPr bwMode="auto">
            <a:xfrm>
              <a:off x="18961100" y="5281613"/>
              <a:ext cx="979488" cy="981075"/>
            </a:xfrm>
            <a:custGeom>
              <a:avLst/>
              <a:gdLst>
                <a:gd name="T0" fmla="*/ 6 w 72"/>
                <a:gd name="T1" fmla="*/ 0 h 72"/>
                <a:gd name="T2" fmla="*/ 0 w 72"/>
                <a:gd name="T3" fmla="*/ 6 h 72"/>
                <a:gd name="T4" fmla="*/ 0 w 72"/>
                <a:gd name="T5" fmla="*/ 66 h 72"/>
                <a:gd name="T6" fmla="*/ 6 w 72"/>
                <a:gd name="T7" fmla="*/ 72 h 72"/>
                <a:gd name="T8" fmla="*/ 66 w 72"/>
                <a:gd name="T9" fmla="*/ 72 h 72"/>
                <a:gd name="T10" fmla="*/ 72 w 72"/>
                <a:gd name="T11" fmla="*/ 66 h 72"/>
                <a:gd name="T12" fmla="*/ 72 w 72"/>
                <a:gd name="T13" fmla="*/ 6 h 72"/>
                <a:gd name="T14" fmla="*/ 66 w 72"/>
                <a:gd name="T15" fmla="*/ 0 h 72"/>
                <a:gd name="T16" fmla="*/ 6 w 72"/>
                <a:gd name="T17" fmla="*/ 0 h 72"/>
                <a:gd name="T18" fmla="*/ 6 w 72"/>
                <a:gd name="T19" fmla="*/ 4 h 72"/>
                <a:gd name="T20" fmla="*/ 66 w 72"/>
                <a:gd name="T21" fmla="*/ 4 h 72"/>
                <a:gd name="T22" fmla="*/ 68 w 72"/>
                <a:gd name="T23" fmla="*/ 6 h 72"/>
                <a:gd name="T24" fmla="*/ 68 w 72"/>
                <a:gd name="T25" fmla="*/ 66 h 72"/>
                <a:gd name="T26" fmla="*/ 66 w 72"/>
                <a:gd name="T27" fmla="*/ 68 h 72"/>
                <a:gd name="T28" fmla="*/ 6 w 72"/>
                <a:gd name="T29" fmla="*/ 68 h 72"/>
                <a:gd name="T30" fmla="*/ 4 w 72"/>
                <a:gd name="T31" fmla="*/ 66 h 72"/>
                <a:gd name="T32" fmla="*/ 4 w 72"/>
                <a:gd name="T33" fmla="*/ 6 h 72"/>
                <a:gd name="T34" fmla="*/ 6 w 72"/>
                <a:gd name="T35"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72">
                  <a:moveTo>
                    <a:pt x="6" y="0"/>
                  </a:moveTo>
                  <a:cubicBezTo>
                    <a:pt x="3" y="0"/>
                    <a:pt x="0" y="3"/>
                    <a:pt x="0" y="6"/>
                  </a:cubicBezTo>
                  <a:cubicBezTo>
                    <a:pt x="0" y="66"/>
                    <a:pt x="0" y="66"/>
                    <a:pt x="0" y="66"/>
                  </a:cubicBezTo>
                  <a:cubicBezTo>
                    <a:pt x="0" y="69"/>
                    <a:pt x="3" y="72"/>
                    <a:pt x="6" y="72"/>
                  </a:cubicBezTo>
                  <a:cubicBezTo>
                    <a:pt x="66" y="72"/>
                    <a:pt x="66" y="72"/>
                    <a:pt x="66" y="72"/>
                  </a:cubicBezTo>
                  <a:cubicBezTo>
                    <a:pt x="69" y="72"/>
                    <a:pt x="72" y="69"/>
                    <a:pt x="72" y="66"/>
                  </a:cubicBezTo>
                  <a:cubicBezTo>
                    <a:pt x="72" y="6"/>
                    <a:pt x="72" y="6"/>
                    <a:pt x="72" y="6"/>
                  </a:cubicBezTo>
                  <a:cubicBezTo>
                    <a:pt x="72" y="3"/>
                    <a:pt x="69" y="0"/>
                    <a:pt x="66" y="0"/>
                  </a:cubicBezTo>
                  <a:lnTo>
                    <a:pt x="6" y="0"/>
                  </a:lnTo>
                  <a:close/>
                  <a:moveTo>
                    <a:pt x="6" y="4"/>
                  </a:moveTo>
                  <a:cubicBezTo>
                    <a:pt x="66" y="4"/>
                    <a:pt x="66" y="4"/>
                    <a:pt x="66" y="4"/>
                  </a:cubicBezTo>
                  <a:cubicBezTo>
                    <a:pt x="67" y="4"/>
                    <a:pt x="68" y="5"/>
                    <a:pt x="68" y="6"/>
                  </a:cubicBezTo>
                  <a:cubicBezTo>
                    <a:pt x="68" y="66"/>
                    <a:pt x="68" y="66"/>
                    <a:pt x="68" y="66"/>
                  </a:cubicBezTo>
                  <a:cubicBezTo>
                    <a:pt x="68" y="67"/>
                    <a:pt x="67" y="68"/>
                    <a:pt x="66" y="68"/>
                  </a:cubicBezTo>
                  <a:cubicBezTo>
                    <a:pt x="6" y="68"/>
                    <a:pt x="6" y="68"/>
                    <a:pt x="6" y="68"/>
                  </a:cubicBezTo>
                  <a:cubicBezTo>
                    <a:pt x="5" y="68"/>
                    <a:pt x="4" y="67"/>
                    <a:pt x="4" y="66"/>
                  </a:cubicBezTo>
                  <a:cubicBezTo>
                    <a:pt x="4" y="6"/>
                    <a:pt x="4" y="6"/>
                    <a:pt x="4" y="6"/>
                  </a:cubicBezTo>
                  <a:cubicBezTo>
                    <a:pt x="4" y="5"/>
                    <a:pt x="5"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92" name="Freeform 135"/>
            <p:cNvSpPr>
              <a:spLocks noEditPoints="1"/>
            </p:cNvSpPr>
            <p:nvPr/>
          </p:nvSpPr>
          <p:spPr bwMode="auto">
            <a:xfrm>
              <a:off x="19396075" y="5445126"/>
              <a:ext cx="381000" cy="217488"/>
            </a:xfrm>
            <a:custGeom>
              <a:avLst/>
              <a:gdLst>
                <a:gd name="T0" fmla="*/ 2 w 28"/>
                <a:gd name="T1" fmla="*/ 0 h 16"/>
                <a:gd name="T2" fmla="*/ 0 w 28"/>
                <a:gd name="T3" fmla="*/ 2 h 16"/>
                <a:gd name="T4" fmla="*/ 0 w 28"/>
                <a:gd name="T5" fmla="*/ 14 h 16"/>
                <a:gd name="T6" fmla="*/ 2 w 28"/>
                <a:gd name="T7" fmla="*/ 16 h 16"/>
                <a:gd name="T8" fmla="*/ 26 w 28"/>
                <a:gd name="T9" fmla="*/ 16 h 16"/>
                <a:gd name="T10" fmla="*/ 28 w 28"/>
                <a:gd name="T11" fmla="*/ 14 h 16"/>
                <a:gd name="T12" fmla="*/ 28 w 28"/>
                <a:gd name="T13" fmla="*/ 2 h 16"/>
                <a:gd name="T14" fmla="*/ 26 w 28"/>
                <a:gd name="T15" fmla="*/ 0 h 16"/>
                <a:gd name="T16" fmla="*/ 2 w 28"/>
                <a:gd name="T17" fmla="*/ 0 h 16"/>
                <a:gd name="T18" fmla="*/ 4 w 28"/>
                <a:gd name="T19" fmla="*/ 4 h 16"/>
                <a:gd name="T20" fmla="*/ 24 w 28"/>
                <a:gd name="T21" fmla="*/ 4 h 16"/>
                <a:gd name="T22" fmla="*/ 24 w 28"/>
                <a:gd name="T23" fmla="*/ 12 h 16"/>
                <a:gd name="T24" fmla="*/ 4 w 28"/>
                <a:gd name="T25" fmla="*/ 12 h 16"/>
                <a:gd name="T26" fmla="*/ 4 w 28"/>
                <a:gd name="T2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6">
                  <a:moveTo>
                    <a:pt x="2" y="0"/>
                  </a:move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lnTo>
                    <a:pt x="2" y="0"/>
                  </a:lnTo>
                  <a:close/>
                  <a:moveTo>
                    <a:pt x="4" y="4"/>
                  </a:moveTo>
                  <a:cubicBezTo>
                    <a:pt x="24" y="4"/>
                    <a:pt x="24" y="4"/>
                    <a:pt x="24" y="4"/>
                  </a:cubicBezTo>
                  <a:cubicBezTo>
                    <a:pt x="24" y="12"/>
                    <a:pt x="24" y="12"/>
                    <a:pt x="24" y="12"/>
                  </a:cubicBezTo>
                  <a:cubicBezTo>
                    <a:pt x="4" y="12"/>
                    <a:pt x="4" y="12"/>
                    <a:pt x="4" y="12"/>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93" name="Freeform 136"/>
            <p:cNvSpPr>
              <a:spLocks noEditPoints="1"/>
            </p:cNvSpPr>
            <p:nvPr/>
          </p:nvSpPr>
          <p:spPr bwMode="auto">
            <a:xfrm>
              <a:off x="19396075" y="5718176"/>
              <a:ext cx="381000" cy="217488"/>
            </a:xfrm>
            <a:custGeom>
              <a:avLst/>
              <a:gdLst>
                <a:gd name="T0" fmla="*/ 2 w 28"/>
                <a:gd name="T1" fmla="*/ 0 h 16"/>
                <a:gd name="T2" fmla="*/ 0 w 28"/>
                <a:gd name="T3" fmla="*/ 2 h 16"/>
                <a:gd name="T4" fmla="*/ 0 w 28"/>
                <a:gd name="T5" fmla="*/ 14 h 16"/>
                <a:gd name="T6" fmla="*/ 2 w 28"/>
                <a:gd name="T7" fmla="*/ 16 h 16"/>
                <a:gd name="T8" fmla="*/ 26 w 28"/>
                <a:gd name="T9" fmla="*/ 16 h 16"/>
                <a:gd name="T10" fmla="*/ 28 w 28"/>
                <a:gd name="T11" fmla="*/ 14 h 16"/>
                <a:gd name="T12" fmla="*/ 28 w 28"/>
                <a:gd name="T13" fmla="*/ 2 h 16"/>
                <a:gd name="T14" fmla="*/ 26 w 28"/>
                <a:gd name="T15" fmla="*/ 0 h 16"/>
                <a:gd name="T16" fmla="*/ 2 w 28"/>
                <a:gd name="T17" fmla="*/ 0 h 16"/>
                <a:gd name="T18" fmla="*/ 4 w 28"/>
                <a:gd name="T19" fmla="*/ 4 h 16"/>
                <a:gd name="T20" fmla="*/ 24 w 28"/>
                <a:gd name="T21" fmla="*/ 4 h 16"/>
                <a:gd name="T22" fmla="*/ 24 w 28"/>
                <a:gd name="T23" fmla="*/ 12 h 16"/>
                <a:gd name="T24" fmla="*/ 4 w 28"/>
                <a:gd name="T25" fmla="*/ 12 h 16"/>
                <a:gd name="T26" fmla="*/ 4 w 28"/>
                <a:gd name="T2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6">
                  <a:moveTo>
                    <a:pt x="2" y="0"/>
                  </a:move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lnTo>
                    <a:pt x="2" y="0"/>
                  </a:lnTo>
                  <a:close/>
                  <a:moveTo>
                    <a:pt x="4" y="4"/>
                  </a:moveTo>
                  <a:cubicBezTo>
                    <a:pt x="24" y="4"/>
                    <a:pt x="24" y="4"/>
                    <a:pt x="24" y="4"/>
                  </a:cubicBezTo>
                  <a:cubicBezTo>
                    <a:pt x="24" y="12"/>
                    <a:pt x="24" y="12"/>
                    <a:pt x="24" y="12"/>
                  </a:cubicBezTo>
                  <a:cubicBezTo>
                    <a:pt x="4" y="12"/>
                    <a:pt x="4" y="12"/>
                    <a:pt x="4" y="12"/>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94" name="Rectangle 137"/>
            <p:cNvSpPr>
              <a:spLocks noChangeArrowheads="1"/>
            </p:cNvSpPr>
            <p:nvPr/>
          </p:nvSpPr>
          <p:spPr bwMode="auto">
            <a:xfrm>
              <a:off x="19124613" y="5499101"/>
              <a:ext cx="163513"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95" name="Rectangle 138"/>
            <p:cNvSpPr>
              <a:spLocks noChangeArrowheads="1"/>
            </p:cNvSpPr>
            <p:nvPr/>
          </p:nvSpPr>
          <p:spPr bwMode="auto">
            <a:xfrm>
              <a:off x="19124613" y="5772151"/>
              <a:ext cx="163513"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196" name="Rectangle 139"/>
            <p:cNvSpPr>
              <a:spLocks noChangeArrowheads="1"/>
            </p:cNvSpPr>
            <p:nvPr/>
          </p:nvSpPr>
          <p:spPr bwMode="auto">
            <a:xfrm>
              <a:off x="19124613" y="6045201"/>
              <a:ext cx="652463"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207" name="Group 4206"/>
          <p:cNvGrpSpPr/>
          <p:nvPr/>
        </p:nvGrpSpPr>
        <p:grpSpPr>
          <a:xfrm>
            <a:off x="7385170" y="4813045"/>
            <a:ext cx="439023" cy="229099"/>
            <a:chOff x="18291175" y="5421313"/>
            <a:chExt cx="690563" cy="360362"/>
          </a:xfrm>
          <a:solidFill>
            <a:schemeClr val="accent2"/>
          </a:solidFill>
        </p:grpSpPr>
        <p:sp>
          <p:nvSpPr>
            <p:cNvPr id="4201" name="Freeform 144"/>
            <p:cNvSpPr>
              <a:spLocks noEditPoints="1"/>
            </p:cNvSpPr>
            <p:nvPr/>
          </p:nvSpPr>
          <p:spPr bwMode="auto">
            <a:xfrm>
              <a:off x="18530888" y="5421313"/>
              <a:ext cx="450850" cy="360362"/>
            </a:xfrm>
            <a:custGeom>
              <a:avLst/>
              <a:gdLst>
                <a:gd name="T0" fmla="*/ 120 w 120"/>
                <a:gd name="T1" fmla="*/ 3 h 96"/>
                <a:gd name="T2" fmla="*/ 119 w 120"/>
                <a:gd name="T3" fmla="*/ 2 h 96"/>
                <a:gd name="T4" fmla="*/ 119 w 120"/>
                <a:gd name="T5" fmla="*/ 2 h 96"/>
                <a:gd name="T6" fmla="*/ 119 w 120"/>
                <a:gd name="T7" fmla="*/ 2 h 96"/>
                <a:gd name="T8" fmla="*/ 118 w 120"/>
                <a:gd name="T9" fmla="*/ 1 h 96"/>
                <a:gd name="T10" fmla="*/ 118 w 120"/>
                <a:gd name="T11" fmla="*/ 1 h 96"/>
                <a:gd name="T12" fmla="*/ 117 w 120"/>
                <a:gd name="T13" fmla="*/ 0 h 96"/>
                <a:gd name="T14" fmla="*/ 116 w 120"/>
                <a:gd name="T15" fmla="*/ 0 h 96"/>
                <a:gd name="T16" fmla="*/ 116 w 120"/>
                <a:gd name="T17" fmla="*/ 0 h 96"/>
                <a:gd name="T18" fmla="*/ 4 w 120"/>
                <a:gd name="T19" fmla="*/ 0 h 96"/>
                <a:gd name="T20" fmla="*/ 4 w 120"/>
                <a:gd name="T21" fmla="*/ 0 h 96"/>
                <a:gd name="T22" fmla="*/ 3 w 120"/>
                <a:gd name="T23" fmla="*/ 0 h 96"/>
                <a:gd name="T24" fmla="*/ 2 w 120"/>
                <a:gd name="T25" fmla="*/ 1 h 96"/>
                <a:gd name="T26" fmla="*/ 2 w 120"/>
                <a:gd name="T27" fmla="*/ 1 h 96"/>
                <a:gd name="T28" fmla="*/ 1 w 120"/>
                <a:gd name="T29" fmla="*/ 2 h 96"/>
                <a:gd name="T30" fmla="*/ 1 w 120"/>
                <a:gd name="T31" fmla="*/ 2 h 96"/>
                <a:gd name="T32" fmla="*/ 0 w 120"/>
                <a:gd name="T33" fmla="*/ 2 h 96"/>
                <a:gd name="T34" fmla="*/ 0 w 120"/>
                <a:gd name="T35" fmla="*/ 3 h 96"/>
                <a:gd name="T36" fmla="*/ 0 w 120"/>
                <a:gd name="T37" fmla="*/ 4 h 96"/>
                <a:gd name="T38" fmla="*/ 0 w 120"/>
                <a:gd name="T39" fmla="*/ 4 h 96"/>
                <a:gd name="T40" fmla="*/ 0 w 120"/>
                <a:gd name="T41" fmla="*/ 92 h 96"/>
                <a:gd name="T42" fmla="*/ 4 w 120"/>
                <a:gd name="T43" fmla="*/ 96 h 96"/>
                <a:gd name="T44" fmla="*/ 116 w 120"/>
                <a:gd name="T45" fmla="*/ 96 h 96"/>
                <a:gd name="T46" fmla="*/ 120 w 120"/>
                <a:gd name="T47" fmla="*/ 92 h 96"/>
                <a:gd name="T48" fmla="*/ 120 w 120"/>
                <a:gd name="T49" fmla="*/ 4 h 96"/>
                <a:gd name="T50" fmla="*/ 120 w 120"/>
                <a:gd name="T51" fmla="*/ 4 h 96"/>
                <a:gd name="T52" fmla="*/ 120 w 120"/>
                <a:gd name="T53" fmla="*/ 3 h 96"/>
                <a:gd name="T54" fmla="*/ 104 w 120"/>
                <a:gd name="T55" fmla="*/ 8 h 96"/>
                <a:gd name="T56" fmla="*/ 60 w 120"/>
                <a:gd name="T57" fmla="*/ 43 h 96"/>
                <a:gd name="T58" fmla="*/ 16 w 120"/>
                <a:gd name="T59" fmla="*/ 8 h 96"/>
                <a:gd name="T60" fmla="*/ 104 w 120"/>
                <a:gd name="T61" fmla="*/ 8 h 96"/>
                <a:gd name="T62" fmla="*/ 8 w 120"/>
                <a:gd name="T63" fmla="*/ 88 h 96"/>
                <a:gd name="T64" fmla="*/ 8 w 120"/>
                <a:gd name="T65" fmla="*/ 12 h 96"/>
                <a:gd name="T66" fmla="*/ 58 w 120"/>
                <a:gd name="T67" fmla="*/ 51 h 96"/>
                <a:gd name="T68" fmla="*/ 60 w 120"/>
                <a:gd name="T69" fmla="*/ 52 h 96"/>
                <a:gd name="T70" fmla="*/ 62 w 120"/>
                <a:gd name="T71" fmla="*/ 51 h 96"/>
                <a:gd name="T72" fmla="*/ 112 w 120"/>
                <a:gd name="T73" fmla="*/ 12 h 96"/>
                <a:gd name="T74" fmla="*/ 112 w 120"/>
                <a:gd name="T75" fmla="*/ 88 h 96"/>
                <a:gd name="T76" fmla="*/ 8 w 120"/>
                <a:gd name="T77"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96">
                  <a:moveTo>
                    <a:pt x="120" y="3"/>
                  </a:moveTo>
                  <a:cubicBezTo>
                    <a:pt x="120" y="2"/>
                    <a:pt x="119" y="2"/>
                    <a:pt x="119" y="2"/>
                  </a:cubicBezTo>
                  <a:cubicBezTo>
                    <a:pt x="119" y="2"/>
                    <a:pt x="119" y="2"/>
                    <a:pt x="119" y="2"/>
                  </a:cubicBezTo>
                  <a:cubicBezTo>
                    <a:pt x="119" y="2"/>
                    <a:pt x="119" y="2"/>
                    <a:pt x="119" y="2"/>
                  </a:cubicBezTo>
                  <a:cubicBezTo>
                    <a:pt x="119" y="1"/>
                    <a:pt x="118" y="1"/>
                    <a:pt x="118" y="1"/>
                  </a:cubicBezTo>
                  <a:cubicBezTo>
                    <a:pt x="118" y="1"/>
                    <a:pt x="118" y="1"/>
                    <a:pt x="118" y="1"/>
                  </a:cubicBezTo>
                  <a:cubicBezTo>
                    <a:pt x="117" y="1"/>
                    <a:pt x="117" y="1"/>
                    <a:pt x="117" y="0"/>
                  </a:cubicBezTo>
                  <a:cubicBezTo>
                    <a:pt x="116" y="0"/>
                    <a:pt x="116" y="0"/>
                    <a:pt x="116" y="0"/>
                  </a:cubicBezTo>
                  <a:cubicBezTo>
                    <a:pt x="116" y="0"/>
                    <a:pt x="116" y="0"/>
                    <a:pt x="116" y="0"/>
                  </a:cubicBezTo>
                  <a:cubicBezTo>
                    <a:pt x="4" y="0"/>
                    <a:pt x="4" y="0"/>
                    <a:pt x="4" y="0"/>
                  </a:cubicBezTo>
                  <a:cubicBezTo>
                    <a:pt x="4" y="0"/>
                    <a:pt x="4" y="0"/>
                    <a:pt x="4" y="0"/>
                  </a:cubicBezTo>
                  <a:cubicBezTo>
                    <a:pt x="3" y="0"/>
                    <a:pt x="3" y="0"/>
                    <a:pt x="3" y="0"/>
                  </a:cubicBezTo>
                  <a:cubicBezTo>
                    <a:pt x="2" y="0"/>
                    <a:pt x="2" y="0"/>
                    <a:pt x="2" y="1"/>
                  </a:cubicBezTo>
                  <a:cubicBezTo>
                    <a:pt x="2" y="1"/>
                    <a:pt x="2" y="1"/>
                    <a:pt x="2" y="1"/>
                  </a:cubicBezTo>
                  <a:cubicBezTo>
                    <a:pt x="1" y="1"/>
                    <a:pt x="1" y="2"/>
                    <a:pt x="1" y="2"/>
                  </a:cubicBezTo>
                  <a:cubicBezTo>
                    <a:pt x="1" y="2"/>
                    <a:pt x="1" y="2"/>
                    <a:pt x="1" y="2"/>
                  </a:cubicBezTo>
                  <a:cubicBezTo>
                    <a:pt x="1" y="2"/>
                    <a:pt x="1" y="2"/>
                    <a:pt x="0" y="2"/>
                  </a:cubicBezTo>
                  <a:cubicBezTo>
                    <a:pt x="0" y="2"/>
                    <a:pt x="0" y="2"/>
                    <a:pt x="0" y="3"/>
                  </a:cubicBezTo>
                  <a:cubicBezTo>
                    <a:pt x="0" y="3"/>
                    <a:pt x="0" y="3"/>
                    <a:pt x="0" y="4"/>
                  </a:cubicBezTo>
                  <a:cubicBezTo>
                    <a:pt x="0" y="4"/>
                    <a:pt x="0" y="4"/>
                    <a:pt x="0" y="4"/>
                  </a:cubicBezTo>
                  <a:cubicBezTo>
                    <a:pt x="0" y="92"/>
                    <a:pt x="0" y="92"/>
                    <a:pt x="0" y="92"/>
                  </a:cubicBezTo>
                  <a:cubicBezTo>
                    <a:pt x="0" y="94"/>
                    <a:pt x="2" y="96"/>
                    <a:pt x="4" y="96"/>
                  </a:cubicBezTo>
                  <a:cubicBezTo>
                    <a:pt x="116" y="96"/>
                    <a:pt x="116" y="96"/>
                    <a:pt x="116" y="96"/>
                  </a:cubicBezTo>
                  <a:cubicBezTo>
                    <a:pt x="118" y="96"/>
                    <a:pt x="120" y="94"/>
                    <a:pt x="120" y="92"/>
                  </a:cubicBezTo>
                  <a:cubicBezTo>
                    <a:pt x="120" y="4"/>
                    <a:pt x="120" y="4"/>
                    <a:pt x="120" y="4"/>
                  </a:cubicBezTo>
                  <a:cubicBezTo>
                    <a:pt x="120" y="4"/>
                    <a:pt x="120" y="4"/>
                    <a:pt x="120" y="4"/>
                  </a:cubicBezTo>
                  <a:cubicBezTo>
                    <a:pt x="120" y="3"/>
                    <a:pt x="120" y="3"/>
                    <a:pt x="120" y="3"/>
                  </a:cubicBezTo>
                  <a:close/>
                  <a:moveTo>
                    <a:pt x="104" y="8"/>
                  </a:moveTo>
                  <a:cubicBezTo>
                    <a:pt x="60" y="43"/>
                    <a:pt x="60" y="43"/>
                    <a:pt x="60" y="43"/>
                  </a:cubicBezTo>
                  <a:cubicBezTo>
                    <a:pt x="16" y="8"/>
                    <a:pt x="16" y="8"/>
                    <a:pt x="16" y="8"/>
                  </a:cubicBezTo>
                  <a:lnTo>
                    <a:pt x="104" y="8"/>
                  </a:lnTo>
                  <a:close/>
                  <a:moveTo>
                    <a:pt x="8" y="88"/>
                  </a:moveTo>
                  <a:cubicBezTo>
                    <a:pt x="8" y="12"/>
                    <a:pt x="8" y="12"/>
                    <a:pt x="8" y="12"/>
                  </a:cubicBezTo>
                  <a:cubicBezTo>
                    <a:pt x="58" y="51"/>
                    <a:pt x="58" y="51"/>
                    <a:pt x="58" y="51"/>
                  </a:cubicBezTo>
                  <a:cubicBezTo>
                    <a:pt x="58" y="52"/>
                    <a:pt x="59" y="52"/>
                    <a:pt x="60" y="52"/>
                  </a:cubicBezTo>
                  <a:cubicBezTo>
                    <a:pt x="61" y="52"/>
                    <a:pt x="62" y="52"/>
                    <a:pt x="62" y="51"/>
                  </a:cubicBezTo>
                  <a:cubicBezTo>
                    <a:pt x="112" y="12"/>
                    <a:pt x="112" y="12"/>
                    <a:pt x="112" y="12"/>
                  </a:cubicBezTo>
                  <a:cubicBezTo>
                    <a:pt x="112" y="88"/>
                    <a:pt x="112" y="88"/>
                    <a:pt x="112" y="88"/>
                  </a:cubicBezTo>
                  <a:lnTo>
                    <a:pt x="8"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02" name="Freeform 145"/>
            <p:cNvSpPr>
              <a:spLocks/>
            </p:cNvSpPr>
            <p:nvPr/>
          </p:nvSpPr>
          <p:spPr bwMode="auto">
            <a:xfrm>
              <a:off x="18291175" y="5451475"/>
              <a:ext cx="180975" cy="30162"/>
            </a:xfrm>
            <a:custGeom>
              <a:avLst/>
              <a:gdLst>
                <a:gd name="T0" fmla="*/ 4 w 48"/>
                <a:gd name="T1" fmla="*/ 8 h 8"/>
                <a:gd name="T2" fmla="*/ 44 w 48"/>
                <a:gd name="T3" fmla="*/ 8 h 8"/>
                <a:gd name="T4" fmla="*/ 48 w 48"/>
                <a:gd name="T5" fmla="*/ 4 h 8"/>
                <a:gd name="T6" fmla="*/ 44 w 48"/>
                <a:gd name="T7" fmla="*/ 0 h 8"/>
                <a:gd name="T8" fmla="*/ 4 w 48"/>
                <a:gd name="T9" fmla="*/ 0 h 8"/>
                <a:gd name="T10" fmla="*/ 0 w 48"/>
                <a:gd name="T11" fmla="*/ 4 h 8"/>
                <a:gd name="T12" fmla="*/ 4 w 4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8" h="8">
                  <a:moveTo>
                    <a:pt x="4" y="8"/>
                  </a:moveTo>
                  <a:cubicBezTo>
                    <a:pt x="44" y="8"/>
                    <a:pt x="44" y="8"/>
                    <a:pt x="44" y="8"/>
                  </a:cubicBezTo>
                  <a:cubicBezTo>
                    <a:pt x="46" y="8"/>
                    <a:pt x="48" y="6"/>
                    <a:pt x="48" y="4"/>
                  </a:cubicBezTo>
                  <a:cubicBezTo>
                    <a:pt x="48" y="2"/>
                    <a:pt x="46" y="0"/>
                    <a:pt x="44"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03" name="Freeform 146"/>
            <p:cNvSpPr>
              <a:spLocks/>
            </p:cNvSpPr>
            <p:nvPr/>
          </p:nvSpPr>
          <p:spPr bwMode="auto">
            <a:xfrm>
              <a:off x="18291175" y="5541963"/>
              <a:ext cx="180975" cy="30162"/>
            </a:xfrm>
            <a:custGeom>
              <a:avLst/>
              <a:gdLst>
                <a:gd name="T0" fmla="*/ 4 w 48"/>
                <a:gd name="T1" fmla="*/ 8 h 8"/>
                <a:gd name="T2" fmla="*/ 44 w 48"/>
                <a:gd name="T3" fmla="*/ 8 h 8"/>
                <a:gd name="T4" fmla="*/ 48 w 48"/>
                <a:gd name="T5" fmla="*/ 4 h 8"/>
                <a:gd name="T6" fmla="*/ 44 w 48"/>
                <a:gd name="T7" fmla="*/ 0 h 8"/>
                <a:gd name="T8" fmla="*/ 4 w 48"/>
                <a:gd name="T9" fmla="*/ 0 h 8"/>
                <a:gd name="T10" fmla="*/ 0 w 48"/>
                <a:gd name="T11" fmla="*/ 4 h 8"/>
                <a:gd name="T12" fmla="*/ 4 w 4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8" h="8">
                  <a:moveTo>
                    <a:pt x="4" y="8"/>
                  </a:moveTo>
                  <a:cubicBezTo>
                    <a:pt x="44" y="8"/>
                    <a:pt x="44" y="8"/>
                    <a:pt x="44" y="8"/>
                  </a:cubicBezTo>
                  <a:cubicBezTo>
                    <a:pt x="46" y="8"/>
                    <a:pt x="48" y="6"/>
                    <a:pt x="48" y="4"/>
                  </a:cubicBezTo>
                  <a:cubicBezTo>
                    <a:pt x="48" y="2"/>
                    <a:pt x="46" y="0"/>
                    <a:pt x="44"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04" name="Freeform 147"/>
            <p:cNvSpPr>
              <a:spLocks/>
            </p:cNvSpPr>
            <p:nvPr/>
          </p:nvSpPr>
          <p:spPr bwMode="auto">
            <a:xfrm>
              <a:off x="18291175" y="5630863"/>
              <a:ext cx="180975" cy="30162"/>
            </a:xfrm>
            <a:custGeom>
              <a:avLst/>
              <a:gdLst>
                <a:gd name="T0" fmla="*/ 4 w 48"/>
                <a:gd name="T1" fmla="*/ 8 h 8"/>
                <a:gd name="T2" fmla="*/ 44 w 48"/>
                <a:gd name="T3" fmla="*/ 8 h 8"/>
                <a:gd name="T4" fmla="*/ 48 w 48"/>
                <a:gd name="T5" fmla="*/ 4 h 8"/>
                <a:gd name="T6" fmla="*/ 44 w 48"/>
                <a:gd name="T7" fmla="*/ 0 h 8"/>
                <a:gd name="T8" fmla="*/ 4 w 48"/>
                <a:gd name="T9" fmla="*/ 0 h 8"/>
                <a:gd name="T10" fmla="*/ 0 w 48"/>
                <a:gd name="T11" fmla="*/ 4 h 8"/>
                <a:gd name="T12" fmla="*/ 4 w 4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8" h="8">
                  <a:moveTo>
                    <a:pt x="4" y="8"/>
                  </a:moveTo>
                  <a:cubicBezTo>
                    <a:pt x="44" y="8"/>
                    <a:pt x="44" y="8"/>
                    <a:pt x="44" y="8"/>
                  </a:cubicBezTo>
                  <a:cubicBezTo>
                    <a:pt x="46" y="8"/>
                    <a:pt x="48" y="6"/>
                    <a:pt x="48" y="4"/>
                  </a:cubicBezTo>
                  <a:cubicBezTo>
                    <a:pt x="48" y="2"/>
                    <a:pt x="46" y="0"/>
                    <a:pt x="44"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06" name="Freeform 148"/>
            <p:cNvSpPr>
              <a:spLocks/>
            </p:cNvSpPr>
            <p:nvPr/>
          </p:nvSpPr>
          <p:spPr bwMode="auto">
            <a:xfrm>
              <a:off x="18291175" y="5721350"/>
              <a:ext cx="180975" cy="30162"/>
            </a:xfrm>
            <a:custGeom>
              <a:avLst/>
              <a:gdLst>
                <a:gd name="T0" fmla="*/ 4 w 48"/>
                <a:gd name="T1" fmla="*/ 8 h 8"/>
                <a:gd name="T2" fmla="*/ 44 w 48"/>
                <a:gd name="T3" fmla="*/ 8 h 8"/>
                <a:gd name="T4" fmla="*/ 48 w 48"/>
                <a:gd name="T5" fmla="*/ 4 h 8"/>
                <a:gd name="T6" fmla="*/ 44 w 48"/>
                <a:gd name="T7" fmla="*/ 0 h 8"/>
                <a:gd name="T8" fmla="*/ 4 w 48"/>
                <a:gd name="T9" fmla="*/ 0 h 8"/>
                <a:gd name="T10" fmla="*/ 0 w 48"/>
                <a:gd name="T11" fmla="*/ 4 h 8"/>
                <a:gd name="T12" fmla="*/ 4 w 4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8" h="8">
                  <a:moveTo>
                    <a:pt x="4" y="8"/>
                  </a:moveTo>
                  <a:cubicBezTo>
                    <a:pt x="44" y="8"/>
                    <a:pt x="44" y="8"/>
                    <a:pt x="44" y="8"/>
                  </a:cubicBezTo>
                  <a:cubicBezTo>
                    <a:pt x="46" y="8"/>
                    <a:pt x="48" y="6"/>
                    <a:pt x="48" y="4"/>
                  </a:cubicBezTo>
                  <a:cubicBezTo>
                    <a:pt x="48" y="2"/>
                    <a:pt x="46" y="0"/>
                    <a:pt x="44"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216" name="Group 4215"/>
          <p:cNvGrpSpPr/>
          <p:nvPr/>
        </p:nvGrpSpPr>
        <p:grpSpPr>
          <a:xfrm>
            <a:off x="7452560" y="5381348"/>
            <a:ext cx="304241" cy="303903"/>
            <a:chOff x="18291175" y="5673725"/>
            <a:chExt cx="1425576" cy="1423988"/>
          </a:xfrm>
          <a:solidFill>
            <a:schemeClr val="accent2"/>
          </a:solidFill>
        </p:grpSpPr>
        <p:sp>
          <p:nvSpPr>
            <p:cNvPr id="4210" name="Freeform 153"/>
            <p:cNvSpPr>
              <a:spLocks noEditPoints="1"/>
            </p:cNvSpPr>
            <p:nvPr/>
          </p:nvSpPr>
          <p:spPr bwMode="auto">
            <a:xfrm>
              <a:off x="18291175" y="6656388"/>
              <a:ext cx="446088" cy="441325"/>
            </a:xfrm>
            <a:custGeom>
              <a:avLst/>
              <a:gdLst>
                <a:gd name="T0" fmla="*/ 110 w 119"/>
                <a:gd name="T1" fmla="*/ 0 h 118"/>
                <a:gd name="T2" fmla="*/ 10 w 119"/>
                <a:gd name="T3" fmla="*/ 0 h 118"/>
                <a:gd name="T4" fmla="*/ 0 w 119"/>
                <a:gd name="T5" fmla="*/ 9 h 118"/>
                <a:gd name="T6" fmla="*/ 0 w 119"/>
                <a:gd name="T7" fmla="*/ 109 h 118"/>
                <a:gd name="T8" fmla="*/ 10 w 119"/>
                <a:gd name="T9" fmla="*/ 118 h 118"/>
                <a:gd name="T10" fmla="*/ 110 w 119"/>
                <a:gd name="T11" fmla="*/ 118 h 118"/>
                <a:gd name="T12" fmla="*/ 119 w 119"/>
                <a:gd name="T13" fmla="*/ 109 h 118"/>
                <a:gd name="T14" fmla="*/ 119 w 119"/>
                <a:gd name="T15" fmla="*/ 9 h 118"/>
                <a:gd name="T16" fmla="*/ 110 w 119"/>
                <a:gd name="T17" fmla="*/ 0 h 118"/>
                <a:gd name="T18" fmla="*/ 100 w 119"/>
                <a:gd name="T19" fmla="*/ 100 h 118"/>
                <a:gd name="T20" fmla="*/ 19 w 119"/>
                <a:gd name="T21" fmla="*/ 100 h 118"/>
                <a:gd name="T22" fmla="*/ 19 w 119"/>
                <a:gd name="T23" fmla="*/ 18 h 118"/>
                <a:gd name="T24" fmla="*/ 100 w 119"/>
                <a:gd name="T25" fmla="*/ 18 h 118"/>
                <a:gd name="T26" fmla="*/ 100 w 119"/>
                <a:gd name="T27" fmla="*/ 10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18">
                  <a:moveTo>
                    <a:pt x="110" y="0"/>
                  </a:moveTo>
                  <a:cubicBezTo>
                    <a:pt x="10" y="0"/>
                    <a:pt x="10" y="0"/>
                    <a:pt x="10" y="0"/>
                  </a:cubicBezTo>
                  <a:cubicBezTo>
                    <a:pt x="4" y="0"/>
                    <a:pt x="0" y="4"/>
                    <a:pt x="0" y="9"/>
                  </a:cubicBezTo>
                  <a:cubicBezTo>
                    <a:pt x="0" y="109"/>
                    <a:pt x="0" y="109"/>
                    <a:pt x="0" y="109"/>
                  </a:cubicBezTo>
                  <a:cubicBezTo>
                    <a:pt x="0" y="114"/>
                    <a:pt x="4" y="118"/>
                    <a:pt x="10" y="118"/>
                  </a:cubicBezTo>
                  <a:cubicBezTo>
                    <a:pt x="110" y="118"/>
                    <a:pt x="110" y="118"/>
                    <a:pt x="110" y="118"/>
                  </a:cubicBezTo>
                  <a:cubicBezTo>
                    <a:pt x="115" y="118"/>
                    <a:pt x="119" y="114"/>
                    <a:pt x="119" y="109"/>
                  </a:cubicBezTo>
                  <a:cubicBezTo>
                    <a:pt x="119" y="9"/>
                    <a:pt x="119" y="9"/>
                    <a:pt x="119" y="9"/>
                  </a:cubicBezTo>
                  <a:cubicBezTo>
                    <a:pt x="119" y="4"/>
                    <a:pt x="115" y="0"/>
                    <a:pt x="110" y="0"/>
                  </a:cubicBezTo>
                  <a:close/>
                  <a:moveTo>
                    <a:pt x="100" y="100"/>
                  </a:moveTo>
                  <a:cubicBezTo>
                    <a:pt x="19" y="100"/>
                    <a:pt x="19" y="100"/>
                    <a:pt x="19" y="100"/>
                  </a:cubicBezTo>
                  <a:cubicBezTo>
                    <a:pt x="19" y="18"/>
                    <a:pt x="19" y="18"/>
                    <a:pt x="19" y="18"/>
                  </a:cubicBezTo>
                  <a:cubicBezTo>
                    <a:pt x="100" y="18"/>
                    <a:pt x="100" y="18"/>
                    <a:pt x="100" y="18"/>
                  </a:cubicBezTo>
                  <a:lnTo>
                    <a:pt x="10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12" name="Freeform 154"/>
            <p:cNvSpPr>
              <a:spLocks noEditPoints="1"/>
            </p:cNvSpPr>
            <p:nvPr/>
          </p:nvSpPr>
          <p:spPr bwMode="auto">
            <a:xfrm>
              <a:off x="18291175" y="5673725"/>
              <a:ext cx="877888" cy="441325"/>
            </a:xfrm>
            <a:custGeom>
              <a:avLst/>
              <a:gdLst>
                <a:gd name="T0" fmla="*/ 202 w 234"/>
                <a:gd name="T1" fmla="*/ 68 h 118"/>
                <a:gd name="T2" fmla="*/ 192 w 234"/>
                <a:gd name="T3" fmla="*/ 78 h 118"/>
                <a:gd name="T4" fmla="*/ 192 w 234"/>
                <a:gd name="T5" fmla="*/ 91 h 118"/>
                <a:gd name="T6" fmla="*/ 199 w 234"/>
                <a:gd name="T7" fmla="*/ 94 h 118"/>
                <a:gd name="T8" fmla="*/ 205 w 234"/>
                <a:gd name="T9" fmla="*/ 91 h 118"/>
                <a:gd name="T10" fmla="*/ 230 w 234"/>
                <a:gd name="T11" fmla="*/ 66 h 118"/>
                <a:gd name="T12" fmla="*/ 230 w 234"/>
                <a:gd name="T13" fmla="*/ 53 h 118"/>
                <a:gd name="T14" fmla="*/ 205 w 234"/>
                <a:gd name="T15" fmla="*/ 28 h 118"/>
                <a:gd name="T16" fmla="*/ 192 w 234"/>
                <a:gd name="T17" fmla="*/ 28 h 118"/>
                <a:gd name="T18" fmla="*/ 192 w 234"/>
                <a:gd name="T19" fmla="*/ 40 h 118"/>
                <a:gd name="T20" fmla="*/ 202 w 234"/>
                <a:gd name="T21" fmla="*/ 50 h 118"/>
                <a:gd name="T22" fmla="*/ 119 w 234"/>
                <a:gd name="T23" fmla="*/ 50 h 118"/>
                <a:gd name="T24" fmla="*/ 119 w 234"/>
                <a:gd name="T25" fmla="*/ 9 h 118"/>
                <a:gd name="T26" fmla="*/ 110 w 234"/>
                <a:gd name="T27" fmla="*/ 0 h 118"/>
                <a:gd name="T28" fmla="*/ 10 w 234"/>
                <a:gd name="T29" fmla="*/ 0 h 118"/>
                <a:gd name="T30" fmla="*/ 0 w 234"/>
                <a:gd name="T31" fmla="*/ 9 h 118"/>
                <a:gd name="T32" fmla="*/ 0 w 234"/>
                <a:gd name="T33" fmla="*/ 109 h 118"/>
                <a:gd name="T34" fmla="*/ 10 w 234"/>
                <a:gd name="T35" fmla="*/ 118 h 118"/>
                <a:gd name="T36" fmla="*/ 110 w 234"/>
                <a:gd name="T37" fmla="*/ 118 h 118"/>
                <a:gd name="T38" fmla="*/ 119 w 234"/>
                <a:gd name="T39" fmla="*/ 109 h 118"/>
                <a:gd name="T40" fmla="*/ 119 w 234"/>
                <a:gd name="T41" fmla="*/ 68 h 118"/>
                <a:gd name="T42" fmla="*/ 202 w 234"/>
                <a:gd name="T43" fmla="*/ 68 h 118"/>
                <a:gd name="T44" fmla="*/ 100 w 234"/>
                <a:gd name="T45" fmla="*/ 100 h 118"/>
                <a:gd name="T46" fmla="*/ 19 w 234"/>
                <a:gd name="T47" fmla="*/ 100 h 118"/>
                <a:gd name="T48" fmla="*/ 19 w 234"/>
                <a:gd name="T49" fmla="*/ 18 h 118"/>
                <a:gd name="T50" fmla="*/ 100 w 234"/>
                <a:gd name="T51" fmla="*/ 18 h 118"/>
                <a:gd name="T52" fmla="*/ 100 w 234"/>
                <a:gd name="T53" fmla="*/ 10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4" h="118">
                  <a:moveTo>
                    <a:pt x="202" y="68"/>
                  </a:moveTo>
                  <a:cubicBezTo>
                    <a:pt x="192" y="78"/>
                    <a:pt x="192" y="78"/>
                    <a:pt x="192" y="78"/>
                  </a:cubicBezTo>
                  <a:cubicBezTo>
                    <a:pt x="189" y="82"/>
                    <a:pt x="189" y="87"/>
                    <a:pt x="192" y="91"/>
                  </a:cubicBezTo>
                  <a:cubicBezTo>
                    <a:pt x="194" y="92"/>
                    <a:pt x="196" y="94"/>
                    <a:pt x="199" y="94"/>
                  </a:cubicBezTo>
                  <a:cubicBezTo>
                    <a:pt x="201" y="94"/>
                    <a:pt x="204" y="93"/>
                    <a:pt x="205" y="91"/>
                  </a:cubicBezTo>
                  <a:cubicBezTo>
                    <a:pt x="230" y="66"/>
                    <a:pt x="230" y="66"/>
                    <a:pt x="230" y="66"/>
                  </a:cubicBezTo>
                  <a:cubicBezTo>
                    <a:pt x="234" y="62"/>
                    <a:pt x="234" y="56"/>
                    <a:pt x="230" y="53"/>
                  </a:cubicBezTo>
                  <a:cubicBezTo>
                    <a:pt x="205" y="28"/>
                    <a:pt x="205" y="28"/>
                    <a:pt x="205" y="28"/>
                  </a:cubicBezTo>
                  <a:cubicBezTo>
                    <a:pt x="202" y="24"/>
                    <a:pt x="196" y="24"/>
                    <a:pt x="192" y="28"/>
                  </a:cubicBezTo>
                  <a:cubicBezTo>
                    <a:pt x="189" y="31"/>
                    <a:pt x="189" y="37"/>
                    <a:pt x="192" y="40"/>
                  </a:cubicBezTo>
                  <a:cubicBezTo>
                    <a:pt x="202" y="50"/>
                    <a:pt x="202" y="50"/>
                    <a:pt x="202" y="50"/>
                  </a:cubicBezTo>
                  <a:cubicBezTo>
                    <a:pt x="119" y="50"/>
                    <a:pt x="119" y="50"/>
                    <a:pt x="119" y="50"/>
                  </a:cubicBezTo>
                  <a:cubicBezTo>
                    <a:pt x="119" y="9"/>
                    <a:pt x="119" y="9"/>
                    <a:pt x="119" y="9"/>
                  </a:cubicBezTo>
                  <a:cubicBezTo>
                    <a:pt x="119" y="4"/>
                    <a:pt x="115" y="0"/>
                    <a:pt x="110" y="0"/>
                  </a:cubicBezTo>
                  <a:cubicBezTo>
                    <a:pt x="10" y="0"/>
                    <a:pt x="10" y="0"/>
                    <a:pt x="10" y="0"/>
                  </a:cubicBezTo>
                  <a:cubicBezTo>
                    <a:pt x="4" y="0"/>
                    <a:pt x="0" y="4"/>
                    <a:pt x="0" y="9"/>
                  </a:cubicBezTo>
                  <a:cubicBezTo>
                    <a:pt x="0" y="109"/>
                    <a:pt x="0" y="109"/>
                    <a:pt x="0" y="109"/>
                  </a:cubicBezTo>
                  <a:cubicBezTo>
                    <a:pt x="0" y="114"/>
                    <a:pt x="4" y="118"/>
                    <a:pt x="10" y="118"/>
                  </a:cubicBezTo>
                  <a:cubicBezTo>
                    <a:pt x="110" y="118"/>
                    <a:pt x="110" y="118"/>
                    <a:pt x="110" y="118"/>
                  </a:cubicBezTo>
                  <a:cubicBezTo>
                    <a:pt x="115" y="118"/>
                    <a:pt x="119" y="114"/>
                    <a:pt x="119" y="109"/>
                  </a:cubicBezTo>
                  <a:cubicBezTo>
                    <a:pt x="119" y="68"/>
                    <a:pt x="119" y="68"/>
                    <a:pt x="119" y="68"/>
                  </a:cubicBezTo>
                  <a:lnTo>
                    <a:pt x="202" y="68"/>
                  </a:lnTo>
                  <a:close/>
                  <a:moveTo>
                    <a:pt x="100" y="100"/>
                  </a:moveTo>
                  <a:cubicBezTo>
                    <a:pt x="19" y="100"/>
                    <a:pt x="19" y="100"/>
                    <a:pt x="19" y="100"/>
                  </a:cubicBezTo>
                  <a:cubicBezTo>
                    <a:pt x="19" y="18"/>
                    <a:pt x="19" y="18"/>
                    <a:pt x="19" y="18"/>
                  </a:cubicBezTo>
                  <a:cubicBezTo>
                    <a:pt x="100" y="18"/>
                    <a:pt x="100" y="18"/>
                    <a:pt x="100" y="18"/>
                  </a:cubicBezTo>
                  <a:lnTo>
                    <a:pt x="10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13" name="Freeform 155"/>
            <p:cNvSpPr>
              <a:spLocks noEditPoints="1"/>
            </p:cNvSpPr>
            <p:nvPr/>
          </p:nvSpPr>
          <p:spPr bwMode="auto">
            <a:xfrm>
              <a:off x="18838863" y="6656388"/>
              <a:ext cx="877888" cy="441325"/>
            </a:xfrm>
            <a:custGeom>
              <a:avLst/>
              <a:gdLst>
                <a:gd name="T0" fmla="*/ 224 w 234"/>
                <a:gd name="T1" fmla="*/ 0 h 118"/>
                <a:gd name="T2" fmla="*/ 124 w 234"/>
                <a:gd name="T3" fmla="*/ 0 h 118"/>
                <a:gd name="T4" fmla="*/ 115 w 234"/>
                <a:gd name="T5" fmla="*/ 9 h 118"/>
                <a:gd name="T6" fmla="*/ 115 w 234"/>
                <a:gd name="T7" fmla="*/ 50 h 118"/>
                <a:gd name="T8" fmla="*/ 32 w 234"/>
                <a:gd name="T9" fmla="*/ 50 h 118"/>
                <a:gd name="T10" fmla="*/ 42 w 234"/>
                <a:gd name="T11" fmla="*/ 40 h 118"/>
                <a:gd name="T12" fmla="*/ 42 w 234"/>
                <a:gd name="T13" fmla="*/ 27 h 118"/>
                <a:gd name="T14" fmla="*/ 29 w 234"/>
                <a:gd name="T15" fmla="*/ 27 h 118"/>
                <a:gd name="T16" fmla="*/ 3 w 234"/>
                <a:gd name="T17" fmla="*/ 52 h 118"/>
                <a:gd name="T18" fmla="*/ 3 w 234"/>
                <a:gd name="T19" fmla="*/ 65 h 118"/>
                <a:gd name="T20" fmla="*/ 29 w 234"/>
                <a:gd name="T21" fmla="*/ 90 h 118"/>
                <a:gd name="T22" fmla="*/ 35 w 234"/>
                <a:gd name="T23" fmla="*/ 93 h 118"/>
                <a:gd name="T24" fmla="*/ 42 w 234"/>
                <a:gd name="T25" fmla="*/ 90 h 118"/>
                <a:gd name="T26" fmla="*/ 42 w 234"/>
                <a:gd name="T27" fmla="*/ 78 h 118"/>
                <a:gd name="T28" fmla="*/ 32 w 234"/>
                <a:gd name="T29" fmla="*/ 68 h 118"/>
                <a:gd name="T30" fmla="*/ 115 w 234"/>
                <a:gd name="T31" fmla="*/ 68 h 118"/>
                <a:gd name="T32" fmla="*/ 115 w 234"/>
                <a:gd name="T33" fmla="*/ 109 h 118"/>
                <a:gd name="T34" fmla="*/ 124 w 234"/>
                <a:gd name="T35" fmla="*/ 118 h 118"/>
                <a:gd name="T36" fmla="*/ 224 w 234"/>
                <a:gd name="T37" fmla="*/ 118 h 118"/>
                <a:gd name="T38" fmla="*/ 234 w 234"/>
                <a:gd name="T39" fmla="*/ 109 h 118"/>
                <a:gd name="T40" fmla="*/ 234 w 234"/>
                <a:gd name="T41" fmla="*/ 9 h 118"/>
                <a:gd name="T42" fmla="*/ 224 w 234"/>
                <a:gd name="T43" fmla="*/ 0 h 118"/>
                <a:gd name="T44" fmla="*/ 215 w 234"/>
                <a:gd name="T45" fmla="*/ 100 h 118"/>
                <a:gd name="T46" fmla="*/ 134 w 234"/>
                <a:gd name="T47" fmla="*/ 100 h 118"/>
                <a:gd name="T48" fmla="*/ 134 w 234"/>
                <a:gd name="T49" fmla="*/ 18 h 118"/>
                <a:gd name="T50" fmla="*/ 215 w 234"/>
                <a:gd name="T51" fmla="*/ 18 h 118"/>
                <a:gd name="T52" fmla="*/ 215 w 234"/>
                <a:gd name="T53" fmla="*/ 10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4" h="118">
                  <a:moveTo>
                    <a:pt x="224" y="0"/>
                  </a:moveTo>
                  <a:cubicBezTo>
                    <a:pt x="124" y="0"/>
                    <a:pt x="124" y="0"/>
                    <a:pt x="124" y="0"/>
                  </a:cubicBezTo>
                  <a:cubicBezTo>
                    <a:pt x="119" y="0"/>
                    <a:pt x="115" y="4"/>
                    <a:pt x="115" y="9"/>
                  </a:cubicBezTo>
                  <a:cubicBezTo>
                    <a:pt x="115" y="50"/>
                    <a:pt x="115" y="50"/>
                    <a:pt x="115" y="50"/>
                  </a:cubicBezTo>
                  <a:cubicBezTo>
                    <a:pt x="32" y="50"/>
                    <a:pt x="32" y="50"/>
                    <a:pt x="32" y="50"/>
                  </a:cubicBezTo>
                  <a:cubicBezTo>
                    <a:pt x="42" y="40"/>
                    <a:pt x="42" y="40"/>
                    <a:pt x="42" y="40"/>
                  </a:cubicBezTo>
                  <a:cubicBezTo>
                    <a:pt x="45" y="36"/>
                    <a:pt x="45" y="31"/>
                    <a:pt x="42" y="27"/>
                  </a:cubicBezTo>
                  <a:cubicBezTo>
                    <a:pt x="38" y="24"/>
                    <a:pt x="32" y="24"/>
                    <a:pt x="29" y="27"/>
                  </a:cubicBezTo>
                  <a:cubicBezTo>
                    <a:pt x="3" y="52"/>
                    <a:pt x="3" y="52"/>
                    <a:pt x="3" y="52"/>
                  </a:cubicBezTo>
                  <a:cubicBezTo>
                    <a:pt x="0" y="56"/>
                    <a:pt x="0" y="62"/>
                    <a:pt x="3" y="65"/>
                  </a:cubicBezTo>
                  <a:cubicBezTo>
                    <a:pt x="29" y="90"/>
                    <a:pt x="29" y="90"/>
                    <a:pt x="29" y="90"/>
                  </a:cubicBezTo>
                  <a:cubicBezTo>
                    <a:pt x="30" y="92"/>
                    <a:pt x="33" y="93"/>
                    <a:pt x="35" y="93"/>
                  </a:cubicBezTo>
                  <a:cubicBezTo>
                    <a:pt x="38" y="93"/>
                    <a:pt x="40" y="92"/>
                    <a:pt x="42" y="90"/>
                  </a:cubicBezTo>
                  <a:cubicBezTo>
                    <a:pt x="45" y="87"/>
                    <a:pt x="45" y="81"/>
                    <a:pt x="42" y="78"/>
                  </a:cubicBezTo>
                  <a:cubicBezTo>
                    <a:pt x="32" y="68"/>
                    <a:pt x="32" y="68"/>
                    <a:pt x="32" y="68"/>
                  </a:cubicBezTo>
                  <a:cubicBezTo>
                    <a:pt x="115" y="68"/>
                    <a:pt x="115" y="68"/>
                    <a:pt x="115" y="68"/>
                  </a:cubicBezTo>
                  <a:cubicBezTo>
                    <a:pt x="115" y="109"/>
                    <a:pt x="115" y="109"/>
                    <a:pt x="115" y="109"/>
                  </a:cubicBezTo>
                  <a:cubicBezTo>
                    <a:pt x="115" y="114"/>
                    <a:pt x="119" y="118"/>
                    <a:pt x="124" y="118"/>
                  </a:cubicBezTo>
                  <a:cubicBezTo>
                    <a:pt x="224" y="118"/>
                    <a:pt x="224" y="118"/>
                    <a:pt x="224" y="118"/>
                  </a:cubicBezTo>
                  <a:cubicBezTo>
                    <a:pt x="230" y="118"/>
                    <a:pt x="234" y="114"/>
                    <a:pt x="234" y="109"/>
                  </a:cubicBezTo>
                  <a:cubicBezTo>
                    <a:pt x="234" y="9"/>
                    <a:pt x="234" y="9"/>
                    <a:pt x="234" y="9"/>
                  </a:cubicBezTo>
                  <a:cubicBezTo>
                    <a:pt x="234" y="4"/>
                    <a:pt x="229" y="0"/>
                    <a:pt x="224" y="0"/>
                  </a:cubicBezTo>
                  <a:close/>
                  <a:moveTo>
                    <a:pt x="215" y="100"/>
                  </a:moveTo>
                  <a:cubicBezTo>
                    <a:pt x="134" y="100"/>
                    <a:pt x="134" y="100"/>
                    <a:pt x="134" y="100"/>
                  </a:cubicBezTo>
                  <a:cubicBezTo>
                    <a:pt x="134" y="18"/>
                    <a:pt x="134" y="18"/>
                    <a:pt x="134" y="18"/>
                  </a:cubicBezTo>
                  <a:cubicBezTo>
                    <a:pt x="215" y="18"/>
                    <a:pt x="215" y="18"/>
                    <a:pt x="215" y="18"/>
                  </a:cubicBezTo>
                  <a:lnTo>
                    <a:pt x="215"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14" name="Freeform 156"/>
            <p:cNvSpPr>
              <a:spLocks noEditPoints="1"/>
            </p:cNvSpPr>
            <p:nvPr/>
          </p:nvSpPr>
          <p:spPr bwMode="auto">
            <a:xfrm>
              <a:off x="19270663" y="5673725"/>
              <a:ext cx="446088" cy="873125"/>
            </a:xfrm>
            <a:custGeom>
              <a:avLst/>
              <a:gdLst>
                <a:gd name="T0" fmla="*/ 109 w 119"/>
                <a:gd name="T1" fmla="*/ 0 h 233"/>
                <a:gd name="T2" fmla="*/ 9 w 119"/>
                <a:gd name="T3" fmla="*/ 0 h 233"/>
                <a:gd name="T4" fmla="*/ 0 w 119"/>
                <a:gd name="T5" fmla="*/ 9 h 233"/>
                <a:gd name="T6" fmla="*/ 0 w 119"/>
                <a:gd name="T7" fmla="*/ 109 h 233"/>
                <a:gd name="T8" fmla="*/ 9 w 119"/>
                <a:gd name="T9" fmla="*/ 118 h 233"/>
                <a:gd name="T10" fmla="*/ 50 w 119"/>
                <a:gd name="T11" fmla="*/ 118 h 233"/>
                <a:gd name="T12" fmla="*/ 50 w 119"/>
                <a:gd name="T13" fmla="*/ 202 h 233"/>
                <a:gd name="T14" fmla="*/ 41 w 119"/>
                <a:gd name="T15" fmla="*/ 192 h 233"/>
                <a:gd name="T16" fmla="*/ 28 w 119"/>
                <a:gd name="T17" fmla="*/ 192 h 233"/>
                <a:gd name="T18" fmla="*/ 28 w 119"/>
                <a:gd name="T19" fmla="*/ 205 h 233"/>
                <a:gd name="T20" fmla="*/ 53 w 119"/>
                <a:gd name="T21" fmla="*/ 230 h 233"/>
                <a:gd name="T22" fmla="*/ 59 w 119"/>
                <a:gd name="T23" fmla="*/ 233 h 233"/>
                <a:gd name="T24" fmla="*/ 66 w 119"/>
                <a:gd name="T25" fmla="*/ 230 h 233"/>
                <a:gd name="T26" fmla="*/ 91 w 119"/>
                <a:gd name="T27" fmla="*/ 205 h 233"/>
                <a:gd name="T28" fmla="*/ 91 w 119"/>
                <a:gd name="T29" fmla="*/ 192 h 233"/>
                <a:gd name="T30" fmla="*/ 78 w 119"/>
                <a:gd name="T31" fmla="*/ 192 h 233"/>
                <a:gd name="T32" fmla="*/ 69 w 119"/>
                <a:gd name="T33" fmla="*/ 202 h 233"/>
                <a:gd name="T34" fmla="*/ 69 w 119"/>
                <a:gd name="T35" fmla="*/ 118 h 233"/>
                <a:gd name="T36" fmla="*/ 109 w 119"/>
                <a:gd name="T37" fmla="*/ 118 h 233"/>
                <a:gd name="T38" fmla="*/ 119 w 119"/>
                <a:gd name="T39" fmla="*/ 109 h 233"/>
                <a:gd name="T40" fmla="*/ 119 w 119"/>
                <a:gd name="T41" fmla="*/ 9 h 233"/>
                <a:gd name="T42" fmla="*/ 109 w 119"/>
                <a:gd name="T43" fmla="*/ 0 h 233"/>
                <a:gd name="T44" fmla="*/ 100 w 119"/>
                <a:gd name="T45" fmla="*/ 100 h 233"/>
                <a:gd name="T46" fmla="*/ 19 w 119"/>
                <a:gd name="T47" fmla="*/ 100 h 233"/>
                <a:gd name="T48" fmla="*/ 19 w 119"/>
                <a:gd name="T49" fmla="*/ 18 h 233"/>
                <a:gd name="T50" fmla="*/ 100 w 119"/>
                <a:gd name="T51" fmla="*/ 18 h 233"/>
                <a:gd name="T52" fmla="*/ 100 w 119"/>
                <a:gd name="T53" fmla="*/ 10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233">
                  <a:moveTo>
                    <a:pt x="109" y="0"/>
                  </a:moveTo>
                  <a:cubicBezTo>
                    <a:pt x="9" y="0"/>
                    <a:pt x="9" y="0"/>
                    <a:pt x="9" y="0"/>
                  </a:cubicBezTo>
                  <a:cubicBezTo>
                    <a:pt x="4" y="0"/>
                    <a:pt x="0" y="4"/>
                    <a:pt x="0" y="9"/>
                  </a:cubicBezTo>
                  <a:cubicBezTo>
                    <a:pt x="0" y="109"/>
                    <a:pt x="0" y="109"/>
                    <a:pt x="0" y="109"/>
                  </a:cubicBezTo>
                  <a:cubicBezTo>
                    <a:pt x="0" y="114"/>
                    <a:pt x="4" y="118"/>
                    <a:pt x="9" y="118"/>
                  </a:cubicBezTo>
                  <a:cubicBezTo>
                    <a:pt x="50" y="118"/>
                    <a:pt x="50" y="118"/>
                    <a:pt x="50" y="118"/>
                  </a:cubicBezTo>
                  <a:cubicBezTo>
                    <a:pt x="50" y="202"/>
                    <a:pt x="50" y="202"/>
                    <a:pt x="50" y="202"/>
                  </a:cubicBezTo>
                  <a:cubicBezTo>
                    <a:pt x="41" y="192"/>
                    <a:pt x="41" y="192"/>
                    <a:pt x="41" y="192"/>
                  </a:cubicBezTo>
                  <a:cubicBezTo>
                    <a:pt x="37" y="188"/>
                    <a:pt x="31" y="188"/>
                    <a:pt x="28" y="192"/>
                  </a:cubicBezTo>
                  <a:cubicBezTo>
                    <a:pt x="24" y="196"/>
                    <a:pt x="24" y="201"/>
                    <a:pt x="28" y="205"/>
                  </a:cubicBezTo>
                  <a:cubicBezTo>
                    <a:pt x="53" y="230"/>
                    <a:pt x="53" y="230"/>
                    <a:pt x="53" y="230"/>
                  </a:cubicBezTo>
                  <a:cubicBezTo>
                    <a:pt x="55" y="232"/>
                    <a:pt x="57" y="233"/>
                    <a:pt x="59" y="233"/>
                  </a:cubicBezTo>
                  <a:cubicBezTo>
                    <a:pt x="62" y="233"/>
                    <a:pt x="64" y="232"/>
                    <a:pt x="66" y="230"/>
                  </a:cubicBezTo>
                  <a:cubicBezTo>
                    <a:pt x="91" y="205"/>
                    <a:pt x="91" y="205"/>
                    <a:pt x="91" y="205"/>
                  </a:cubicBezTo>
                  <a:cubicBezTo>
                    <a:pt x="95" y="201"/>
                    <a:pt x="95" y="196"/>
                    <a:pt x="91" y="192"/>
                  </a:cubicBezTo>
                  <a:cubicBezTo>
                    <a:pt x="87" y="188"/>
                    <a:pt x="82" y="188"/>
                    <a:pt x="78" y="192"/>
                  </a:cubicBezTo>
                  <a:cubicBezTo>
                    <a:pt x="69" y="202"/>
                    <a:pt x="69" y="202"/>
                    <a:pt x="69" y="202"/>
                  </a:cubicBezTo>
                  <a:cubicBezTo>
                    <a:pt x="69" y="118"/>
                    <a:pt x="69" y="118"/>
                    <a:pt x="69" y="118"/>
                  </a:cubicBezTo>
                  <a:cubicBezTo>
                    <a:pt x="109" y="118"/>
                    <a:pt x="109" y="118"/>
                    <a:pt x="109" y="118"/>
                  </a:cubicBezTo>
                  <a:cubicBezTo>
                    <a:pt x="115" y="118"/>
                    <a:pt x="119" y="114"/>
                    <a:pt x="119" y="109"/>
                  </a:cubicBezTo>
                  <a:cubicBezTo>
                    <a:pt x="119" y="9"/>
                    <a:pt x="119" y="9"/>
                    <a:pt x="119" y="9"/>
                  </a:cubicBezTo>
                  <a:cubicBezTo>
                    <a:pt x="119" y="4"/>
                    <a:pt x="115" y="0"/>
                    <a:pt x="109" y="0"/>
                  </a:cubicBezTo>
                  <a:close/>
                  <a:moveTo>
                    <a:pt x="100" y="100"/>
                  </a:moveTo>
                  <a:cubicBezTo>
                    <a:pt x="19" y="100"/>
                    <a:pt x="19" y="100"/>
                    <a:pt x="19" y="100"/>
                  </a:cubicBezTo>
                  <a:cubicBezTo>
                    <a:pt x="19" y="18"/>
                    <a:pt x="19" y="18"/>
                    <a:pt x="19" y="18"/>
                  </a:cubicBezTo>
                  <a:cubicBezTo>
                    <a:pt x="100" y="18"/>
                    <a:pt x="100" y="18"/>
                    <a:pt x="100" y="18"/>
                  </a:cubicBezTo>
                  <a:lnTo>
                    <a:pt x="10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15" name="Freeform 157"/>
            <p:cNvSpPr>
              <a:spLocks/>
            </p:cNvSpPr>
            <p:nvPr/>
          </p:nvSpPr>
          <p:spPr bwMode="auto">
            <a:xfrm>
              <a:off x="18408650" y="6791325"/>
              <a:ext cx="212725" cy="168275"/>
            </a:xfrm>
            <a:custGeom>
              <a:avLst/>
              <a:gdLst>
                <a:gd name="T0" fmla="*/ 16 w 57"/>
                <a:gd name="T1" fmla="*/ 42 h 45"/>
                <a:gd name="T2" fmla="*/ 23 w 57"/>
                <a:gd name="T3" fmla="*/ 45 h 45"/>
                <a:gd name="T4" fmla="*/ 30 w 57"/>
                <a:gd name="T5" fmla="*/ 42 h 45"/>
                <a:gd name="T6" fmla="*/ 54 w 57"/>
                <a:gd name="T7" fmla="*/ 16 h 45"/>
                <a:gd name="T8" fmla="*/ 53 w 57"/>
                <a:gd name="T9" fmla="*/ 3 h 45"/>
                <a:gd name="T10" fmla="*/ 41 w 57"/>
                <a:gd name="T11" fmla="*/ 4 h 45"/>
                <a:gd name="T12" fmla="*/ 23 w 57"/>
                <a:gd name="T13" fmla="*/ 22 h 45"/>
                <a:gd name="T14" fmla="*/ 17 w 57"/>
                <a:gd name="T15" fmla="*/ 16 h 45"/>
                <a:gd name="T16" fmla="*/ 4 w 57"/>
                <a:gd name="T17" fmla="*/ 16 h 45"/>
                <a:gd name="T18" fmla="*/ 4 w 57"/>
                <a:gd name="T19" fmla="*/ 28 h 45"/>
                <a:gd name="T20" fmla="*/ 16 w 57"/>
                <a:gd name="T21" fmla="*/ 4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45">
                  <a:moveTo>
                    <a:pt x="16" y="42"/>
                  </a:moveTo>
                  <a:cubicBezTo>
                    <a:pt x="18" y="44"/>
                    <a:pt x="20" y="45"/>
                    <a:pt x="23" y="45"/>
                  </a:cubicBezTo>
                  <a:cubicBezTo>
                    <a:pt x="25" y="45"/>
                    <a:pt x="28" y="44"/>
                    <a:pt x="30" y="42"/>
                  </a:cubicBezTo>
                  <a:cubicBezTo>
                    <a:pt x="54" y="16"/>
                    <a:pt x="54" y="16"/>
                    <a:pt x="54" y="16"/>
                  </a:cubicBezTo>
                  <a:cubicBezTo>
                    <a:pt x="57" y="12"/>
                    <a:pt x="57" y="6"/>
                    <a:pt x="53" y="3"/>
                  </a:cubicBezTo>
                  <a:cubicBezTo>
                    <a:pt x="50" y="0"/>
                    <a:pt x="44" y="0"/>
                    <a:pt x="41" y="4"/>
                  </a:cubicBezTo>
                  <a:cubicBezTo>
                    <a:pt x="23" y="22"/>
                    <a:pt x="23" y="22"/>
                    <a:pt x="23" y="22"/>
                  </a:cubicBezTo>
                  <a:cubicBezTo>
                    <a:pt x="17" y="16"/>
                    <a:pt x="17" y="16"/>
                    <a:pt x="17" y="16"/>
                  </a:cubicBezTo>
                  <a:cubicBezTo>
                    <a:pt x="13" y="12"/>
                    <a:pt x="8" y="12"/>
                    <a:pt x="4" y="16"/>
                  </a:cubicBezTo>
                  <a:cubicBezTo>
                    <a:pt x="1" y="19"/>
                    <a:pt x="0" y="25"/>
                    <a:pt x="4" y="28"/>
                  </a:cubicBezTo>
                  <a:lnTo>
                    <a:pt x="1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grpSp>
        <p:nvGrpSpPr>
          <p:cNvPr id="4228" name="Group 4227"/>
          <p:cNvGrpSpPr/>
          <p:nvPr/>
        </p:nvGrpSpPr>
        <p:grpSpPr>
          <a:xfrm>
            <a:off x="7434290" y="5968615"/>
            <a:ext cx="340783" cy="340783"/>
            <a:chOff x="-1398588" y="7383463"/>
            <a:chExt cx="511175" cy="511175"/>
          </a:xfrm>
          <a:solidFill>
            <a:schemeClr val="accent2"/>
          </a:solidFill>
        </p:grpSpPr>
        <p:sp>
          <p:nvSpPr>
            <p:cNvPr id="4220" name="Freeform 162"/>
            <p:cNvSpPr>
              <a:spLocks noEditPoints="1"/>
            </p:cNvSpPr>
            <p:nvPr/>
          </p:nvSpPr>
          <p:spPr bwMode="auto">
            <a:xfrm>
              <a:off x="-1398588" y="7383463"/>
              <a:ext cx="511175" cy="511175"/>
            </a:xfrm>
            <a:custGeom>
              <a:avLst/>
              <a:gdLst>
                <a:gd name="T0" fmla="*/ 0 w 322"/>
                <a:gd name="T1" fmla="*/ 0 h 322"/>
                <a:gd name="T2" fmla="*/ 0 w 322"/>
                <a:gd name="T3" fmla="*/ 322 h 322"/>
                <a:gd name="T4" fmla="*/ 322 w 322"/>
                <a:gd name="T5" fmla="*/ 322 h 322"/>
                <a:gd name="T6" fmla="*/ 322 w 322"/>
                <a:gd name="T7" fmla="*/ 0 h 322"/>
                <a:gd name="T8" fmla="*/ 0 w 322"/>
                <a:gd name="T9" fmla="*/ 0 h 322"/>
                <a:gd name="T10" fmla="*/ 19 w 322"/>
                <a:gd name="T11" fmla="*/ 19 h 322"/>
                <a:gd name="T12" fmla="*/ 303 w 322"/>
                <a:gd name="T13" fmla="*/ 19 h 322"/>
                <a:gd name="T14" fmla="*/ 303 w 322"/>
                <a:gd name="T15" fmla="*/ 76 h 322"/>
                <a:gd name="T16" fmla="*/ 19 w 322"/>
                <a:gd name="T17" fmla="*/ 76 h 322"/>
                <a:gd name="T18" fmla="*/ 19 w 322"/>
                <a:gd name="T19" fmla="*/ 19 h 322"/>
                <a:gd name="T20" fmla="*/ 303 w 322"/>
                <a:gd name="T21" fmla="*/ 303 h 322"/>
                <a:gd name="T22" fmla="*/ 19 w 322"/>
                <a:gd name="T23" fmla="*/ 303 h 322"/>
                <a:gd name="T24" fmla="*/ 19 w 322"/>
                <a:gd name="T25" fmla="*/ 95 h 322"/>
                <a:gd name="T26" fmla="*/ 303 w 322"/>
                <a:gd name="T27" fmla="*/ 95 h 322"/>
                <a:gd name="T28" fmla="*/ 303 w 322"/>
                <a:gd name="T29"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2">
                  <a:moveTo>
                    <a:pt x="0" y="0"/>
                  </a:moveTo>
                  <a:lnTo>
                    <a:pt x="0" y="322"/>
                  </a:lnTo>
                  <a:lnTo>
                    <a:pt x="322" y="322"/>
                  </a:lnTo>
                  <a:lnTo>
                    <a:pt x="322" y="0"/>
                  </a:lnTo>
                  <a:lnTo>
                    <a:pt x="0" y="0"/>
                  </a:lnTo>
                  <a:close/>
                  <a:moveTo>
                    <a:pt x="19" y="19"/>
                  </a:moveTo>
                  <a:lnTo>
                    <a:pt x="303" y="19"/>
                  </a:lnTo>
                  <a:lnTo>
                    <a:pt x="303" y="76"/>
                  </a:lnTo>
                  <a:lnTo>
                    <a:pt x="19" y="76"/>
                  </a:lnTo>
                  <a:lnTo>
                    <a:pt x="19" y="19"/>
                  </a:lnTo>
                  <a:close/>
                  <a:moveTo>
                    <a:pt x="303" y="303"/>
                  </a:moveTo>
                  <a:lnTo>
                    <a:pt x="19" y="303"/>
                  </a:lnTo>
                  <a:lnTo>
                    <a:pt x="19" y="95"/>
                  </a:lnTo>
                  <a:lnTo>
                    <a:pt x="303" y="95"/>
                  </a:lnTo>
                  <a:lnTo>
                    <a:pt x="303"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21" name="Freeform 163"/>
            <p:cNvSpPr>
              <a:spLocks noEditPoints="1"/>
            </p:cNvSpPr>
            <p:nvPr/>
          </p:nvSpPr>
          <p:spPr bwMode="auto">
            <a:xfrm>
              <a:off x="-1263651" y="7578726"/>
              <a:ext cx="241300" cy="239713"/>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8 h 64"/>
                <a:gd name="T12" fmla="*/ 56 w 64"/>
                <a:gd name="T13" fmla="*/ 32 h 64"/>
                <a:gd name="T14" fmla="*/ 32 w 64"/>
                <a:gd name="T15" fmla="*/ 56 h 64"/>
                <a:gd name="T16" fmla="*/ 8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50"/>
                    <a:pt x="64" y="32"/>
                  </a:cubicBezTo>
                  <a:cubicBezTo>
                    <a:pt x="64" y="14"/>
                    <a:pt x="50" y="0"/>
                    <a:pt x="32" y="0"/>
                  </a:cubicBezTo>
                  <a:cubicBezTo>
                    <a:pt x="14" y="0"/>
                    <a:pt x="0" y="14"/>
                    <a:pt x="0" y="32"/>
                  </a:cubicBezTo>
                  <a:cubicBezTo>
                    <a:pt x="0" y="50"/>
                    <a:pt x="14" y="64"/>
                    <a:pt x="32" y="64"/>
                  </a:cubicBezTo>
                  <a:close/>
                  <a:moveTo>
                    <a:pt x="32" y="8"/>
                  </a:moveTo>
                  <a:cubicBezTo>
                    <a:pt x="45" y="8"/>
                    <a:pt x="56" y="19"/>
                    <a:pt x="56" y="32"/>
                  </a:cubicBezTo>
                  <a:cubicBezTo>
                    <a:pt x="56" y="45"/>
                    <a:pt x="45" y="56"/>
                    <a:pt x="32" y="56"/>
                  </a:cubicBezTo>
                  <a:cubicBezTo>
                    <a:pt x="19" y="56"/>
                    <a:pt x="8" y="45"/>
                    <a:pt x="8" y="32"/>
                  </a:cubicBezTo>
                  <a:cubicBezTo>
                    <a:pt x="8" y="19"/>
                    <a:pt x="19" y="8"/>
                    <a:pt x="3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22" name="Freeform 164"/>
            <p:cNvSpPr>
              <a:spLocks/>
            </p:cNvSpPr>
            <p:nvPr/>
          </p:nvSpPr>
          <p:spPr bwMode="auto">
            <a:xfrm>
              <a:off x="-1203326" y="7639051"/>
              <a:ext cx="57150" cy="74613"/>
            </a:xfrm>
            <a:custGeom>
              <a:avLst/>
              <a:gdLst>
                <a:gd name="T0" fmla="*/ 8 w 15"/>
                <a:gd name="T1" fmla="*/ 16 h 20"/>
                <a:gd name="T2" fmla="*/ 12 w 15"/>
                <a:gd name="T3" fmla="*/ 9 h 20"/>
                <a:gd name="T4" fmla="*/ 15 w 15"/>
                <a:gd name="T5" fmla="*/ 7 h 20"/>
                <a:gd name="T6" fmla="*/ 11 w 15"/>
                <a:gd name="T7" fmla="*/ 0 h 20"/>
                <a:gd name="T8" fmla="*/ 8 w 15"/>
                <a:gd name="T9" fmla="*/ 2 h 20"/>
                <a:gd name="T10" fmla="*/ 0 w 15"/>
                <a:gd name="T11" fmla="*/ 16 h 20"/>
                <a:gd name="T12" fmla="*/ 0 w 15"/>
                <a:gd name="T13" fmla="*/ 20 h 20"/>
                <a:gd name="T14" fmla="*/ 8 w 15"/>
                <a:gd name="T15" fmla="*/ 20 h 20"/>
                <a:gd name="T16" fmla="*/ 8 w 15"/>
                <a:gd name="T1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0">
                  <a:moveTo>
                    <a:pt x="8" y="16"/>
                  </a:moveTo>
                  <a:cubicBezTo>
                    <a:pt x="8" y="13"/>
                    <a:pt x="10" y="11"/>
                    <a:pt x="12" y="9"/>
                  </a:cubicBezTo>
                  <a:cubicBezTo>
                    <a:pt x="15" y="7"/>
                    <a:pt x="15" y="7"/>
                    <a:pt x="15" y="7"/>
                  </a:cubicBezTo>
                  <a:cubicBezTo>
                    <a:pt x="11" y="0"/>
                    <a:pt x="11" y="0"/>
                    <a:pt x="11" y="0"/>
                  </a:cubicBezTo>
                  <a:cubicBezTo>
                    <a:pt x="8" y="2"/>
                    <a:pt x="8" y="2"/>
                    <a:pt x="8" y="2"/>
                  </a:cubicBezTo>
                  <a:cubicBezTo>
                    <a:pt x="3" y="5"/>
                    <a:pt x="0" y="10"/>
                    <a:pt x="0" y="16"/>
                  </a:cubicBezTo>
                  <a:cubicBezTo>
                    <a:pt x="0" y="20"/>
                    <a:pt x="0" y="20"/>
                    <a:pt x="0" y="20"/>
                  </a:cubicBezTo>
                  <a:cubicBezTo>
                    <a:pt x="8" y="20"/>
                    <a:pt x="8" y="20"/>
                    <a:pt x="8" y="20"/>
                  </a:cubicBezTo>
                  <a:lnTo>
                    <a:pt x="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23" name="Freeform 165"/>
            <p:cNvSpPr>
              <a:spLocks/>
            </p:cNvSpPr>
            <p:nvPr/>
          </p:nvSpPr>
          <p:spPr bwMode="auto">
            <a:xfrm>
              <a:off x="-1139826" y="7683501"/>
              <a:ext cx="57150" cy="76200"/>
            </a:xfrm>
            <a:custGeom>
              <a:avLst/>
              <a:gdLst>
                <a:gd name="T0" fmla="*/ 7 w 15"/>
                <a:gd name="T1" fmla="*/ 18 h 20"/>
                <a:gd name="T2" fmla="*/ 15 w 15"/>
                <a:gd name="T3" fmla="*/ 4 h 20"/>
                <a:gd name="T4" fmla="*/ 15 w 15"/>
                <a:gd name="T5" fmla="*/ 0 h 20"/>
                <a:gd name="T6" fmla="*/ 7 w 15"/>
                <a:gd name="T7" fmla="*/ 0 h 20"/>
                <a:gd name="T8" fmla="*/ 7 w 15"/>
                <a:gd name="T9" fmla="*/ 4 h 20"/>
                <a:gd name="T10" fmla="*/ 3 w 15"/>
                <a:gd name="T11" fmla="*/ 11 h 20"/>
                <a:gd name="T12" fmla="*/ 0 w 15"/>
                <a:gd name="T13" fmla="*/ 13 h 20"/>
                <a:gd name="T14" fmla="*/ 4 w 15"/>
                <a:gd name="T15" fmla="*/ 20 h 20"/>
                <a:gd name="T16" fmla="*/ 7 w 15"/>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0">
                  <a:moveTo>
                    <a:pt x="7" y="18"/>
                  </a:moveTo>
                  <a:cubicBezTo>
                    <a:pt x="12" y="15"/>
                    <a:pt x="15" y="10"/>
                    <a:pt x="15" y="4"/>
                  </a:cubicBezTo>
                  <a:cubicBezTo>
                    <a:pt x="15" y="0"/>
                    <a:pt x="15" y="0"/>
                    <a:pt x="15" y="0"/>
                  </a:cubicBezTo>
                  <a:cubicBezTo>
                    <a:pt x="7" y="0"/>
                    <a:pt x="7" y="0"/>
                    <a:pt x="7" y="0"/>
                  </a:cubicBezTo>
                  <a:cubicBezTo>
                    <a:pt x="7" y="4"/>
                    <a:pt x="7" y="4"/>
                    <a:pt x="7" y="4"/>
                  </a:cubicBezTo>
                  <a:cubicBezTo>
                    <a:pt x="7" y="7"/>
                    <a:pt x="5" y="9"/>
                    <a:pt x="3" y="11"/>
                  </a:cubicBezTo>
                  <a:cubicBezTo>
                    <a:pt x="0" y="13"/>
                    <a:pt x="0" y="13"/>
                    <a:pt x="0" y="13"/>
                  </a:cubicBezTo>
                  <a:cubicBezTo>
                    <a:pt x="4" y="20"/>
                    <a:pt x="4" y="20"/>
                    <a:pt x="4" y="20"/>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24" name="Rectangle 166"/>
            <p:cNvSpPr>
              <a:spLocks noChangeArrowheads="1"/>
            </p:cNvSpPr>
            <p:nvPr/>
          </p:nvSpPr>
          <p:spPr bwMode="auto">
            <a:xfrm>
              <a:off x="-1338263" y="7443788"/>
              <a:ext cx="46038"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25" name="Rectangle 167"/>
            <p:cNvSpPr>
              <a:spLocks noChangeArrowheads="1"/>
            </p:cNvSpPr>
            <p:nvPr/>
          </p:nvSpPr>
          <p:spPr bwMode="auto">
            <a:xfrm>
              <a:off x="-1263651" y="7443788"/>
              <a:ext cx="46038"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4227" name="Rectangle 168"/>
            <p:cNvSpPr>
              <a:spLocks noChangeArrowheads="1"/>
            </p:cNvSpPr>
            <p:nvPr/>
          </p:nvSpPr>
          <p:spPr bwMode="auto">
            <a:xfrm>
              <a:off x="-1187451" y="7443788"/>
              <a:ext cx="4445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Tree>
    <p:extLst>
      <p:ext uri="{BB962C8B-B14F-4D97-AF65-F5344CB8AC3E}">
        <p14:creationId xmlns:p14="http://schemas.microsoft.com/office/powerpoint/2010/main" val="36112990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56A20-4743-4DE2-BF55-06BB80A8D3ED}"/>
              </a:ext>
            </a:extLst>
          </p:cNvPr>
          <p:cNvSpPr>
            <a:spLocks noGrp="1"/>
          </p:cNvSpPr>
          <p:nvPr>
            <p:ph type="title"/>
          </p:nvPr>
        </p:nvSpPr>
        <p:spPr>
          <a:xfrm>
            <a:off x="4250267" y="2589432"/>
            <a:ext cx="4584814" cy="595291"/>
          </a:xfrm>
        </p:spPr>
        <p:txBody>
          <a:bodyPr/>
          <a:lstStyle/>
          <a:p>
            <a:r>
              <a:rPr lang="en-GB"/>
              <a:t>DevSecOps</a:t>
            </a:r>
          </a:p>
        </p:txBody>
      </p:sp>
    </p:spTree>
    <p:extLst>
      <p:ext uri="{BB962C8B-B14F-4D97-AF65-F5344CB8AC3E}">
        <p14:creationId xmlns:p14="http://schemas.microsoft.com/office/powerpoint/2010/main" val="6956807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a:stCxn id="21" idx="0"/>
          </p:cNvCxnSpPr>
          <p:nvPr/>
        </p:nvCxnSpPr>
        <p:spPr>
          <a:xfrm flipH="1" flipV="1">
            <a:off x="1438002" y="3800054"/>
            <a:ext cx="1" cy="159578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1438003" y="2188369"/>
            <a:ext cx="7756252" cy="2917432"/>
            <a:chOff x="1438003" y="2188369"/>
            <a:chExt cx="7756252" cy="2917432"/>
          </a:xfrm>
        </p:grpSpPr>
        <p:cxnSp>
          <p:nvCxnSpPr>
            <p:cNvPr id="79" name="Straight Connector 78"/>
            <p:cNvCxnSpPr>
              <a:stCxn id="22" idx="0"/>
              <a:endCxn id="23" idx="4"/>
            </p:cNvCxnSpPr>
            <p:nvPr/>
          </p:nvCxnSpPr>
          <p:spPr>
            <a:xfrm flipV="1">
              <a:off x="1438003" y="2530080"/>
              <a:ext cx="0" cy="1110087"/>
            </a:xfrm>
            <a:prstGeom prst="line">
              <a:avLst/>
            </a:prstGeom>
            <a:ln w="34925">
              <a:solidFill>
                <a:schemeClr val="accent2"/>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89" name="Elbow Connector 88"/>
            <p:cNvCxnSpPr>
              <a:stCxn id="23" idx="0"/>
              <a:endCxn id="26" idx="0"/>
            </p:cNvCxnSpPr>
            <p:nvPr/>
          </p:nvCxnSpPr>
          <p:spPr>
            <a:xfrm rot="16200000" flipH="1">
              <a:off x="3699367" y="-72995"/>
              <a:ext cx="93434" cy="4616162"/>
            </a:xfrm>
            <a:prstGeom prst="bentConnector3">
              <a:avLst>
                <a:gd name="adj1" fmla="val -456268"/>
              </a:avLst>
            </a:prstGeom>
            <a:ln w="34925">
              <a:solidFill>
                <a:schemeClr val="accent2"/>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116" name="Straight Connector 115"/>
            <p:cNvCxnSpPr>
              <a:stCxn id="26" idx="4"/>
              <a:endCxn id="25" idx="0"/>
            </p:cNvCxnSpPr>
            <p:nvPr/>
          </p:nvCxnSpPr>
          <p:spPr>
            <a:xfrm>
              <a:off x="6054165" y="2623514"/>
              <a:ext cx="0" cy="834829"/>
            </a:xfrm>
            <a:prstGeom prst="line">
              <a:avLst/>
            </a:prstGeom>
            <a:ln w="34925">
              <a:solidFill>
                <a:schemeClr val="accent2"/>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118" name="Straight Connector 117"/>
            <p:cNvCxnSpPr>
              <a:stCxn id="25" idx="4"/>
              <a:endCxn id="24" idx="0"/>
            </p:cNvCxnSpPr>
            <p:nvPr/>
          </p:nvCxnSpPr>
          <p:spPr>
            <a:xfrm>
              <a:off x="6054165" y="3800054"/>
              <a:ext cx="0" cy="964036"/>
            </a:xfrm>
            <a:prstGeom prst="line">
              <a:avLst/>
            </a:prstGeom>
            <a:ln w="34925">
              <a:solidFill>
                <a:schemeClr val="accent2"/>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123" name="Elbow Connector 122"/>
            <p:cNvCxnSpPr>
              <a:stCxn id="24" idx="4"/>
              <a:endCxn id="27" idx="4"/>
            </p:cNvCxnSpPr>
            <p:nvPr/>
          </p:nvCxnSpPr>
          <p:spPr>
            <a:xfrm rot="5400000" flipH="1" flipV="1">
              <a:off x="6304234" y="2215779"/>
              <a:ext cx="2639952" cy="3140091"/>
            </a:xfrm>
            <a:prstGeom prst="bentConnector3">
              <a:avLst>
                <a:gd name="adj1" fmla="val -27382"/>
              </a:avLst>
            </a:prstGeom>
            <a:ln w="34925">
              <a:solidFill>
                <a:schemeClr val="accent2"/>
              </a:solidFill>
              <a:headEnd type="none"/>
              <a:tailEnd type="none"/>
            </a:ln>
          </p:spPr>
          <p:style>
            <a:lnRef idx="1">
              <a:schemeClr val="accent5"/>
            </a:lnRef>
            <a:fillRef idx="0">
              <a:schemeClr val="accent5"/>
            </a:fillRef>
            <a:effectRef idx="0">
              <a:schemeClr val="accent5"/>
            </a:effectRef>
            <a:fontRef idx="minor">
              <a:schemeClr val="tx1"/>
            </a:fontRef>
          </p:style>
        </p:cxnSp>
      </p:grpSp>
      <p:sp>
        <p:nvSpPr>
          <p:cNvPr id="2" name="Title 1"/>
          <p:cNvSpPr>
            <a:spLocks noGrp="1"/>
          </p:cNvSpPr>
          <p:nvPr>
            <p:ph type="title"/>
          </p:nvPr>
        </p:nvSpPr>
        <p:spPr>
          <a:xfrm>
            <a:off x="819250" y="365321"/>
            <a:ext cx="10334546" cy="507319"/>
          </a:xfrm>
        </p:spPr>
        <p:txBody>
          <a:bodyPr/>
          <a:lstStyle/>
          <a:p>
            <a:r>
              <a:rPr lang="en-US"/>
              <a:t>DevSecOps Security Controls</a:t>
            </a:r>
          </a:p>
        </p:txBody>
      </p:sp>
      <p:sp>
        <p:nvSpPr>
          <p:cNvPr id="21" name="Oval 20"/>
          <p:cNvSpPr/>
          <p:nvPr/>
        </p:nvSpPr>
        <p:spPr>
          <a:xfrm>
            <a:off x="1267147" y="5395843"/>
            <a:ext cx="341711" cy="341711"/>
          </a:xfrm>
          <a:prstGeom prst="ellipse">
            <a:avLst/>
          </a:prstGeom>
          <a:solidFill>
            <a:schemeClr val="accent5"/>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85" b="1">
                <a:solidFill>
                  <a:schemeClr val="bg2"/>
                </a:solidFill>
                <a:latin typeface="Calibri" panose="020F0502020204030204" pitchFamily="34" charset="0"/>
                <a:cs typeface="Calibri" panose="020F0502020204030204" pitchFamily="34" charset="0"/>
              </a:rPr>
              <a:t>1</a:t>
            </a:r>
          </a:p>
        </p:txBody>
      </p:sp>
      <p:sp>
        <p:nvSpPr>
          <p:cNvPr id="22" name="Oval 21"/>
          <p:cNvSpPr/>
          <p:nvPr/>
        </p:nvSpPr>
        <p:spPr>
          <a:xfrm>
            <a:off x="1267147" y="3640167"/>
            <a:ext cx="341711" cy="341711"/>
          </a:xfrm>
          <a:prstGeom prst="ellipse">
            <a:avLst/>
          </a:prstGeom>
          <a:solidFill>
            <a:schemeClr val="accent5"/>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85" b="1">
                <a:solidFill>
                  <a:schemeClr val="bg2"/>
                </a:solidFill>
                <a:latin typeface="Calibri" panose="020F0502020204030204" pitchFamily="34" charset="0"/>
                <a:cs typeface="Calibri" panose="020F0502020204030204" pitchFamily="34" charset="0"/>
              </a:rPr>
              <a:t>2</a:t>
            </a:r>
          </a:p>
        </p:txBody>
      </p:sp>
      <p:sp>
        <p:nvSpPr>
          <p:cNvPr id="23" name="Oval 22"/>
          <p:cNvSpPr/>
          <p:nvPr/>
        </p:nvSpPr>
        <p:spPr>
          <a:xfrm>
            <a:off x="1267147" y="2188369"/>
            <a:ext cx="341711" cy="341711"/>
          </a:xfrm>
          <a:prstGeom prst="ellipse">
            <a:avLst/>
          </a:prstGeom>
          <a:solidFill>
            <a:schemeClr val="accent5"/>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85" b="1">
                <a:solidFill>
                  <a:schemeClr val="bg2"/>
                </a:solidFill>
                <a:latin typeface="Calibri" panose="020F0502020204030204" pitchFamily="34" charset="0"/>
                <a:cs typeface="Calibri" panose="020F0502020204030204" pitchFamily="34" charset="0"/>
              </a:rPr>
              <a:t>3</a:t>
            </a:r>
          </a:p>
        </p:txBody>
      </p:sp>
      <p:sp>
        <p:nvSpPr>
          <p:cNvPr id="24" name="Oval 23"/>
          <p:cNvSpPr/>
          <p:nvPr/>
        </p:nvSpPr>
        <p:spPr>
          <a:xfrm>
            <a:off x="5883309" y="4764090"/>
            <a:ext cx="341711" cy="341711"/>
          </a:xfrm>
          <a:prstGeom prst="ellipse">
            <a:avLst/>
          </a:prstGeom>
          <a:solidFill>
            <a:schemeClr val="accent5"/>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85" b="1">
                <a:solidFill>
                  <a:schemeClr val="bg2"/>
                </a:solidFill>
                <a:latin typeface="Calibri" panose="020F0502020204030204" pitchFamily="34" charset="0"/>
                <a:cs typeface="Calibri" panose="020F0502020204030204" pitchFamily="34" charset="0"/>
              </a:rPr>
              <a:t>6</a:t>
            </a:r>
          </a:p>
        </p:txBody>
      </p:sp>
      <p:sp>
        <p:nvSpPr>
          <p:cNvPr id="25" name="Oval 24"/>
          <p:cNvSpPr/>
          <p:nvPr/>
        </p:nvSpPr>
        <p:spPr>
          <a:xfrm>
            <a:off x="5883309" y="3458343"/>
            <a:ext cx="341711" cy="341711"/>
          </a:xfrm>
          <a:prstGeom prst="ellipse">
            <a:avLst/>
          </a:prstGeom>
          <a:solidFill>
            <a:schemeClr val="accent5"/>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85" b="1">
                <a:solidFill>
                  <a:schemeClr val="bg2"/>
                </a:solidFill>
                <a:latin typeface="Calibri" panose="020F0502020204030204" pitchFamily="34" charset="0"/>
                <a:cs typeface="Calibri" panose="020F0502020204030204" pitchFamily="34" charset="0"/>
              </a:rPr>
              <a:t>5</a:t>
            </a:r>
          </a:p>
        </p:txBody>
      </p:sp>
      <p:sp>
        <p:nvSpPr>
          <p:cNvPr id="26" name="Oval 25"/>
          <p:cNvSpPr/>
          <p:nvPr/>
        </p:nvSpPr>
        <p:spPr>
          <a:xfrm>
            <a:off x="5883309" y="2281803"/>
            <a:ext cx="341711" cy="341711"/>
          </a:xfrm>
          <a:prstGeom prst="ellipse">
            <a:avLst/>
          </a:prstGeom>
          <a:solidFill>
            <a:schemeClr val="accent5"/>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85" b="1">
                <a:solidFill>
                  <a:schemeClr val="bg2"/>
                </a:solidFill>
                <a:latin typeface="Calibri" panose="020F0502020204030204" pitchFamily="34" charset="0"/>
                <a:cs typeface="Calibri" panose="020F0502020204030204" pitchFamily="34" charset="0"/>
              </a:rPr>
              <a:t>4</a:t>
            </a:r>
          </a:p>
        </p:txBody>
      </p:sp>
      <p:sp>
        <p:nvSpPr>
          <p:cNvPr id="27" name="Oval 26"/>
          <p:cNvSpPr/>
          <p:nvPr/>
        </p:nvSpPr>
        <p:spPr>
          <a:xfrm>
            <a:off x="9023400" y="2124138"/>
            <a:ext cx="341711" cy="341711"/>
          </a:xfrm>
          <a:prstGeom prst="ellipse">
            <a:avLst/>
          </a:prstGeom>
          <a:solidFill>
            <a:schemeClr val="accent5"/>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85" b="1">
                <a:solidFill>
                  <a:schemeClr val="bg2"/>
                </a:solidFill>
                <a:latin typeface="Calibri" panose="020F0502020204030204" pitchFamily="34" charset="0"/>
                <a:cs typeface="Calibri" panose="020F0502020204030204" pitchFamily="34" charset="0"/>
              </a:rPr>
              <a:t>7</a:t>
            </a:r>
          </a:p>
        </p:txBody>
      </p:sp>
      <p:grpSp>
        <p:nvGrpSpPr>
          <p:cNvPr id="58" name="Group 57"/>
          <p:cNvGrpSpPr/>
          <p:nvPr/>
        </p:nvGrpSpPr>
        <p:grpSpPr>
          <a:xfrm>
            <a:off x="1717660" y="5221022"/>
            <a:ext cx="3533961" cy="631847"/>
            <a:chOff x="407862" y="4311039"/>
            <a:chExt cx="2827585" cy="1180034"/>
          </a:xfrm>
        </p:grpSpPr>
        <p:sp>
          <p:nvSpPr>
            <p:cNvPr id="59" name="Rectangle 58"/>
            <p:cNvSpPr/>
            <p:nvPr/>
          </p:nvSpPr>
          <p:spPr>
            <a:xfrm>
              <a:off x="407862" y="4311039"/>
              <a:ext cx="2827585" cy="517322"/>
            </a:xfrm>
            <a:prstGeom prst="rect">
              <a:avLst/>
            </a:prstGeom>
          </p:spPr>
          <p:txBody>
            <a:bodyPr wrap="square">
              <a:spAutoFit/>
            </a:bodyPr>
            <a:lstStyle/>
            <a:p>
              <a:r>
                <a:rPr lang="en-US" sz="1200" b="1">
                  <a:solidFill>
                    <a:schemeClr val="accent5"/>
                  </a:solidFill>
                  <a:latin typeface="Calibri" panose="020F0502020204030204" pitchFamily="34" charset="0"/>
                  <a:cs typeface="Calibri" panose="020F0502020204030204" pitchFamily="34" charset="0"/>
                </a:rPr>
                <a:t>Deploy to Production</a:t>
              </a:r>
            </a:p>
          </p:txBody>
        </p:sp>
        <p:sp>
          <p:nvSpPr>
            <p:cNvPr id="60" name="Rectangle 59"/>
            <p:cNvSpPr/>
            <p:nvPr/>
          </p:nvSpPr>
          <p:spPr>
            <a:xfrm>
              <a:off x="407862" y="4686351"/>
              <a:ext cx="2597834" cy="804722"/>
            </a:xfrm>
            <a:prstGeom prst="rect">
              <a:avLst/>
            </a:prstGeom>
          </p:spPr>
          <p:txBody>
            <a:bodyPr wrap="square">
              <a:spAutoFit/>
            </a:bodyPr>
            <a:lstStyle/>
            <a:p>
              <a:r>
                <a:rPr lang="en-US" sz="1050">
                  <a:latin typeface="Calibri" panose="020F0502020204030204" pitchFamily="34" charset="0"/>
                  <a:cs typeface="Calibri" panose="020F0502020204030204" pitchFamily="34" charset="0"/>
                </a:rPr>
                <a:t>Automated Deployments by </a:t>
              </a:r>
              <a:r>
                <a:rPr lang="en-US" sz="1050" err="1">
                  <a:latin typeface="Calibri" panose="020F0502020204030204" pitchFamily="34" charset="0"/>
                  <a:cs typeface="Calibri" panose="020F0502020204030204" pitchFamily="34" charset="0"/>
                </a:rPr>
                <a:t>IaC</a:t>
              </a:r>
              <a:r>
                <a:rPr lang="en-US" sz="1050">
                  <a:latin typeface="Calibri" panose="020F0502020204030204" pitchFamily="34" charset="0"/>
                  <a:cs typeface="Calibri" panose="020F0502020204030204" pitchFamily="34" charset="0"/>
                </a:rPr>
                <a:t> compliance and security testing</a:t>
              </a:r>
            </a:p>
          </p:txBody>
        </p:sp>
      </p:grpSp>
      <p:grpSp>
        <p:nvGrpSpPr>
          <p:cNvPr id="61" name="Group 60"/>
          <p:cNvGrpSpPr/>
          <p:nvPr/>
        </p:nvGrpSpPr>
        <p:grpSpPr>
          <a:xfrm>
            <a:off x="1717660" y="3460200"/>
            <a:ext cx="3533961" cy="1335283"/>
            <a:chOff x="407862" y="4311039"/>
            <a:chExt cx="2827585" cy="2493764"/>
          </a:xfrm>
        </p:grpSpPr>
        <p:sp>
          <p:nvSpPr>
            <p:cNvPr id="62" name="Rectangle 61"/>
            <p:cNvSpPr/>
            <p:nvPr/>
          </p:nvSpPr>
          <p:spPr>
            <a:xfrm>
              <a:off x="407862" y="4311039"/>
              <a:ext cx="2827585" cy="862202"/>
            </a:xfrm>
            <a:prstGeom prst="rect">
              <a:avLst/>
            </a:prstGeom>
          </p:spPr>
          <p:txBody>
            <a:bodyPr wrap="square">
              <a:spAutoFit/>
            </a:bodyPr>
            <a:lstStyle/>
            <a:p>
              <a:r>
                <a:rPr lang="en-US" sz="1200" b="1">
                  <a:solidFill>
                    <a:schemeClr val="accent5"/>
                  </a:solidFill>
                  <a:latin typeface="Calibri" panose="020F0502020204030204" pitchFamily="34" charset="0"/>
                  <a:cs typeface="Calibri" panose="020F0502020204030204" pitchFamily="34" charset="0"/>
                </a:rPr>
                <a:t>Privileged access, secrets management &amp; network isolation</a:t>
              </a:r>
            </a:p>
          </p:txBody>
        </p:sp>
        <p:sp>
          <p:nvSpPr>
            <p:cNvPr id="63" name="Rectangle 62"/>
            <p:cNvSpPr/>
            <p:nvPr/>
          </p:nvSpPr>
          <p:spPr>
            <a:xfrm>
              <a:off x="407862" y="5295951"/>
              <a:ext cx="2597834" cy="1508852"/>
            </a:xfrm>
            <a:prstGeom prst="rect">
              <a:avLst/>
            </a:prstGeom>
          </p:spPr>
          <p:txBody>
            <a:bodyPr wrap="square">
              <a:spAutoFit/>
            </a:bodyPr>
            <a:lstStyle/>
            <a:p>
              <a:pPr marL="183589" indent="-183589">
                <a:spcBef>
                  <a:spcPts val="321"/>
                </a:spcBef>
                <a:buFont typeface="+mj-lt"/>
                <a:buAutoNum type="alphaLcPeriod"/>
              </a:pPr>
              <a:r>
                <a:rPr lang="en-US" sz="1050">
                  <a:latin typeface="Calibri" panose="020F0502020204030204" pitchFamily="34" charset="0"/>
                  <a:cs typeface="Calibri" panose="020F0502020204030204" pitchFamily="34" charset="0"/>
                </a:rPr>
                <a:t>Implement tight network &amp; access policy by looking down clusters/pods, VM's</a:t>
              </a:r>
            </a:p>
            <a:p>
              <a:pPr marL="183589" indent="-183589">
                <a:spcBef>
                  <a:spcPts val="321"/>
                </a:spcBef>
                <a:buFont typeface="+mj-lt"/>
                <a:buAutoNum type="alphaLcPeriod"/>
              </a:pPr>
              <a:r>
                <a:rPr lang="en-US" sz="1050">
                  <a:latin typeface="Calibri" panose="020F0502020204030204" pitchFamily="34" charset="0"/>
                  <a:cs typeface="Calibri" panose="020F0502020204030204" pitchFamily="34" charset="0"/>
                </a:rPr>
                <a:t>Use secrets management and automated certificate handling</a:t>
              </a:r>
            </a:p>
          </p:txBody>
        </p:sp>
      </p:grpSp>
      <p:grpSp>
        <p:nvGrpSpPr>
          <p:cNvPr id="64" name="Group 63"/>
          <p:cNvGrpSpPr/>
          <p:nvPr/>
        </p:nvGrpSpPr>
        <p:grpSpPr>
          <a:xfrm>
            <a:off x="1717660" y="1937387"/>
            <a:ext cx="3246815" cy="631847"/>
            <a:chOff x="407862" y="4311039"/>
            <a:chExt cx="2827585" cy="1180034"/>
          </a:xfrm>
        </p:grpSpPr>
        <p:sp>
          <p:nvSpPr>
            <p:cNvPr id="65" name="Rectangle 64"/>
            <p:cNvSpPr/>
            <p:nvPr/>
          </p:nvSpPr>
          <p:spPr>
            <a:xfrm>
              <a:off x="407862" y="4311039"/>
              <a:ext cx="2827585" cy="517322"/>
            </a:xfrm>
            <a:prstGeom prst="rect">
              <a:avLst/>
            </a:prstGeom>
          </p:spPr>
          <p:txBody>
            <a:bodyPr wrap="square">
              <a:spAutoFit/>
            </a:bodyPr>
            <a:lstStyle/>
            <a:p>
              <a:r>
                <a:rPr lang="en-US" sz="1200" b="1">
                  <a:solidFill>
                    <a:schemeClr val="accent5"/>
                  </a:solidFill>
                  <a:latin typeface="Calibri" panose="020F0502020204030204" pitchFamily="34" charset="0"/>
                  <a:cs typeface="Calibri" panose="020F0502020204030204" pitchFamily="34" charset="0"/>
                </a:rPr>
                <a:t>Application Protection</a:t>
              </a:r>
            </a:p>
          </p:txBody>
        </p:sp>
        <p:sp>
          <p:nvSpPr>
            <p:cNvPr id="66" name="Rectangle 65"/>
            <p:cNvSpPr/>
            <p:nvPr/>
          </p:nvSpPr>
          <p:spPr>
            <a:xfrm>
              <a:off x="407862" y="4686351"/>
              <a:ext cx="2597834" cy="804722"/>
            </a:xfrm>
            <a:prstGeom prst="rect">
              <a:avLst/>
            </a:prstGeom>
          </p:spPr>
          <p:txBody>
            <a:bodyPr wrap="square">
              <a:spAutoFit/>
            </a:bodyPr>
            <a:lstStyle/>
            <a:p>
              <a:r>
                <a:rPr lang="en-US" sz="1050">
                  <a:latin typeface="Calibri" panose="020F0502020204030204" pitchFamily="34" charset="0"/>
                  <a:cs typeface="Calibri" panose="020F0502020204030204" pitchFamily="34" charset="0"/>
                </a:rPr>
                <a:t>Protect and monitor the app and cluster using RASP/WAF and container sand-boxing</a:t>
              </a:r>
            </a:p>
          </p:txBody>
        </p:sp>
      </p:grpSp>
      <p:grpSp>
        <p:nvGrpSpPr>
          <p:cNvPr id="67" name="Group 66"/>
          <p:cNvGrpSpPr/>
          <p:nvPr/>
        </p:nvGrpSpPr>
        <p:grpSpPr>
          <a:xfrm>
            <a:off x="6334180" y="1837693"/>
            <a:ext cx="2537583" cy="919485"/>
            <a:chOff x="407862" y="4311039"/>
            <a:chExt cx="2827585" cy="1717225"/>
          </a:xfrm>
        </p:grpSpPr>
        <p:sp>
          <p:nvSpPr>
            <p:cNvPr id="68" name="Rectangle 67"/>
            <p:cNvSpPr/>
            <p:nvPr/>
          </p:nvSpPr>
          <p:spPr>
            <a:xfrm>
              <a:off x="407862" y="4311039"/>
              <a:ext cx="2827585" cy="517322"/>
            </a:xfrm>
            <a:prstGeom prst="rect">
              <a:avLst/>
            </a:prstGeom>
          </p:spPr>
          <p:txBody>
            <a:bodyPr wrap="square">
              <a:spAutoFit/>
            </a:bodyPr>
            <a:lstStyle/>
            <a:p>
              <a:r>
                <a:rPr lang="en-US" sz="1200" b="1">
                  <a:solidFill>
                    <a:schemeClr val="accent5"/>
                  </a:solidFill>
                  <a:latin typeface="Calibri" panose="020F0502020204030204" pitchFamily="34" charset="0"/>
                  <a:cs typeface="Calibri" panose="020F0502020204030204" pitchFamily="34" charset="0"/>
                </a:rPr>
                <a:t>Infrastructure and Data Protection</a:t>
              </a:r>
            </a:p>
          </p:txBody>
        </p:sp>
        <p:sp>
          <p:nvSpPr>
            <p:cNvPr id="69" name="Rectangle 68"/>
            <p:cNvSpPr/>
            <p:nvPr/>
          </p:nvSpPr>
          <p:spPr>
            <a:xfrm>
              <a:off x="407862" y="4950511"/>
              <a:ext cx="2597834" cy="1077753"/>
            </a:xfrm>
            <a:prstGeom prst="rect">
              <a:avLst/>
            </a:prstGeom>
          </p:spPr>
          <p:txBody>
            <a:bodyPr wrap="square">
              <a:spAutoFit/>
            </a:bodyPr>
            <a:lstStyle/>
            <a:p>
              <a:r>
                <a:rPr lang="en-US" sz="1050">
                  <a:latin typeface="Calibri" panose="020F0502020204030204" pitchFamily="34" charset="0"/>
                  <a:cs typeface="Calibri" panose="020F0502020204030204" pitchFamily="34" charset="0"/>
                </a:rPr>
                <a:t>Apply infrastructure hardening, data encryption endpoint protection, DLP and IPS</a:t>
              </a:r>
            </a:p>
          </p:txBody>
        </p:sp>
      </p:grpSp>
      <p:grpSp>
        <p:nvGrpSpPr>
          <p:cNvPr id="70" name="Group 69"/>
          <p:cNvGrpSpPr/>
          <p:nvPr/>
        </p:nvGrpSpPr>
        <p:grpSpPr>
          <a:xfrm>
            <a:off x="6334180" y="2980901"/>
            <a:ext cx="2537583" cy="917864"/>
            <a:chOff x="407862" y="4311039"/>
            <a:chExt cx="2827585" cy="1714197"/>
          </a:xfrm>
        </p:grpSpPr>
        <p:sp>
          <p:nvSpPr>
            <p:cNvPr id="71" name="Rectangle 70"/>
            <p:cNvSpPr/>
            <p:nvPr/>
          </p:nvSpPr>
          <p:spPr>
            <a:xfrm>
              <a:off x="407862" y="4311039"/>
              <a:ext cx="2827585" cy="517322"/>
            </a:xfrm>
            <a:prstGeom prst="rect">
              <a:avLst/>
            </a:prstGeom>
          </p:spPr>
          <p:txBody>
            <a:bodyPr wrap="square">
              <a:spAutoFit/>
            </a:bodyPr>
            <a:lstStyle/>
            <a:p>
              <a:r>
                <a:rPr lang="en-US" sz="1200" b="1">
                  <a:solidFill>
                    <a:schemeClr val="accent5"/>
                  </a:solidFill>
                  <a:latin typeface="Calibri" panose="020F0502020204030204" pitchFamily="34" charset="0"/>
                  <a:cs typeface="Calibri" panose="020F0502020204030204" pitchFamily="34" charset="0"/>
                </a:rPr>
                <a:t>Vulnerability Scanning</a:t>
              </a:r>
            </a:p>
          </p:txBody>
        </p:sp>
        <p:sp>
          <p:nvSpPr>
            <p:cNvPr id="72" name="Rectangle 71"/>
            <p:cNvSpPr/>
            <p:nvPr/>
          </p:nvSpPr>
          <p:spPr>
            <a:xfrm>
              <a:off x="407862" y="4645712"/>
              <a:ext cx="2597834" cy="1379524"/>
            </a:xfrm>
            <a:prstGeom prst="rect">
              <a:avLst/>
            </a:prstGeom>
          </p:spPr>
          <p:txBody>
            <a:bodyPr wrap="square">
              <a:spAutoFit/>
            </a:bodyPr>
            <a:lstStyle/>
            <a:p>
              <a:r>
                <a:rPr lang="en-US" sz="1050">
                  <a:latin typeface="Calibri" panose="020F0502020204030204" pitchFamily="34" charset="0"/>
                  <a:cs typeface="Calibri" panose="020F0502020204030204" pitchFamily="34" charset="0"/>
                </a:rPr>
                <a:t>Ensure continuous assessment and automated OS benchmarking of build and deployed images and environments</a:t>
              </a:r>
            </a:p>
          </p:txBody>
        </p:sp>
      </p:grpSp>
      <p:grpSp>
        <p:nvGrpSpPr>
          <p:cNvPr id="73" name="Group 72"/>
          <p:cNvGrpSpPr/>
          <p:nvPr/>
        </p:nvGrpSpPr>
        <p:grpSpPr>
          <a:xfrm>
            <a:off x="6334180" y="4272060"/>
            <a:ext cx="2537583" cy="1102829"/>
            <a:chOff x="407862" y="4311039"/>
            <a:chExt cx="2827585" cy="2059633"/>
          </a:xfrm>
        </p:grpSpPr>
        <p:sp>
          <p:nvSpPr>
            <p:cNvPr id="74" name="Rectangle 73"/>
            <p:cNvSpPr/>
            <p:nvPr/>
          </p:nvSpPr>
          <p:spPr>
            <a:xfrm>
              <a:off x="407862" y="4311039"/>
              <a:ext cx="2827585" cy="862201"/>
            </a:xfrm>
            <a:prstGeom prst="rect">
              <a:avLst/>
            </a:prstGeom>
          </p:spPr>
          <p:txBody>
            <a:bodyPr wrap="square">
              <a:spAutoFit/>
            </a:bodyPr>
            <a:lstStyle/>
            <a:p>
              <a:r>
                <a:rPr lang="en-US" sz="1200" b="1">
                  <a:solidFill>
                    <a:schemeClr val="accent5"/>
                  </a:solidFill>
                  <a:latin typeface="Calibri" panose="020F0502020204030204" pitchFamily="34" charset="0"/>
                  <a:cs typeface="Calibri" panose="020F0502020204030204" pitchFamily="34" charset="0"/>
                </a:rPr>
                <a:t>Continuous monitoring &amp; Incident Response</a:t>
              </a:r>
            </a:p>
          </p:txBody>
        </p:sp>
        <p:sp>
          <p:nvSpPr>
            <p:cNvPr id="75" name="Rectangle 74"/>
            <p:cNvSpPr/>
            <p:nvPr/>
          </p:nvSpPr>
          <p:spPr>
            <a:xfrm>
              <a:off x="407862" y="4991150"/>
              <a:ext cx="2597834" cy="1379522"/>
            </a:xfrm>
            <a:prstGeom prst="rect">
              <a:avLst/>
            </a:prstGeom>
          </p:spPr>
          <p:txBody>
            <a:bodyPr wrap="square">
              <a:spAutoFit/>
            </a:bodyPr>
            <a:lstStyle/>
            <a:p>
              <a:r>
                <a:rPr lang="en-US" sz="1050">
                  <a:latin typeface="Calibri" panose="020F0502020204030204" pitchFamily="34" charset="0"/>
                  <a:cs typeface="Calibri" panose="020F0502020204030204" pitchFamily="34" charset="0"/>
                </a:rPr>
                <a:t>Analyze intrusion/breach alerts and threat intelligence log attacks, behaviors and threats to respond, learn from and apply to next sprint</a:t>
              </a:r>
            </a:p>
          </p:txBody>
        </p:sp>
      </p:grpSp>
      <p:grpSp>
        <p:nvGrpSpPr>
          <p:cNvPr id="76" name="Group 75"/>
          <p:cNvGrpSpPr/>
          <p:nvPr/>
        </p:nvGrpSpPr>
        <p:grpSpPr>
          <a:xfrm>
            <a:off x="9559692" y="1937386"/>
            <a:ext cx="1514027" cy="610087"/>
            <a:chOff x="407862" y="4311039"/>
            <a:chExt cx="2827585" cy="1139395"/>
          </a:xfrm>
        </p:grpSpPr>
        <p:sp>
          <p:nvSpPr>
            <p:cNvPr id="77" name="Rectangle 76"/>
            <p:cNvSpPr/>
            <p:nvPr/>
          </p:nvSpPr>
          <p:spPr>
            <a:xfrm>
              <a:off x="407862" y="4311039"/>
              <a:ext cx="2827585" cy="517322"/>
            </a:xfrm>
            <a:prstGeom prst="rect">
              <a:avLst/>
            </a:prstGeom>
          </p:spPr>
          <p:txBody>
            <a:bodyPr wrap="square">
              <a:spAutoFit/>
            </a:bodyPr>
            <a:lstStyle/>
            <a:p>
              <a:pPr algn="ctr"/>
              <a:r>
                <a:rPr lang="en-US" sz="1200" b="1">
                  <a:solidFill>
                    <a:schemeClr val="accent5"/>
                  </a:solidFill>
                  <a:latin typeface="Calibri" panose="020F0502020204030204" pitchFamily="34" charset="0"/>
                  <a:cs typeface="Calibri" panose="020F0502020204030204" pitchFamily="34" charset="0"/>
                </a:rPr>
                <a:t>Rinse and Repeat</a:t>
              </a:r>
            </a:p>
          </p:txBody>
        </p:sp>
        <p:sp>
          <p:nvSpPr>
            <p:cNvPr id="78" name="Rectangle 77"/>
            <p:cNvSpPr/>
            <p:nvPr/>
          </p:nvSpPr>
          <p:spPr>
            <a:xfrm>
              <a:off x="407862" y="4645712"/>
              <a:ext cx="2597834" cy="804722"/>
            </a:xfrm>
            <a:prstGeom prst="rect">
              <a:avLst/>
            </a:prstGeom>
          </p:spPr>
          <p:txBody>
            <a:bodyPr wrap="square">
              <a:spAutoFit/>
            </a:bodyPr>
            <a:lstStyle/>
            <a:p>
              <a:pPr algn="ctr"/>
              <a:r>
                <a:rPr lang="en-US" sz="1050">
                  <a:latin typeface="Calibri" panose="020F0502020204030204" pitchFamily="34" charset="0"/>
                  <a:cs typeface="Calibri" panose="020F0502020204030204" pitchFamily="34" charset="0"/>
                </a:rPr>
                <a:t>Improve and enforce governance</a:t>
              </a:r>
            </a:p>
          </p:txBody>
        </p:sp>
      </p:grpSp>
      <p:cxnSp>
        <p:nvCxnSpPr>
          <p:cNvPr id="80" name="Straight Connector 79"/>
          <p:cNvCxnSpPr/>
          <p:nvPr/>
        </p:nvCxnSpPr>
        <p:spPr>
          <a:xfrm>
            <a:off x="267441" y="6676558"/>
            <a:ext cx="11657119" cy="0"/>
          </a:xfrm>
          <a:prstGeom prst="line">
            <a:avLst/>
          </a:prstGeom>
          <a:ln w="12700">
            <a:solidFill>
              <a:schemeClr val="tx1"/>
            </a:solidFill>
            <a:headEnd type="arrow" w="lg" len="lg"/>
            <a:tailEnd type="arrow" w="lg" len="lg"/>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5635711" y="6552960"/>
            <a:ext cx="920578" cy="290079"/>
          </a:xfrm>
          <a:prstGeom prst="rect">
            <a:avLst/>
          </a:prstGeom>
          <a:solidFill>
            <a:schemeClr val="bg2"/>
          </a:solidFill>
          <a:ln>
            <a:solidFill>
              <a:schemeClr val="tx1"/>
            </a:solidFill>
          </a:ln>
        </p:spPr>
        <p:txBody>
          <a:bodyPr wrap="square">
            <a:spAutoFit/>
          </a:bodyPr>
          <a:lstStyle/>
          <a:p>
            <a:pPr algn="ctr"/>
            <a:r>
              <a:rPr lang="en-US" sz="1285" b="1">
                <a:latin typeface="Calibri" panose="020F0502020204030204" pitchFamily="34" charset="0"/>
                <a:cs typeface="Calibri" panose="020F0502020204030204" pitchFamily="34" charset="0"/>
              </a:rPr>
              <a:t>SECURITY</a:t>
            </a:r>
          </a:p>
        </p:txBody>
      </p:sp>
      <p:sp>
        <p:nvSpPr>
          <p:cNvPr id="88" name="Pentagon 87"/>
          <p:cNvSpPr/>
          <p:nvPr/>
        </p:nvSpPr>
        <p:spPr>
          <a:xfrm flipH="1">
            <a:off x="1112386" y="1029895"/>
            <a:ext cx="9046649" cy="333866"/>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13" b="1">
                <a:solidFill>
                  <a:schemeClr val="bg2"/>
                </a:solidFill>
                <a:latin typeface="Calibri" panose="020F0502020204030204" pitchFamily="34" charset="0"/>
                <a:cs typeface="Calibri" panose="020F0502020204030204" pitchFamily="34" charset="0"/>
              </a:rPr>
              <a:t>PROD</a:t>
            </a:r>
          </a:p>
        </p:txBody>
      </p:sp>
      <p:grpSp>
        <p:nvGrpSpPr>
          <p:cNvPr id="176" name="Group 175"/>
          <p:cNvGrpSpPr/>
          <p:nvPr/>
        </p:nvGrpSpPr>
        <p:grpSpPr>
          <a:xfrm>
            <a:off x="1313472" y="3264822"/>
            <a:ext cx="249060" cy="249060"/>
            <a:chOff x="2989716" y="3091657"/>
            <a:chExt cx="4876800" cy="4876800"/>
          </a:xfrm>
        </p:grpSpPr>
        <p:sp>
          <p:nvSpPr>
            <p:cNvPr id="177"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78"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79"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80"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81" name="Group 180"/>
          <p:cNvGrpSpPr/>
          <p:nvPr/>
        </p:nvGrpSpPr>
        <p:grpSpPr>
          <a:xfrm>
            <a:off x="1503887" y="1624677"/>
            <a:ext cx="249060" cy="249060"/>
            <a:chOff x="2989716" y="3091657"/>
            <a:chExt cx="4876800" cy="4876800"/>
          </a:xfrm>
        </p:grpSpPr>
        <p:sp>
          <p:nvSpPr>
            <p:cNvPr id="182"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83"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84"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85"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86" name="Group 185"/>
          <p:cNvGrpSpPr/>
          <p:nvPr/>
        </p:nvGrpSpPr>
        <p:grpSpPr>
          <a:xfrm>
            <a:off x="5936434" y="2791426"/>
            <a:ext cx="249060" cy="249060"/>
            <a:chOff x="2989716" y="3091657"/>
            <a:chExt cx="4876800" cy="4876800"/>
          </a:xfrm>
        </p:grpSpPr>
        <p:sp>
          <p:nvSpPr>
            <p:cNvPr id="187"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88"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89"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90"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91" name="Group 190"/>
          <p:cNvGrpSpPr/>
          <p:nvPr/>
        </p:nvGrpSpPr>
        <p:grpSpPr>
          <a:xfrm>
            <a:off x="5936434" y="3954345"/>
            <a:ext cx="249060" cy="249060"/>
            <a:chOff x="2989716" y="3091657"/>
            <a:chExt cx="4876800" cy="4876800"/>
          </a:xfrm>
        </p:grpSpPr>
        <p:sp>
          <p:nvSpPr>
            <p:cNvPr id="192"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93"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94"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95"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212" name="Google Shape;8691;p72"/>
          <p:cNvGrpSpPr/>
          <p:nvPr/>
        </p:nvGrpSpPr>
        <p:grpSpPr>
          <a:xfrm>
            <a:off x="2898312" y="3036685"/>
            <a:ext cx="351853" cy="352667"/>
            <a:chOff x="-3137650" y="2408950"/>
            <a:chExt cx="291450" cy="292125"/>
          </a:xfrm>
          <a:solidFill>
            <a:schemeClr val="accent5"/>
          </a:solidFill>
        </p:grpSpPr>
        <p:sp>
          <p:nvSpPr>
            <p:cNvPr id="213" name="Google Shape;8692;p72"/>
            <p:cNvSpPr/>
            <p:nvPr/>
          </p:nvSpPr>
          <p:spPr>
            <a:xfrm>
              <a:off x="-3137650" y="2408950"/>
              <a:ext cx="291450" cy="292125"/>
            </a:xfrm>
            <a:custGeom>
              <a:avLst/>
              <a:gdLst/>
              <a:ahLst/>
              <a:cxnLst/>
              <a:rect l="l" t="t" r="r" b="b"/>
              <a:pathLst>
                <a:path w="11658" h="11685" extrusionOk="0">
                  <a:moveTo>
                    <a:pt x="10618" y="662"/>
                  </a:moveTo>
                  <a:cubicBezTo>
                    <a:pt x="10807" y="662"/>
                    <a:pt x="10964" y="851"/>
                    <a:pt x="10964" y="1040"/>
                  </a:cubicBezTo>
                  <a:lnTo>
                    <a:pt x="10964" y="2741"/>
                  </a:lnTo>
                  <a:lnTo>
                    <a:pt x="662" y="2741"/>
                  </a:lnTo>
                  <a:lnTo>
                    <a:pt x="662" y="1040"/>
                  </a:lnTo>
                  <a:cubicBezTo>
                    <a:pt x="662" y="851"/>
                    <a:pt x="820" y="662"/>
                    <a:pt x="1009" y="662"/>
                  </a:cubicBezTo>
                  <a:close/>
                  <a:moveTo>
                    <a:pt x="10964" y="3403"/>
                  </a:moveTo>
                  <a:lnTo>
                    <a:pt x="10964" y="8601"/>
                  </a:lnTo>
                  <a:cubicBezTo>
                    <a:pt x="10964" y="8790"/>
                    <a:pt x="10838" y="8947"/>
                    <a:pt x="10618" y="8947"/>
                  </a:cubicBezTo>
                  <a:lnTo>
                    <a:pt x="10145" y="8947"/>
                  </a:lnTo>
                  <a:cubicBezTo>
                    <a:pt x="10208" y="8727"/>
                    <a:pt x="10240" y="8443"/>
                    <a:pt x="10240" y="8160"/>
                  </a:cubicBezTo>
                  <a:lnTo>
                    <a:pt x="10240" y="5860"/>
                  </a:lnTo>
                  <a:cubicBezTo>
                    <a:pt x="10240" y="5673"/>
                    <a:pt x="10058" y="5531"/>
                    <a:pt x="9868" y="5531"/>
                  </a:cubicBezTo>
                  <a:cubicBezTo>
                    <a:pt x="9835" y="5531"/>
                    <a:pt x="9801" y="5535"/>
                    <a:pt x="9767" y="5545"/>
                  </a:cubicBezTo>
                  <a:cubicBezTo>
                    <a:pt x="9545" y="5641"/>
                    <a:pt x="9341" y="5691"/>
                    <a:pt x="9142" y="5691"/>
                  </a:cubicBezTo>
                  <a:cubicBezTo>
                    <a:pt x="8693" y="5691"/>
                    <a:pt x="8275" y="5439"/>
                    <a:pt x="7751" y="4915"/>
                  </a:cubicBezTo>
                  <a:cubicBezTo>
                    <a:pt x="7688" y="4868"/>
                    <a:pt x="7601" y="4844"/>
                    <a:pt x="7515" y="4844"/>
                  </a:cubicBezTo>
                  <a:cubicBezTo>
                    <a:pt x="7428" y="4844"/>
                    <a:pt x="7341" y="4868"/>
                    <a:pt x="7278" y="4915"/>
                  </a:cubicBezTo>
                  <a:cubicBezTo>
                    <a:pt x="6753" y="5440"/>
                    <a:pt x="6334" y="5677"/>
                    <a:pt x="5884" y="5677"/>
                  </a:cubicBezTo>
                  <a:cubicBezTo>
                    <a:pt x="5686" y="5677"/>
                    <a:pt x="5483" y="5631"/>
                    <a:pt x="5262" y="5545"/>
                  </a:cubicBezTo>
                  <a:cubicBezTo>
                    <a:pt x="5229" y="5535"/>
                    <a:pt x="5195" y="5531"/>
                    <a:pt x="5161" y="5531"/>
                  </a:cubicBezTo>
                  <a:cubicBezTo>
                    <a:pt x="4971" y="5531"/>
                    <a:pt x="4789" y="5673"/>
                    <a:pt x="4789" y="5860"/>
                  </a:cubicBezTo>
                  <a:lnTo>
                    <a:pt x="4789" y="8160"/>
                  </a:lnTo>
                  <a:cubicBezTo>
                    <a:pt x="4789" y="8443"/>
                    <a:pt x="4821" y="8664"/>
                    <a:pt x="4884" y="8947"/>
                  </a:cubicBezTo>
                  <a:lnTo>
                    <a:pt x="1009" y="8947"/>
                  </a:lnTo>
                  <a:cubicBezTo>
                    <a:pt x="820" y="8947"/>
                    <a:pt x="662" y="8790"/>
                    <a:pt x="662" y="8601"/>
                  </a:cubicBezTo>
                  <a:lnTo>
                    <a:pt x="662" y="3403"/>
                  </a:lnTo>
                  <a:close/>
                  <a:moveTo>
                    <a:pt x="7152" y="5923"/>
                  </a:moveTo>
                  <a:lnTo>
                    <a:pt x="7152" y="10838"/>
                  </a:lnTo>
                  <a:cubicBezTo>
                    <a:pt x="6144" y="10365"/>
                    <a:pt x="5451" y="9357"/>
                    <a:pt x="5451" y="8160"/>
                  </a:cubicBezTo>
                  <a:lnTo>
                    <a:pt x="5451" y="6301"/>
                  </a:lnTo>
                  <a:cubicBezTo>
                    <a:pt x="5604" y="6330"/>
                    <a:pt x="5750" y="6344"/>
                    <a:pt x="5891" y="6344"/>
                  </a:cubicBezTo>
                  <a:cubicBezTo>
                    <a:pt x="6359" y="6344"/>
                    <a:pt x="6765" y="6189"/>
                    <a:pt x="7152" y="5923"/>
                  </a:cubicBezTo>
                  <a:close/>
                  <a:moveTo>
                    <a:pt x="7877" y="5923"/>
                  </a:moveTo>
                  <a:cubicBezTo>
                    <a:pt x="8242" y="6166"/>
                    <a:pt x="8644" y="6353"/>
                    <a:pt x="9128" y="6353"/>
                  </a:cubicBezTo>
                  <a:cubicBezTo>
                    <a:pt x="9271" y="6353"/>
                    <a:pt x="9420" y="6337"/>
                    <a:pt x="9578" y="6301"/>
                  </a:cubicBezTo>
                  <a:lnTo>
                    <a:pt x="9578" y="8160"/>
                  </a:lnTo>
                  <a:cubicBezTo>
                    <a:pt x="9547" y="9357"/>
                    <a:pt x="8885" y="10365"/>
                    <a:pt x="7877" y="10838"/>
                  </a:cubicBezTo>
                  <a:lnTo>
                    <a:pt x="7877" y="5923"/>
                  </a:lnTo>
                  <a:close/>
                  <a:moveTo>
                    <a:pt x="1009" y="0"/>
                  </a:moveTo>
                  <a:cubicBezTo>
                    <a:pt x="473" y="0"/>
                    <a:pt x="1" y="473"/>
                    <a:pt x="1" y="1040"/>
                  </a:cubicBezTo>
                  <a:lnTo>
                    <a:pt x="1" y="8601"/>
                  </a:lnTo>
                  <a:cubicBezTo>
                    <a:pt x="1" y="9136"/>
                    <a:pt x="473" y="9609"/>
                    <a:pt x="1009" y="9609"/>
                  </a:cubicBezTo>
                  <a:lnTo>
                    <a:pt x="5073" y="9609"/>
                  </a:lnTo>
                  <a:cubicBezTo>
                    <a:pt x="5199" y="9893"/>
                    <a:pt x="5357" y="10145"/>
                    <a:pt x="5514" y="10365"/>
                  </a:cubicBezTo>
                  <a:cubicBezTo>
                    <a:pt x="5987" y="10995"/>
                    <a:pt x="6617" y="11436"/>
                    <a:pt x="7404" y="11657"/>
                  </a:cubicBezTo>
                  <a:cubicBezTo>
                    <a:pt x="7446" y="11657"/>
                    <a:pt x="7488" y="11685"/>
                    <a:pt x="7530" y="11685"/>
                  </a:cubicBezTo>
                  <a:cubicBezTo>
                    <a:pt x="7551" y="11685"/>
                    <a:pt x="7572" y="11678"/>
                    <a:pt x="7593" y="11657"/>
                  </a:cubicBezTo>
                  <a:cubicBezTo>
                    <a:pt x="8350" y="11436"/>
                    <a:pt x="9011" y="10995"/>
                    <a:pt x="9484" y="10365"/>
                  </a:cubicBezTo>
                  <a:cubicBezTo>
                    <a:pt x="9641" y="10145"/>
                    <a:pt x="9799" y="9893"/>
                    <a:pt x="9925" y="9609"/>
                  </a:cubicBezTo>
                  <a:lnTo>
                    <a:pt x="10618" y="9609"/>
                  </a:lnTo>
                  <a:cubicBezTo>
                    <a:pt x="11185" y="9609"/>
                    <a:pt x="11658" y="9136"/>
                    <a:pt x="11658" y="8601"/>
                  </a:cubicBezTo>
                  <a:lnTo>
                    <a:pt x="11658" y="1040"/>
                  </a:lnTo>
                  <a:cubicBezTo>
                    <a:pt x="11658" y="473"/>
                    <a:pt x="11217" y="0"/>
                    <a:pt x="10618" y="0"/>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14" name="Google Shape;8693;p72"/>
            <p:cNvSpPr/>
            <p:nvPr/>
          </p:nvSpPr>
          <p:spPr>
            <a:xfrm>
              <a:off x="-3104575" y="2442800"/>
              <a:ext cx="18150" cy="17350"/>
            </a:xfrm>
            <a:custGeom>
              <a:avLst/>
              <a:gdLst/>
              <a:ahLst/>
              <a:cxnLst/>
              <a:rect l="l" t="t" r="r" b="b"/>
              <a:pathLst>
                <a:path w="726" h="694" extrusionOk="0">
                  <a:moveTo>
                    <a:pt x="348" y="1"/>
                  </a:moveTo>
                  <a:cubicBezTo>
                    <a:pt x="158" y="1"/>
                    <a:pt x="1" y="158"/>
                    <a:pt x="1" y="347"/>
                  </a:cubicBezTo>
                  <a:cubicBezTo>
                    <a:pt x="1" y="536"/>
                    <a:pt x="158" y="694"/>
                    <a:pt x="348" y="694"/>
                  </a:cubicBezTo>
                  <a:cubicBezTo>
                    <a:pt x="568" y="694"/>
                    <a:pt x="726" y="536"/>
                    <a:pt x="726" y="347"/>
                  </a:cubicBezTo>
                  <a:cubicBezTo>
                    <a:pt x="726" y="158"/>
                    <a:pt x="568" y="1"/>
                    <a:pt x="348"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15" name="Google Shape;8694;p72"/>
            <p:cNvSpPr/>
            <p:nvPr/>
          </p:nvSpPr>
          <p:spPr>
            <a:xfrm>
              <a:off x="-3069900" y="24428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16" name="Google Shape;8695;p72"/>
            <p:cNvSpPr/>
            <p:nvPr/>
          </p:nvSpPr>
          <p:spPr>
            <a:xfrm>
              <a:off x="-3035250" y="24428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17" name="Google Shape;8696;p72"/>
            <p:cNvSpPr/>
            <p:nvPr/>
          </p:nvSpPr>
          <p:spPr>
            <a:xfrm>
              <a:off x="-3002175" y="2442800"/>
              <a:ext cx="120525" cy="17350"/>
            </a:xfrm>
            <a:custGeom>
              <a:avLst/>
              <a:gdLst/>
              <a:ahLst/>
              <a:cxnLst/>
              <a:rect l="l" t="t" r="r" b="b"/>
              <a:pathLst>
                <a:path w="4821" h="694" extrusionOk="0">
                  <a:moveTo>
                    <a:pt x="347" y="1"/>
                  </a:moveTo>
                  <a:cubicBezTo>
                    <a:pt x="158" y="1"/>
                    <a:pt x="1" y="158"/>
                    <a:pt x="1" y="347"/>
                  </a:cubicBezTo>
                  <a:cubicBezTo>
                    <a:pt x="32" y="536"/>
                    <a:pt x="190" y="694"/>
                    <a:pt x="347" y="694"/>
                  </a:cubicBezTo>
                  <a:lnTo>
                    <a:pt x="4443" y="694"/>
                  </a:lnTo>
                  <a:cubicBezTo>
                    <a:pt x="4663" y="694"/>
                    <a:pt x="4821" y="536"/>
                    <a:pt x="4821" y="347"/>
                  </a:cubicBezTo>
                  <a:cubicBezTo>
                    <a:pt x="4821" y="158"/>
                    <a:pt x="4663" y="1"/>
                    <a:pt x="4443"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418372638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ools</a:t>
            </a:r>
          </a:p>
        </p:txBody>
      </p:sp>
      <p:graphicFrame>
        <p:nvGraphicFramePr>
          <p:cNvPr id="3" name="Diagram 2"/>
          <p:cNvGraphicFramePr/>
          <p:nvPr>
            <p:extLst>
              <p:ext uri="{D42A27DB-BD31-4B8C-83A1-F6EECF244321}">
                <p14:modId xmlns:p14="http://schemas.microsoft.com/office/powerpoint/2010/main" val="476754441"/>
              </p:ext>
            </p:extLst>
          </p:nvPr>
        </p:nvGraphicFramePr>
        <p:xfrm>
          <a:off x="635620" y="1605776"/>
          <a:ext cx="11128012" cy="46096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97978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Measures</a:t>
            </a:r>
          </a:p>
        </p:txBody>
      </p:sp>
      <p:graphicFrame>
        <p:nvGraphicFramePr>
          <p:cNvPr id="6" name="Diagram 5"/>
          <p:cNvGraphicFramePr/>
          <p:nvPr>
            <p:extLst>
              <p:ext uri="{D42A27DB-BD31-4B8C-83A1-F6EECF244321}">
                <p14:modId xmlns:p14="http://schemas.microsoft.com/office/powerpoint/2010/main" val="3367541087"/>
              </p:ext>
            </p:extLst>
          </p:nvPr>
        </p:nvGraphicFramePr>
        <p:xfrm>
          <a:off x="420130" y="1149178"/>
          <a:ext cx="11343502" cy="50662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8242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1" name="Elbow Connector 120"/>
          <p:cNvCxnSpPr>
            <a:stCxn id="9" idx="0"/>
            <a:endCxn id="12" idx="0"/>
          </p:cNvCxnSpPr>
          <p:nvPr/>
        </p:nvCxnSpPr>
        <p:spPr>
          <a:xfrm rot="16200000" flipH="1">
            <a:off x="2167907" y="912886"/>
            <a:ext cx="540616" cy="1821066"/>
          </a:xfrm>
          <a:prstGeom prst="bentConnector3">
            <a:avLst>
              <a:gd name="adj1" fmla="val -42285"/>
            </a:avLst>
          </a:prstGeom>
          <a:ln w="31750">
            <a:headEnd type="none"/>
            <a:tailEnd type="none"/>
          </a:ln>
        </p:spPr>
        <p:style>
          <a:lnRef idx="1">
            <a:schemeClr val="accent4"/>
          </a:lnRef>
          <a:fillRef idx="0">
            <a:schemeClr val="accent4"/>
          </a:fillRef>
          <a:effectRef idx="0">
            <a:schemeClr val="accent4"/>
          </a:effectRef>
          <a:fontRef idx="minor">
            <a:schemeClr val="tx1"/>
          </a:fontRef>
        </p:style>
      </p:cxnSp>
      <p:cxnSp>
        <p:nvCxnSpPr>
          <p:cNvPr id="123" name="Straight Connector 122"/>
          <p:cNvCxnSpPr>
            <a:stCxn id="12" idx="4"/>
            <a:endCxn id="13" idx="0"/>
          </p:cNvCxnSpPr>
          <p:nvPr/>
        </p:nvCxnSpPr>
        <p:spPr>
          <a:xfrm>
            <a:off x="3348748" y="2435438"/>
            <a:ext cx="0" cy="1259735"/>
          </a:xfrm>
          <a:prstGeom prst="line">
            <a:avLst/>
          </a:prstGeom>
          <a:ln w="31750">
            <a:headEnd type="none"/>
            <a:tailEnd type="none"/>
          </a:ln>
        </p:spPr>
        <p:style>
          <a:lnRef idx="1">
            <a:schemeClr val="accent4"/>
          </a:lnRef>
          <a:fillRef idx="0">
            <a:schemeClr val="accent4"/>
          </a:fillRef>
          <a:effectRef idx="0">
            <a:schemeClr val="accent4"/>
          </a:effectRef>
          <a:fontRef idx="minor">
            <a:schemeClr val="tx1"/>
          </a:fontRef>
        </p:style>
      </p:cxnSp>
      <p:cxnSp>
        <p:nvCxnSpPr>
          <p:cNvPr id="125" name="Straight Connector 124"/>
          <p:cNvCxnSpPr>
            <a:stCxn id="13" idx="4"/>
            <a:endCxn id="14" idx="0"/>
          </p:cNvCxnSpPr>
          <p:nvPr/>
        </p:nvCxnSpPr>
        <p:spPr>
          <a:xfrm>
            <a:off x="3348748" y="4036884"/>
            <a:ext cx="0" cy="1259736"/>
          </a:xfrm>
          <a:prstGeom prst="line">
            <a:avLst/>
          </a:prstGeom>
          <a:ln w="31750">
            <a:headEnd type="none"/>
            <a:tailEnd type="none"/>
          </a:ln>
        </p:spPr>
        <p:style>
          <a:lnRef idx="1">
            <a:schemeClr val="accent4"/>
          </a:lnRef>
          <a:fillRef idx="0">
            <a:schemeClr val="accent4"/>
          </a:fillRef>
          <a:effectRef idx="0">
            <a:schemeClr val="accent4"/>
          </a:effectRef>
          <a:fontRef idx="minor">
            <a:schemeClr val="tx1"/>
          </a:fontRef>
        </p:style>
      </p:cxnSp>
      <p:cxnSp>
        <p:nvCxnSpPr>
          <p:cNvPr id="218" name="Elbow Connector 217"/>
          <p:cNvCxnSpPr>
            <a:stCxn id="14" idx="4"/>
            <a:endCxn id="15" idx="4"/>
          </p:cNvCxnSpPr>
          <p:nvPr/>
        </p:nvCxnSpPr>
        <p:spPr>
          <a:xfrm rot="16200000" flipH="1">
            <a:off x="4673384" y="4313694"/>
            <a:ext cx="12700" cy="2649273"/>
          </a:xfrm>
          <a:prstGeom prst="bentConnector3">
            <a:avLst>
              <a:gd name="adj1" fmla="val 5497291"/>
            </a:avLst>
          </a:prstGeom>
          <a:ln w="31750">
            <a:headEnd type="none"/>
            <a:tailEnd type="none"/>
          </a:ln>
        </p:spPr>
        <p:style>
          <a:lnRef idx="1">
            <a:schemeClr val="accent4"/>
          </a:lnRef>
          <a:fillRef idx="0">
            <a:schemeClr val="accent4"/>
          </a:fillRef>
          <a:effectRef idx="0">
            <a:schemeClr val="accent4"/>
          </a:effectRef>
          <a:fontRef idx="minor">
            <a:schemeClr val="tx1"/>
          </a:fontRef>
        </p:style>
      </p:cxnSp>
      <p:cxnSp>
        <p:nvCxnSpPr>
          <p:cNvPr id="229" name="Straight Connector 228"/>
          <p:cNvCxnSpPr>
            <a:stCxn id="15" idx="0"/>
            <a:endCxn id="16" idx="4"/>
          </p:cNvCxnSpPr>
          <p:nvPr/>
        </p:nvCxnSpPr>
        <p:spPr>
          <a:xfrm flipV="1">
            <a:off x="5998021" y="4164048"/>
            <a:ext cx="0" cy="1132572"/>
          </a:xfrm>
          <a:prstGeom prst="line">
            <a:avLst/>
          </a:prstGeom>
          <a:ln w="31750">
            <a:headEnd type="none"/>
            <a:tailEnd type="none"/>
          </a:ln>
        </p:spPr>
        <p:style>
          <a:lnRef idx="1">
            <a:schemeClr val="accent4"/>
          </a:lnRef>
          <a:fillRef idx="0">
            <a:schemeClr val="accent4"/>
          </a:fillRef>
          <a:effectRef idx="0">
            <a:schemeClr val="accent4"/>
          </a:effectRef>
          <a:fontRef idx="minor">
            <a:schemeClr val="tx1"/>
          </a:fontRef>
        </p:style>
      </p:cxnSp>
      <p:cxnSp>
        <p:nvCxnSpPr>
          <p:cNvPr id="231" name="Straight Connector 230"/>
          <p:cNvCxnSpPr>
            <a:stCxn id="16" idx="0"/>
            <a:endCxn id="17" idx="4"/>
          </p:cNvCxnSpPr>
          <p:nvPr/>
        </p:nvCxnSpPr>
        <p:spPr>
          <a:xfrm flipV="1">
            <a:off x="5998021" y="2670045"/>
            <a:ext cx="0" cy="1152292"/>
          </a:xfrm>
          <a:prstGeom prst="line">
            <a:avLst/>
          </a:prstGeom>
          <a:ln w="31750">
            <a:headEnd type="none"/>
            <a:tailEnd type="none"/>
          </a:ln>
        </p:spPr>
        <p:style>
          <a:lnRef idx="1">
            <a:schemeClr val="accent4"/>
          </a:lnRef>
          <a:fillRef idx="0">
            <a:schemeClr val="accent4"/>
          </a:fillRef>
          <a:effectRef idx="0">
            <a:schemeClr val="accent4"/>
          </a:effectRef>
          <a:fontRef idx="minor">
            <a:schemeClr val="tx1"/>
          </a:fontRef>
        </p:style>
      </p:cxnSp>
      <p:cxnSp>
        <p:nvCxnSpPr>
          <p:cNvPr id="233" name="Elbow Connector 232"/>
          <p:cNvCxnSpPr>
            <a:stCxn id="17" idx="0"/>
            <a:endCxn id="18" idx="0"/>
          </p:cNvCxnSpPr>
          <p:nvPr/>
        </p:nvCxnSpPr>
        <p:spPr>
          <a:xfrm rot="5400000" flipH="1" flipV="1">
            <a:off x="7643511" y="667486"/>
            <a:ext cx="15359" cy="3306338"/>
          </a:xfrm>
          <a:prstGeom prst="bentConnector3">
            <a:avLst>
              <a:gd name="adj1" fmla="val 5208757"/>
            </a:avLst>
          </a:prstGeom>
          <a:ln w="31750">
            <a:headEnd type="none"/>
            <a:tailEnd type="none"/>
          </a:ln>
        </p:spPr>
        <p:style>
          <a:lnRef idx="1">
            <a:schemeClr val="accent4"/>
          </a:lnRef>
          <a:fillRef idx="0">
            <a:schemeClr val="accent4"/>
          </a:fillRef>
          <a:effectRef idx="0">
            <a:schemeClr val="accent4"/>
          </a:effectRef>
          <a:fontRef idx="minor">
            <a:schemeClr val="tx1"/>
          </a:fontRef>
        </p:style>
      </p:cxnSp>
      <p:cxnSp>
        <p:nvCxnSpPr>
          <p:cNvPr id="236" name="Straight Connector 235"/>
          <p:cNvCxnSpPr>
            <a:stCxn id="18" idx="4"/>
            <a:endCxn id="19" idx="0"/>
          </p:cNvCxnSpPr>
          <p:nvPr/>
        </p:nvCxnSpPr>
        <p:spPr>
          <a:xfrm>
            <a:off x="9304359" y="2654686"/>
            <a:ext cx="0" cy="1167651"/>
          </a:xfrm>
          <a:prstGeom prst="line">
            <a:avLst/>
          </a:prstGeom>
          <a:ln w="31750">
            <a:headEnd type="none"/>
            <a:tailEnd type="none"/>
          </a:ln>
        </p:spPr>
        <p:style>
          <a:lnRef idx="1">
            <a:schemeClr val="accent4"/>
          </a:lnRef>
          <a:fillRef idx="0">
            <a:schemeClr val="accent4"/>
          </a:fillRef>
          <a:effectRef idx="0">
            <a:schemeClr val="accent4"/>
          </a:effectRef>
          <a:fontRef idx="minor">
            <a:schemeClr val="tx1"/>
          </a:fontRef>
        </p:style>
      </p:cxnSp>
      <p:cxnSp>
        <p:nvCxnSpPr>
          <p:cNvPr id="238" name="Straight Connector 237"/>
          <p:cNvCxnSpPr>
            <a:stCxn id="19" idx="4"/>
            <a:endCxn id="20" idx="0"/>
          </p:cNvCxnSpPr>
          <p:nvPr/>
        </p:nvCxnSpPr>
        <p:spPr>
          <a:xfrm>
            <a:off x="9304359" y="4164048"/>
            <a:ext cx="0" cy="1136398"/>
          </a:xfrm>
          <a:prstGeom prst="line">
            <a:avLst/>
          </a:prstGeom>
          <a:ln w="31750">
            <a:headEnd type="none"/>
            <a:tailEnd type="none"/>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819250" y="365321"/>
            <a:ext cx="10334546" cy="507319"/>
          </a:xfrm>
        </p:spPr>
        <p:txBody>
          <a:bodyPr/>
          <a:lstStyle/>
          <a:p>
            <a:r>
              <a:rPr lang="en-US"/>
              <a:t>DevSecOps Security Controls</a:t>
            </a:r>
          </a:p>
        </p:txBody>
      </p:sp>
      <p:sp>
        <p:nvSpPr>
          <p:cNvPr id="9" name="Oval 8"/>
          <p:cNvSpPr/>
          <p:nvPr/>
        </p:nvSpPr>
        <p:spPr>
          <a:xfrm>
            <a:off x="1356826" y="1553111"/>
            <a:ext cx="341711" cy="341711"/>
          </a:xfrm>
          <a:prstGeom prst="ellipse">
            <a:avLst/>
          </a:prstGeom>
          <a:solidFill>
            <a:schemeClr val="accent3"/>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5" b="1">
                <a:solidFill>
                  <a:schemeClr val="bg2"/>
                </a:solidFill>
                <a:latin typeface="Calibri" panose="020F0502020204030204" pitchFamily="34" charset="0"/>
                <a:cs typeface="Calibri" panose="020F0502020204030204" pitchFamily="34" charset="0"/>
              </a:rPr>
              <a:t>1</a:t>
            </a:r>
          </a:p>
        </p:txBody>
      </p:sp>
      <p:sp>
        <p:nvSpPr>
          <p:cNvPr id="12" name="Oval 11"/>
          <p:cNvSpPr/>
          <p:nvPr/>
        </p:nvSpPr>
        <p:spPr>
          <a:xfrm>
            <a:off x="3177892" y="2093727"/>
            <a:ext cx="341711" cy="341711"/>
          </a:xfrm>
          <a:prstGeom prst="ellipse">
            <a:avLst/>
          </a:prstGeom>
          <a:solidFill>
            <a:schemeClr val="accent3"/>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5" b="1">
                <a:solidFill>
                  <a:schemeClr val="bg2"/>
                </a:solidFill>
                <a:latin typeface="Calibri" panose="020F0502020204030204" pitchFamily="34" charset="0"/>
                <a:cs typeface="Calibri" panose="020F0502020204030204" pitchFamily="34" charset="0"/>
              </a:rPr>
              <a:t>2</a:t>
            </a:r>
          </a:p>
        </p:txBody>
      </p:sp>
      <p:sp>
        <p:nvSpPr>
          <p:cNvPr id="13" name="Oval 12"/>
          <p:cNvSpPr/>
          <p:nvPr/>
        </p:nvSpPr>
        <p:spPr>
          <a:xfrm>
            <a:off x="3177892" y="3695173"/>
            <a:ext cx="341711" cy="341711"/>
          </a:xfrm>
          <a:prstGeom prst="ellipse">
            <a:avLst/>
          </a:prstGeom>
          <a:solidFill>
            <a:schemeClr val="accent3"/>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5" b="1">
                <a:solidFill>
                  <a:schemeClr val="bg2"/>
                </a:solidFill>
                <a:latin typeface="Calibri" panose="020F0502020204030204" pitchFamily="34" charset="0"/>
                <a:cs typeface="Calibri" panose="020F0502020204030204" pitchFamily="34" charset="0"/>
              </a:rPr>
              <a:t>3</a:t>
            </a:r>
          </a:p>
        </p:txBody>
      </p:sp>
      <p:sp>
        <p:nvSpPr>
          <p:cNvPr id="14" name="Oval 13"/>
          <p:cNvSpPr/>
          <p:nvPr/>
        </p:nvSpPr>
        <p:spPr>
          <a:xfrm>
            <a:off x="3177892" y="5296620"/>
            <a:ext cx="341711" cy="341711"/>
          </a:xfrm>
          <a:prstGeom prst="ellipse">
            <a:avLst/>
          </a:prstGeom>
          <a:solidFill>
            <a:schemeClr val="accent3"/>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5" b="1">
                <a:solidFill>
                  <a:schemeClr val="bg2"/>
                </a:solidFill>
                <a:latin typeface="Calibri" panose="020F0502020204030204" pitchFamily="34" charset="0"/>
                <a:cs typeface="Calibri" panose="020F0502020204030204" pitchFamily="34" charset="0"/>
              </a:rPr>
              <a:t>4</a:t>
            </a:r>
          </a:p>
        </p:txBody>
      </p:sp>
      <p:sp>
        <p:nvSpPr>
          <p:cNvPr id="15" name="Oval 14"/>
          <p:cNvSpPr/>
          <p:nvPr/>
        </p:nvSpPr>
        <p:spPr>
          <a:xfrm>
            <a:off x="5827165" y="5296620"/>
            <a:ext cx="341711" cy="341711"/>
          </a:xfrm>
          <a:prstGeom prst="ellipse">
            <a:avLst/>
          </a:prstGeom>
          <a:solidFill>
            <a:schemeClr val="accent3"/>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5" b="1">
                <a:solidFill>
                  <a:schemeClr val="bg2"/>
                </a:solidFill>
                <a:latin typeface="Calibri" panose="020F0502020204030204" pitchFamily="34" charset="0"/>
                <a:cs typeface="Calibri" panose="020F0502020204030204" pitchFamily="34" charset="0"/>
              </a:rPr>
              <a:t>5</a:t>
            </a:r>
          </a:p>
        </p:txBody>
      </p:sp>
      <p:sp>
        <p:nvSpPr>
          <p:cNvPr id="16" name="Oval 15"/>
          <p:cNvSpPr/>
          <p:nvPr/>
        </p:nvSpPr>
        <p:spPr>
          <a:xfrm>
            <a:off x="5827165" y="3822337"/>
            <a:ext cx="341711" cy="341711"/>
          </a:xfrm>
          <a:prstGeom prst="ellipse">
            <a:avLst/>
          </a:prstGeom>
          <a:solidFill>
            <a:schemeClr val="accent3"/>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5" b="1">
                <a:solidFill>
                  <a:schemeClr val="bg2"/>
                </a:solidFill>
                <a:latin typeface="Calibri" panose="020F0502020204030204" pitchFamily="34" charset="0"/>
                <a:cs typeface="Calibri" panose="020F0502020204030204" pitchFamily="34" charset="0"/>
              </a:rPr>
              <a:t>6</a:t>
            </a:r>
          </a:p>
        </p:txBody>
      </p:sp>
      <p:sp>
        <p:nvSpPr>
          <p:cNvPr id="17" name="Oval 16"/>
          <p:cNvSpPr/>
          <p:nvPr/>
        </p:nvSpPr>
        <p:spPr>
          <a:xfrm>
            <a:off x="5827165" y="2328334"/>
            <a:ext cx="341711" cy="341711"/>
          </a:xfrm>
          <a:prstGeom prst="ellipse">
            <a:avLst/>
          </a:prstGeom>
          <a:solidFill>
            <a:schemeClr val="accent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5" b="1">
                <a:solidFill>
                  <a:schemeClr val="bg2"/>
                </a:solidFill>
                <a:latin typeface="Calibri" panose="020F0502020204030204" pitchFamily="34" charset="0"/>
                <a:cs typeface="Calibri" panose="020F0502020204030204" pitchFamily="34" charset="0"/>
              </a:rPr>
              <a:t>7</a:t>
            </a:r>
          </a:p>
        </p:txBody>
      </p:sp>
      <p:sp>
        <p:nvSpPr>
          <p:cNvPr id="18" name="Oval 17"/>
          <p:cNvSpPr/>
          <p:nvPr/>
        </p:nvSpPr>
        <p:spPr>
          <a:xfrm>
            <a:off x="9133503" y="2312975"/>
            <a:ext cx="341711" cy="341711"/>
          </a:xfrm>
          <a:prstGeom prst="ellipse">
            <a:avLst/>
          </a:prstGeom>
          <a:solidFill>
            <a:schemeClr val="accent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5" b="1">
                <a:solidFill>
                  <a:schemeClr val="bg2"/>
                </a:solidFill>
                <a:latin typeface="Calibri" panose="020F0502020204030204" pitchFamily="34" charset="0"/>
                <a:cs typeface="Calibri" panose="020F0502020204030204" pitchFamily="34" charset="0"/>
              </a:rPr>
              <a:t>8</a:t>
            </a:r>
          </a:p>
        </p:txBody>
      </p:sp>
      <p:sp>
        <p:nvSpPr>
          <p:cNvPr id="19" name="Oval 18"/>
          <p:cNvSpPr/>
          <p:nvPr/>
        </p:nvSpPr>
        <p:spPr>
          <a:xfrm>
            <a:off x="9133503" y="3822337"/>
            <a:ext cx="341711" cy="341711"/>
          </a:xfrm>
          <a:prstGeom prst="ellipse">
            <a:avLst/>
          </a:prstGeom>
          <a:solidFill>
            <a:schemeClr val="accent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5" b="1">
                <a:solidFill>
                  <a:schemeClr val="bg2"/>
                </a:solidFill>
                <a:latin typeface="Calibri" panose="020F0502020204030204" pitchFamily="34" charset="0"/>
                <a:cs typeface="Calibri" panose="020F0502020204030204" pitchFamily="34" charset="0"/>
              </a:rPr>
              <a:t>9</a:t>
            </a:r>
          </a:p>
        </p:txBody>
      </p:sp>
      <p:sp>
        <p:nvSpPr>
          <p:cNvPr id="20" name="Oval 19"/>
          <p:cNvSpPr/>
          <p:nvPr/>
        </p:nvSpPr>
        <p:spPr>
          <a:xfrm>
            <a:off x="9133503" y="5300446"/>
            <a:ext cx="341711" cy="341711"/>
          </a:xfrm>
          <a:prstGeom prst="ellipse">
            <a:avLst/>
          </a:prstGeom>
          <a:solidFill>
            <a:schemeClr val="accent4"/>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85" b="1">
                <a:solidFill>
                  <a:schemeClr val="bg1"/>
                </a:solidFill>
                <a:latin typeface="Calibri" panose="020F0502020204030204" pitchFamily="34" charset="0"/>
                <a:cs typeface="Calibri" panose="020F0502020204030204" pitchFamily="34" charset="0"/>
              </a:rPr>
              <a:t>10</a:t>
            </a:r>
          </a:p>
        </p:txBody>
      </p:sp>
      <p:grpSp>
        <p:nvGrpSpPr>
          <p:cNvPr id="28" name="Group 27"/>
          <p:cNvGrpSpPr/>
          <p:nvPr/>
        </p:nvGrpSpPr>
        <p:grpSpPr>
          <a:xfrm>
            <a:off x="764289" y="2039423"/>
            <a:ext cx="1514027" cy="907190"/>
            <a:chOff x="388812" y="3872889"/>
            <a:chExt cx="2827585" cy="1694261"/>
          </a:xfrm>
        </p:grpSpPr>
        <p:sp>
          <p:nvSpPr>
            <p:cNvPr id="10" name="Rectangle 9"/>
            <p:cNvSpPr/>
            <p:nvPr/>
          </p:nvSpPr>
          <p:spPr>
            <a:xfrm>
              <a:off x="388812" y="3872889"/>
              <a:ext cx="2827585" cy="480199"/>
            </a:xfrm>
            <a:prstGeom prst="rect">
              <a:avLst/>
            </a:prstGeom>
          </p:spPr>
          <p:txBody>
            <a:bodyPr wrap="square">
              <a:spAutoFit/>
            </a:bodyPr>
            <a:lstStyle/>
            <a:p>
              <a:pPr algn="ctr"/>
              <a:r>
                <a:rPr lang="en-US" sz="1071" b="1">
                  <a:solidFill>
                    <a:schemeClr val="accent3"/>
                  </a:solidFill>
                  <a:latin typeface="Calibri" panose="020F0502020204030204" pitchFamily="34" charset="0"/>
                  <a:cs typeface="Calibri" panose="020F0502020204030204" pitchFamily="34" charset="0"/>
                </a:rPr>
                <a:t>Secure Code Training</a:t>
              </a:r>
            </a:p>
          </p:txBody>
        </p:sp>
        <p:sp>
          <p:nvSpPr>
            <p:cNvPr id="11" name="Rectangle 10"/>
            <p:cNvSpPr/>
            <p:nvPr/>
          </p:nvSpPr>
          <p:spPr>
            <a:xfrm>
              <a:off x="595308" y="4286301"/>
              <a:ext cx="2414591" cy="1280849"/>
            </a:xfrm>
            <a:prstGeom prst="rect">
              <a:avLst/>
            </a:prstGeom>
          </p:spPr>
          <p:txBody>
            <a:bodyPr wrap="square">
              <a:spAutoFit/>
            </a:bodyPr>
            <a:lstStyle/>
            <a:p>
              <a:pPr algn="ctr"/>
              <a:r>
                <a:rPr lang="en-US" sz="964">
                  <a:latin typeface="Calibri" panose="020F0502020204030204" pitchFamily="34" charset="0"/>
                  <a:cs typeface="Calibri" panose="020F0502020204030204" pitchFamily="34" charset="0"/>
                </a:rPr>
                <a:t>Engineers gain awareness of </a:t>
              </a:r>
              <a:r>
                <a:rPr lang="en-US" sz="964" err="1">
                  <a:latin typeface="Calibri" panose="020F0502020204030204" pitchFamily="34" charset="0"/>
                  <a:cs typeface="Calibri" panose="020F0502020204030204" pitchFamily="34" charset="0"/>
                </a:rPr>
                <a:t>AppSec</a:t>
              </a:r>
              <a:r>
                <a:rPr lang="en-US" sz="964">
                  <a:latin typeface="Calibri" panose="020F0502020204030204" pitchFamily="34" charset="0"/>
                  <a:cs typeface="Calibri" panose="020F0502020204030204" pitchFamily="34" charset="0"/>
                </a:rPr>
                <a:t> principles and responsibilities</a:t>
              </a:r>
            </a:p>
          </p:txBody>
        </p:sp>
      </p:grpSp>
      <p:grpSp>
        <p:nvGrpSpPr>
          <p:cNvPr id="31" name="Group 30"/>
          <p:cNvGrpSpPr/>
          <p:nvPr/>
        </p:nvGrpSpPr>
        <p:grpSpPr>
          <a:xfrm>
            <a:off x="3601202" y="1785168"/>
            <a:ext cx="1514027" cy="1173337"/>
            <a:chOff x="407862" y="3987189"/>
            <a:chExt cx="2827585" cy="2191314"/>
          </a:xfrm>
        </p:grpSpPr>
        <p:sp>
          <p:nvSpPr>
            <p:cNvPr id="32" name="Rectangle 31"/>
            <p:cNvSpPr/>
            <p:nvPr/>
          </p:nvSpPr>
          <p:spPr>
            <a:xfrm>
              <a:off x="407862" y="3987189"/>
              <a:ext cx="2827585" cy="480199"/>
            </a:xfrm>
            <a:prstGeom prst="rect">
              <a:avLst/>
            </a:prstGeom>
          </p:spPr>
          <p:txBody>
            <a:bodyPr wrap="square">
              <a:spAutoFit/>
            </a:bodyPr>
            <a:lstStyle/>
            <a:p>
              <a:r>
                <a:rPr lang="en-US" sz="1071" b="1">
                  <a:solidFill>
                    <a:schemeClr val="accent3"/>
                  </a:solidFill>
                  <a:latin typeface="Calibri" panose="020F0502020204030204" pitchFamily="34" charset="0"/>
                  <a:cs typeface="Calibri" panose="020F0502020204030204" pitchFamily="34" charset="0"/>
                </a:rPr>
                <a:t>Secure by Design</a:t>
              </a:r>
            </a:p>
          </p:txBody>
        </p:sp>
        <p:sp>
          <p:nvSpPr>
            <p:cNvPr id="33" name="Rectangle 32"/>
            <p:cNvSpPr/>
            <p:nvPr/>
          </p:nvSpPr>
          <p:spPr>
            <a:xfrm>
              <a:off x="407862" y="4343451"/>
              <a:ext cx="2597834" cy="1835052"/>
            </a:xfrm>
            <a:prstGeom prst="rect">
              <a:avLst/>
            </a:prstGeom>
          </p:spPr>
          <p:txBody>
            <a:bodyPr wrap="square">
              <a:spAutoFit/>
            </a:bodyPr>
            <a:lstStyle/>
            <a:p>
              <a:r>
                <a:rPr lang="en-US" sz="964">
                  <a:latin typeface="Calibri" panose="020F0502020204030204" pitchFamily="34" charset="0"/>
                  <a:cs typeface="Calibri" panose="020F0502020204030204" pitchFamily="34" charset="0"/>
                </a:rPr>
                <a:t>Gather threat and abuse case models and security requirements. Adapt reusable secure by-default design patterns</a:t>
              </a:r>
            </a:p>
          </p:txBody>
        </p:sp>
      </p:grpSp>
      <p:grpSp>
        <p:nvGrpSpPr>
          <p:cNvPr id="34" name="Group 33"/>
          <p:cNvGrpSpPr/>
          <p:nvPr/>
        </p:nvGrpSpPr>
        <p:grpSpPr>
          <a:xfrm>
            <a:off x="3601202" y="3043877"/>
            <a:ext cx="1514027" cy="1846556"/>
            <a:chOff x="407862" y="3872889"/>
            <a:chExt cx="2827585" cy="3448615"/>
          </a:xfrm>
        </p:grpSpPr>
        <p:sp>
          <p:nvSpPr>
            <p:cNvPr id="35" name="Rectangle 34"/>
            <p:cNvSpPr/>
            <p:nvPr/>
          </p:nvSpPr>
          <p:spPr>
            <a:xfrm>
              <a:off x="407862" y="3872889"/>
              <a:ext cx="2827585" cy="1711231"/>
            </a:xfrm>
            <a:prstGeom prst="rect">
              <a:avLst/>
            </a:prstGeom>
          </p:spPr>
          <p:txBody>
            <a:bodyPr wrap="square">
              <a:spAutoFit/>
            </a:bodyPr>
            <a:lstStyle/>
            <a:p>
              <a:r>
                <a:rPr lang="en-US" sz="1071" b="1">
                  <a:solidFill>
                    <a:schemeClr val="accent3"/>
                  </a:solidFill>
                  <a:latin typeface="Calibri" panose="020F0502020204030204" pitchFamily="34" charset="0"/>
                  <a:cs typeface="Calibri" panose="020F0502020204030204" pitchFamily="34" charset="0"/>
                </a:rPr>
                <a:t>Pre-commit configurations for secret scanning Secure access to app, code &amp; Image repository</a:t>
              </a:r>
            </a:p>
          </p:txBody>
        </p:sp>
        <p:sp>
          <p:nvSpPr>
            <p:cNvPr id="36" name="Rectangle 35"/>
            <p:cNvSpPr/>
            <p:nvPr/>
          </p:nvSpPr>
          <p:spPr>
            <a:xfrm>
              <a:off x="407862" y="5486450"/>
              <a:ext cx="2597834" cy="1835054"/>
            </a:xfrm>
            <a:prstGeom prst="rect">
              <a:avLst/>
            </a:prstGeom>
          </p:spPr>
          <p:txBody>
            <a:bodyPr wrap="square">
              <a:spAutoFit/>
            </a:bodyPr>
            <a:lstStyle/>
            <a:p>
              <a:r>
                <a:rPr lang="en-US" sz="964">
                  <a:latin typeface="Calibri" panose="020F0502020204030204" pitchFamily="34" charset="0"/>
                  <a:cs typeface="Calibri" panose="020F0502020204030204" pitchFamily="34" charset="0"/>
                </a:rPr>
                <a:t>Implement least privilege RBAC and new solution to code and private container repository </a:t>
              </a:r>
              <a:r>
                <a:rPr lang="en-US" sz="964" err="1">
                  <a:latin typeface="Calibri" panose="020F0502020204030204" pitchFamily="34" charset="0"/>
                  <a:cs typeface="Calibri" panose="020F0502020204030204" pitchFamily="34" charset="0"/>
                </a:rPr>
                <a:t>IaC</a:t>
              </a:r>
              <a:r>
                <a:rPr lang="en-US" sz="964">
                  <a:latin typeface="Calibri" panose="020F0502020204030204" pitchFamily="34" charset="0"/>
                  <a:cs typeface="Calibri" panose="020F0502020204030204" pitchFamily="34" charset="0"/>
                </a:rPr>
                <a:t> version controlled</a:t>
              </a:r>
            </a:p>
          </p:txBody>
        </p:sp>
      </p:grpSp>
      <p:grpSp>
        <p:nvGrpSpPr>
          <p:cNvPr id="37" name="Group 36"/>
          <p:cNvGrpSpPr/>
          <p:nvPr/>
        </p:nvGrpSpPr>
        <p:grpSpPr>
          <a:xfrm>
            <a:off x="3601202" y="4977456"/>
            <a:ext cx="1514027" cy="1198368"/>
            <a:chOff x="407862" y="3987189"/>
            <a:chExt cx="2827585" cy="2238062"/>
          </a:xfrm>
        </p:grpSpPr>
        <p:sp>
          <p:nvSpPr>
            <p:cNvPr id="38" name="Rectangle 37"/>
            <p:cNvSpPr/>
            <p:nvPr/>
          </p:nvSpPr>
          <p:spPr>
            <a:xfrm>
              <a:off x="407862" y="3987189"/>
              <a:ext cx="2827585" cy="787956"/>
            </a:xfrm>
            <a:prstGeom prst="rect">
              <a:avLst/>
            </a:prstGeom>
          </p:spPr>
          <p:txBody>
            <a:bodyPr wrap="square">
              <a:spAutoFit/>
            </a:bodyPr>
            <a:lstStyle/>
            <a:p>
              <a:r>
                <a:rPr lang="en-US" sz="1071" b="1">
                  <a:solidFill>
                    <a:schemeClr val="accent3"/>
                  </a:solidFill>
                  <a:latin typeface="Calibri" panose="020F0502020204030204" pitchFamily="34" charset="0"/>
                  <a:cs typeface="Calibri" panose="020F0502020204030204" pitchFamily="34" charset="0"/>
                </a:rPr>
                <a:t>Secure Access to CI Service</a:t>
              </a:r>
            </a:p>
          </p:txBody>
        </p:sp>
        <p:sp>
          <p:nvSpPr>
            <p:cNvPr id="39" name="Rectangle 38"/>
            <p:cNvSpPr/>
            <p:nvPr/>
          </p:nvSpPr>
          <p:spPr>
            <a:xfrm>
              <a:off x="407862" y="4667300"/>
              <a:ext cx="2597834" cy="1557951"/>
            </a:xfrm>
            <a:prstGeom prst="rect">
              <a:avLst/>
            </a:prstGeom>
          </p:spPr>
          <p:txBody>
            <a:bodyPr wrap="square">
              <a:spAutoFit/>
            </a:bodyPr>
            <a:lstStyle/>
            <a:p>
              <a:r>
                <a:rPr lang="en-US" sz="964">
                  <a:latin typeface="Calibri" panose="020F0502020204030204" pitchFamily="34" charset="0"/>
                  <a:cs typeface="Calibri" panose="020F0502020204030204" pitchFamily="34" charset="0"/>
                </a:rPr>
                <a:t>Prevent unauthorized manipulation of the pipeline itself with RBAC and separation of duties</a:t>
              </a:r>
            </a:p>
          </p:txBody>
        </p:sp>
      </p:grpSp>
      <p:grpSp>
        <p:nvGrpSpPr>
          <p:cNvPr id="40" name="Group 39"/>
          <p:cNvGrpSpPr/>
          <p:nvPr/>
        </p:nvGrpSpPr>
        <p:grpSpPr>
          <a:xfrm>
            <a:off x="6260676" y="5049464"/>
            <a:ext cx="1514027" cy="1035163"/>
            <a:chOff x="407862" y="4311039"/>
            <a:chExt cx="2827585" cy="1933264"/>
          </a:xfrm>
        </p:grpSpPr>
        <p:sp>
          <p:nvSpPr>
            <p:cNvPr id="41" name="Rectangle 40"/>
            <p:cNvSpPr/>
            <p:nvPr/>
          </p:nvSpPr>
          <p:spPr>
            <a:xfrm>
              <a:off x="407862" y="4311039"/>
              <a:ext cx="2827585" cy="480199"/>
            </a:xfrm>
            <a:prstGeom prst="rect">
              <a:avLst/>
            </a:prstGeom>
          </p:spPr>
          <p:txBody>
            <a:bodyPr wrap="square">
              <a:spAutoFit/>
            </a:bodyPr>
            <a:lstStyle/>
            <a:p>
              <a:r>
                <a:rPr lang="en-US" sz="1071" b="1">
                  <a:solidFill>
                    <a:schemeClr val="accent3"/>
                  </a:solidFill>
                  <a:latin typeface="Calibri" panose="020F0502020204030204" pitchFamily="34" charset="0"/>
                  <a:cs typeface="Calibri" panose="020F0502020204030204" pitchFamily="34" charset="0"/>
                </a:rPr>
                <a:t>Code Analysis</a:t>
              </a:r>
            </a:p>
          </p:txBody>
        </p:sp>
        <p:sp>
          <p:nvSpPr>
            <p:cNvPr id="42" name="Rectangle 41"/>
            <p:cNvSpPr/>
            <p:nvPr/>
          </p:nvSpPr>
          <p:spPr>
            <a:xfrm>
              <a:off x="407862" y="4686351"/>
              <a:ext cx="2597834" cy="1557952"/>
            </a:xfrm>
            <a:prstGeom prst="rect">
              <a:avLst/>
            </a:prstGeom>
          </p:spPr>
          <p:txBody>
            <a:bodyPr wrap="square">
              <a:spAutoFit/>
            </a:bodyPr>
            <a:lstStyle/>
            <a:p>
              <a:r>
                <a:rPr lang="en-US" sz="964">
                  <a:latin typeface="Calibri" panose="020F0502020204030204" pitchFamily="34" charset="0"/>
                  <a:cs typeface="Calibri" panose="020F0502020204030204" pitchFamily="34" charset="0"/>
                </a:rPr>
                <a:t>SAST analysis code for vulnerabilities IDE and build server integrated with remediation advice</a:t>
              </a:r>
            </a:p>
          </p:txBody>
        </p:sp>
      </p:grpSp>
      <p:grpSp>
        <p:nvGrpSpPr>
          <p:cNvPr id="43" name="Group 42"/>
          <p:cNvGrpSpPr/>
          <p:nvPr/>
        </p:nvGrpSpPr>
        <p:grpSpPr>
          <a:xfrm>
            <a:off x="6260676" y="3571355"/>
            <a:ext cx="1514027" cy="1035163"/>
            <a:chOff x="407862" y="4311039"/>
            <a:chExt cx="2827585" cy="1933262"/>
          </a:xfrm>
        </p:grpSpPr>
        <p:sp>
          <p:nvSpPr>
            <p:cNvPr id="44" name="Rectangle 43"/>
            <p:cNvSpPr/>
            <p:nvPr/>
          </p:nvSpPr>
          <p:spPr>
            <a:xfrm>
              <a:off x="407862" y="4311039"/>
              <a:ext cx="2827585" cy="480199"/>
            </a:xfrm>
            <a:prstGeom prst="rect">
              <a:avLst/>
            </a:prstGeom>
          </p:spPr>
          <p:txBody>
            <a:bodyPr wrap="square">
              <a:spAutoFit/>
            </a:bodyPr>
            <a:lstStyle/>
            <a:p>
              <a:r>
                <a:rPr lang="en-US" sz="1071" b="1">
                  <a:solidFill>
                    <a:schemeClr val="accent3"/>
                  </a:solidFill>
                  <a:latin typeface="Calibri" panose="020F0502020204030204" pitchFamily="34" charset="0"/>
                  <a:cs typeface="Calibri" panose="020F0502020204030204" pitchFamily="34" charset="0"/>
                </a:rPr>
                <a:t>Composition Analysis</a:t>
              </a:r>
            </a:p>
          </p:txBody>
        </p:sp>
        <p:sp>
          <p:nvSpPr>
            <p:cNvPr id="45" name="Rectangle 44"/>
            <p:cNvSpPr/>
            <p:nvPr/>
          </p:nvSpPr>
          <p:spPr>
            <a:xfrm>
              <a:off x="407862" y="4686350"/>
              <a:ext cx="2597834" cy="1557951"/>
            </a:xfrm>
            <a:prstGeom prst="rect">
              <a:avLst/>
            </a:prstGeom>
          </p:spPr>
          <p:txBody>
            <a:bodyPr wrap="square">
              <a:spAutoFit/>
            </a:bodyPr>
            <a:lstStyle/>
            <a:p>
              <a:r>
                <a:rPr lang="en-US" sz="964">
                  <a:latin typeface="Calibri" panose="020F0502020204030204" pitchFamily="34" charset="0"/>
                  <a:cs typeface="Calibri" panose="020F0502020204030204" pitchFamily="34" charset="0"/>
                </a:rPr>
                <a:t>Analyze third party/open source libraries. Reuse secure code only and comply with OSS licensing</a:t>
              </a:r>
            </a:p>
          </p:txBody>
        </p:sp>
      </p:grpSp>
      <p:grpSp>
        <p:nvGrpSpPr>
          <p:cNvPr id="46" name="Group 45"/>
          <p:cNvGrpSpPr/>
          <p:nvPr/>
        </p:nvGrpSpPr>
        <p:grpSpPr>
          <a:xfrm>
            <a:off x="6260675" y="2142253"/>
            <a:ext cx="1391007" cy="745472"/>
            <a:chOff x="407862" y="4311039"/>
            <a:chExt cx="2597834" cy="1392237"/>
          </a:xfrm>
        </p:grpSpPr>
        <p:sp>
          <p:nvSpPr>
            <p:cNvPr id="47" name="Rectangle 46"/>
            <p:cNvSpPr/>
            <p:nvPr/>
          </p:nvSpPr>
          <p:spPr>
            <a:xfrm>
              <a:off x="407864" y="4311039"/>
              <a:ext cx="2088245" cy="787955"/>
            </a:xfrm>
            <a:prstGeom prst="rect">
              <a:avLst/>
            </a:prstGeom>
          </p:spPr>
          <p:txBody>
            <a:bodyPr wrap="square">
              <a:spAutoFit/>
            </a:bodyPr>
            <a:lstStyle/>
            <a:p>
              <a:r>
                <a:rPr lang="en-US" sz="1071" b="1">
                  <a:solidFill>
                    <a:schemeClr val="accent2">
                      <a:lumMod val="75000"/>
                    </a:schemeClr>
                  </a:solidFill>
                  <a:latin typeface="Calibri" panose="020F0502020204030204" pitchFamily="34" charset="0"/>
                  <a:cs typeface="Calibri" panose="020F0502020204030204" pitchFamily="34" charset="0"/>
                </a:rPr>
                <a:t>CI Server deploys to Test</a:t>
              </a:r>
            </a:p>
          </p:txBody>
        </p:sp>
        <p:sp>
          <p:nvSpPr>
            <p:cNvPr id="48" name="Rectangle 47"/>
            <p:cNvSpPr/>
            <p:nvPr/>
          </p:nvSpPr>
          <p:spPr>
            <a:xfrm>
              <a:off x="407862" y="4976632"/>
              <a:ext cx="2597834" cy="726644"/>
            </a:xfrm>
            <a:prstGeom prst="rect">
              <a:avLst/>
            </a:prstGeom>
          </p:spPr>
          <p:txBody>
            <a:bodyPr wrap="square">
              <a:spAutoFit/>
            </a:bodyPr>
            <a:lstStyle/>
            <a:p>
              <a:r>
                <a:rPr lang="en-US" sz="964">
                  <a:latin typeface="Calibri" panose="020F0502020204030204" pitchFamily="34" charset="0"/>
                  <a:cs typeface="Calibri" panose="020F0502020204030204" pitchFamily="34" charset="0"/>
                </a:rPr>
                <a:t>Automated deployment via </a:t>
              </a:r>
              <a:r>
                <a:rPr lang="en-US" sz="964" err="1">
                  <a:latin typeface="Calibri" panose="020F0502020204030204" pitchFamily="34" charset="0"/>
                  <a:cs typeface="Calibri" panose="020F0502020204030204" pitchFamily="34" charset="0"/>
                </a:rPr>
                <a:t>IaC</a:t>
              </a:r>
              <a:endParaRPr lang="en-US" sz="964">
                <a:latin typeface="Calibri" panose="020F0502020204030204" pitchFamily="34" charset="0"/>
                <a:cs typeface="Calibri" panose="020F0502020204030204" pitchFamily="34" charset="0"/>
              </a:endParaRPr>
            </a:p>
          </p:txBody>
        </p:sp>
      </p:grpSp>
      <p:grpSp>
        <p:nvGrpSpPr>
          <p:cNvPr id="49" name="Group 48"/>
          <p:cNvGrpSpPr/>
          <p:nvPr/>
        </p:nvGrpSpPr>
        <p:grpSpPr>
          <a:xfrm>
            <a:off x="9573136" y="1839515"/>
            <a:ext cx="1514027" cy="1480285"/>
            <a:chOff x="407862" y="4311039"/>
            <a:chExt cx="2827585" cy="2764567"/>
          </a:xfrm>
        </p:grpSpPr>
        <p:sp>
          <p:nvSpPr>
            <p:cNvPr id="50" name="Rectangle 49"/>
            <p:cNvSpPr/>
            <p:nvPr/>
          </p:nvSpPr>
          <p:spPr>
            <a:xfrm>
              <a:off x="407862" y="4311039"/>
              <a:ext cx="2827585" cy="480199"/>
            </a:xfrm>
            <a:prstGeom prst="rect">
              <a:avLst/>
            </a:prstGeom>
          </p:spPr>
          <p:txBody>
            <a:bodyPr wrap="square">
              <a:spAutoFit/>
            </a:bodyPr>
            <a:lstStyle/>
            <a:p>
              <a:r>
                <a:rPr lang="en-US" sz="1071" b="1">
                  <a:solidFill>
                    <a:schemeClr val="accent2">
                      <a:lumMod val="75000"/>
                    </a:schemeClr>
                  </a:solidFill>
                  <a:latin typeface="Calibri" panose="020F0502020204030204" pitchFamily="34" charset="0"/>
                  <a:cs typeface="Calibri" panose="020F0502020204030204" pitchFamily="34" charset="0"/>
                </a:rPr>
                <a:t>Security Tests</a:t>
              </a:r>
            </a:p>
          </p:txBody>
        </p:sp>
        <p:sp>
          <p:nvSpPr>
            <p:cNvPr id="51" name="Rectangle 50"/>
            <p:cNvSpPr/>
            <p:nvPr/>
          </p:nvSpPr>
          <p:spPr>
            <a:xfrm>
              <a:off x="407862" y="4686350"/>
              <a:ext cx="2597834" cy="2389256"/>
            </a:xfrm>
            <a:prstGeom prst="rect">
              <a:avLst/>
            </a:prstGeom>
          </p:spPr>
          <p:txBody>
            <a:bodyPr wrap="square">
              <a:spAutoFit/>
            </a:bodyPr>
            <a:lstStyle/>
            <a:p>
              <a:r>
                <a:rPr lang="en-US" sz="964">
                  <a:latin typeface="Calibri" panose="020F0502020204030204" pitchFamily="34" charset="0"/>
                  <a:cs typeface="Calibri" panose="020F0502020204030204" pitchFamily="34" charset="0"/>
                </a:rPr>
                <a:t>DAST perform app specific automated security testing and dynamic container analysis. Validate controls are mitigating the abuse case threat sectors</a:t>
              </a:r>
            </a:p>
          </p:txBody>
        </p:sp>
      </p:grpSp>
      <p:grpSp>
        <p:nvGrpSpPr>
          <p:cNvPr id="52" name="Group 51"/>
          <p:cNvGrpSpPr/>
          <p:nvPr/>
        </p:nvGrpSpPr>
        <p:grpSpPr>
          <a:xfrm>
            <a:off x="9573136" y="3657717"/>
            <a:ext cx="1514027" cy="1060874"/>
            <a:chOff x="407862" y="4311039"/>
            <a:chExt cx="2827585" cy="1981282"/>
          </a:xfrm>
        </p:grpSpPr>
        <p:sp>
          <p:nvSpPr>
            <p:cNvPr id="53" name="Rectangle 52"/>
            <p:cNvSpPr/>
            <p:nvPr/>
          </p:nvSpPr>
          <p:spPr>
            <a:xfrm>
              <a:off x="407862" y="4311039"/>
              <a:ext cx="2827585" cy="787956"/>
            </a:xfrm>
            <a:prstGeom prst="rect">
              <a:avLst/>
            </a:prstGeom>
          </p:spPr>
          <p:txBody>
            <a:bodyPr wrap="square">
              <a:spAutoFit/>
            </a:bodyPr>
            <a:lstStyle/>
            <a:p>
              <a:r>
                <a:rPr lang="en-US" sz="1071" b="1">
                  <a:solidFill>
                    <a:schemeClr val="accent2">
                      <a:lumMod val="75000"/>
                    </a:schemeClr>
                  </a:solidFill>
                  <a:latin typeface="Calibri" panose="020F0502020204030204" pitchFamily="34" charset="0"/>
                  <a:cs typeface="Calibri" panose="020F0502020204030204" pitchFamily="34" charset="0"/>
                </a:rPr>
                <a:t>Security Review (Human Logic Test)</a:t>
              </a:r>
            </a:p>
          </p:txBody>
        </p:sp>
        <p:sp>
          <p:nvSpPr>
            <p:cNvPr id="54" name="Rectangle 53"/>
            <p:cNvSpPr/>
            <p:nvPr/>
          </p:nvSpPr>
          <p:spPr>
            <a:xfrm>
              <a:off x="407862" y="5011471"/>
              <a:ext cx="2597834" cy="1280850"/>
            </a:xfrm>
            <a:prstGeom prst="rect">
              <a:avLst/>
            </a:prstGeom>
          </p:spPr>
          <p:txBody>
            <a:bodyPr wrap="square">
              <a:spAutoFit/>
            </a:bodyPr>
            <a:lstStyle/>
            <a:p>
              <a:r>
                <a:rPr lang="en-US" sz="964">
                  <a:latin typeface="Calibri" panose="020F0502020204030204" pitchFamily="34" charset="0"/>
                  <a:cs typeface="Calibri" panose="020F0502020204030204" pitchFamily="34" charset="0"/>
                </a:rPr>
                <a:t>Conduct penetration testing where it makes sense.( Might not be needed for every sprint)</a:t>
              </a:r>
            </a:p>
          </p:txBody>
        </p:sp>
      </p:grpSp>
      <p:grpSp>
        <p:nvGrpSpPr>
          <p:cNvPr id="55" name="Group 54"/>
          <p:cNvGrpSpPr/>
          <p:nvPr/>
        </p:nvGrpSpPr>
        <p:grpSpPr>
          <a:xfrm>
            <a:off x="9573136" y="5049466"/>
            <a:ext cx="1514027" cy="886790"/>
            <a:chOff x="407862" y="4311039"/>
            <a:chExt cx="2827585" cy="1656162"/>
          </a:xfrm>
        </p:grpSpPr>
        <p:sp>
          <p:nvSpPr>
            <p:cNvPr id="56" name="Rectangle 55"/>
            <p:cNvSpPr/>
            <p:nvPr/>
          </p:nvSpPr>
          <p:spPr>
            <a:xfrm>
              <a:off x="407862" y="4311039"/>
              <a:ext cx="2827585" cy="480199"/>
            </a:xfrm>
            <a:prstGeom prst="rect">
              <a:avLst/>
            </a:prstGeom>
          </p:spPr>
          <p:txBody>
            <a:bodyPr wrap="square">
              <a:spAutoFit/>
            </a:bodyPr>
            <a:lstStyle/>
            <a:p>
              <a:r>
                <a:rPr lang="en-US" sz="1071" b="1">
                  <a:solidFill>
                    <a:schemeClr val="accent4">
                      <a:lumMod val="50000"/>
                    </a:schemeClr>
                  </a:solidFill>
                  <a:latin typeface="Calibri" panose="020F0502020204030204" pitchFamily="34" charset="0"/>
                  <a:cs typeface="Calibri" panose="020F0502020204030204" pitchFamily="34" charset="0"/>
                </a:rPr>
                <a:t>Image Assurance</a:t>
              </a:r>
            </a:p>
          </p:txBody>
        </p:sp>
        <p:sp>
          <p:nvSpPr>
            <p:cNvPr id="57" name="Rectangle 56"/>
            <p:cNvSpPr/>
            <p:nvPr/>
          </p:nvSpPr>
          <p:spPr>
            <a:xfrm>
              <a:off x="407862" y="4686351"/>
              <a:ext cx="2597834" cy="1280850"/>
            </a:xfrm>
            <a:prstGeom prst="rect">
              <a:avLst/>
            </a:prstGeom>
          </p:spPr>
          <p:txBody>
            <a:bodyPr wrap="square">
              <a:spAutoFit/>
            </a:bodyPr>
            <a:lstStyle/>
            <a:p>
              <a:r>
                <a:rPr lang="en-US" sz="964">
                  <a:latin typeface="Calibri" panose="020F0502020204030204" pitchFamily="34" charset="0"/>
                  <a:cs typeface="Calibri" panose="020F0502020204030204" pitchFamily="34" charset="0"/>
                </a:rPr>
                <a:t>Validate image integrity signatures and that assurance polices are yet to proceed to prod</a:t>
              </a:r>
            </a:p>
          </p:txBody>
        </p:sp>
      </p:grpSp>
      <p:sp>
        <p:nvSpPr>
          <p:cNvPr id="82" name="Rectangle 81"/>
          <p:cNvSpPr/>
          <p:nvPr/>
        </p:nvSpPr>
        <p:spPr>
          <a:xfrm rot="16200000">
            <a:off x="1828212" y="4207862"/>
            <a:ext cx="662361" cy="290079"/>
          </a:xfrm>
          <a:prstGeom prst="rect">
            <a:avLst/>
          </a:prstGeom>
        </p:spPr>
        <p:txBody>
          <a:bodyPr wrap="none">
            <a:spAutoFit/>
          </a:bodyPr>
          <a:lstStyle/>
          <a:p>
            <a:r>
              <a:rPr lang="en-US" sz="1285">
                <a:solidFill>
                  <a:schemeClr val="tx2">
                    <a:lumMod val="75000"/>
                  </a:schemeClr>
                </a:solidFill>
                <a:latin typeface="Calibri" panose="020F0502020204030204" pitchFamily="34" charset="0"/>
                <a:cs typeface="Calibri" panose="020F0502020204030204" pitchFamily="34" charset="0"/>
              </a:rPr>
              <a:t>SPRINT</a:t>
            </a:r>
          </a:p>
        </p:txBody>
      </p:sp>
      <p:cxnSp>
        <p:nvCxnSpPr>
          <p:cNvPr id="80" name="Straight Connector 79"/>
          <p:cNvCxnSpPr/>
          <p:nvPr/>
        </p:nvCxnSpPr>
        <p:spPr>
          <a:xfrm flipV="1">
            <a:off x="1614330" y="6552960"/>
            <a:ext cx="9840384" cy="0"/>
          </a:xfrm>
          <a:prstGeom prst="line">
            <a:avLst/>
          </a:prstGeom>
          <a:ln w="12700">
            <a:solidFill>
              <a:schemeClr val="tx1"/>
            </a:solidFill>
            <a:headEnd type="arrow" w="lg" len="lg"/>
            <a:tailEnd type="arrow" w="lg" len="lg"/>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6982600" y="6552960"/>
            <a:ext cx="920578" cy="290079"/>
          </a:xfrm>
          <a:prstGeom prst="rect">
            <a:avLst/>
          </a:prstGeom>
          <a:solidFill>
            <a:schemeClr val="bg2"/>
          </a:solidFill>
          <a:ln>
            <a:solidFill>
              <a:schemeClr val="tx1"/>
            </a:solidFill>
          </a:ln>
        </p:spPr>
        <p:txBody>
          <a:bodyPr wrap="square">
            <a:spAutoFit/>
          </a:bodyPr>
          <a:lstStyle/>
          <a:p>
            <a:pPr algn="ctr"/>
            <a:r>
              <a:rPr lang="en-US" sz="1285" b="1">
                <a:latin typeface="Calibri" panose="020F0502020204030204" pitchFamily="34" charset="0"/>
                <a:cs typeface="Calibri" panose="020F0502020204030204" pitchFamily="34" charset="0"/>
              </a:rPr>
              <a:t>SECURITY</a:t>
            </a:r>
          </a:p>
        </p:txBody>
      </p:sp>
      <p:sp>
        <p:nvSpPr>
          <p:cNvPr id="84" name="Pentagon 83"/>
          <p:cNvSpPr/>
          <p:nvPr/>
        </p:nvSpPr>
        <p:spPr>
          <a:xfrm>
            <a:off x="5203629" y="958844"/>
            <a:ext cx="2002661" cy="333866"/>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13" b="1">
                <a:solidFill>
                  <a:schemeClr val="bg2"/>
                </a:solidFill>
                <a:latin typeface="Calibri" panose="020F0502020204030204" pitchFamily="34" charset="0"/>
                <a:cs typeface="Calibri" panose="020F0502020204030204" pitchFamily="34" charset="0"/>
              </a:rPr>
              <a:t>Development</a:t>
            </a:r>
          </a:p>
        </p:txBody>
      </p:sp>
      <p:grpSp>
        <p:nvGrpSpPr>
          <p:cNvPr id="90" name="Group 89"/>
          <p:cNvGrpSpPr/>
          <p:nvPr/>
        </p:nvGrpSpPr>
        <p:grpSpPr>
          <a:xfrm>
            <a:off x="815773" y="5887043"/>
            <a:ext cx="421451" cy="421451"/>
            <a:chOff x="8945563" y="3965575"/>
            <a:chExt cx="4876801" cy="4876801"/>
          </a:xfrm>
        </p:grpSpPr>
        <p:sp>
          <p:nvSpPr>
            <p:cNvPr id="91" name="Freeform 7"/>
            <p:cNvSpPr>
              <a:spLocks/>
            </p:cNvSpPr>
            <p:nvPr/>
          </p:nvSpPr>
          <p:spPr bwMode="auto">
            <a:xfrm>
              <a:off x="8945563" y="4887913"/>
              <a:ext cx="4876800" cy="3954463"/>
            </a:xfrm>
            <a:custGeom>
              <a:avLst/>
              <a:gdLst>
                <a:gd name="T0" fmla="*/ 1195 w 6144"/>
                <a:gd name="T1" fmla="*/ 0 h 4982"/>
                <a:gd name="T2" fmla="*/ 4949 w 6144"/>
                <a:gd name="T3" fmla="*/ 0 h 4982"/>
                <a:gd name="T4" fmla="*/ 6144 w 6144"/>
                <a:gd name="T5" fmla="*/ 4982 h 4982"/>
                <a:gd name="T6" fmla="*/ 0 w 6144"/>
                <a:gd name="T7" fmla="*/ 4982 h 4982"/>
                <a:gd name="T8" fmla="*/ 1195 w 6144"/>
                <a:gd name="T9" fmla="*/ 0 h 4982"/>
              </a:gdLst>
              <a:ahLst/>
              <a:cxnLst>
                <a:cxn ang="0">
                  <a:pos x="T0" y="T1"/>
                </a:cxn>
                <a:cxn ang="0">
                  <a:pos x="T2" y="T3"/>
                </a:cxn>
                <a:cxn ang="0">
                  <a:pos x="T4" y="T5"/>
                </a:cxn>
                <a:cxn ang="0">
                  <a:pos x="T6" y="T7"/>
                </a:cxn>
                <a:cxn ang="0">
                  <a:pos x="T8" y="T9"/>
                </a:cxn>
              </a:cxnLst>
              <a:rect l="0" t="0" r="r" b="b"/>
              <a:pathLst>
                <a:path w="6144" h="4982">
                  <a:moveTo>
                    <a:pt x="1195" y="0"/>
                  </a:moveTo>
                  <a:lnTo>
                    <a:pt x="4949" y="0"/>
                  </a:lnTo>
                  <a:lnTo>
                    <a:pt x="6144" y="4982"/>
                  </a:lnTo>
                  <a:lnTo>
                    <a:pt x="0" y="4982"/>
                  </a:lnTo>
                  <a:lnTo>
                    <a:pt x="1195" y="0"/>
                  </a:lnTo>
                  <a:close/>
                </a:path>
              </a:pathLst>
            </a:custGeom>
            <a:solidFill>
              <a:schemeClr val="accent3">
                <a:lumMod val="20000"/>
                <a:lumOff val="8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92" name="Freeform 8"/>
            <p:cNvSpPr>
              <a:spLocks/>
            </p:cNvSpPr>
            <p:nvPr/>
          </p:nvSpPr>
          <p:spPr bwMode="auto">
            <a:xfrm>
              <a:off x="12382501" y="4887913"/>
              <a:ext cx="1439863" cy="3954463"/>
            </a:xfrm>
            <a:custGeom>
              <a:avLst/>
              <a:gdLst>
                <a:gd name="T0" fmla="*/ 0 w 1813"/>
                <a:gd name="T1" fmla="*/ 0 h 4982"/>
                <a:gd name="T2" fmla="*/ 618 w 1813"/>
                <a:gd name="T3" fmla="*/ 0 h 4982"/>
                <a:gd name="T4" fmla="*/ 1813 w 1813"/>
                <a:gd name="T5" fmla="*/ 4982 h 4982"/>
                <a:gd name="T6" fmla="*/ 1195 w 1813"/>
                <a:gd name="T7" fmla="*/ 4982 h 4982"/>
                <a:gd name="T8" fmla="*/ 0 w 1813"/>
                <a:gd name="T9" fmla="*/ 0 h 4982"/>
              </a:gdLst>
              <a:ahLst/>
              <a:cxnLst>
                <a:cxn ang="0">
                  <a:pos x="T0" y="T1"/>
                </a:cxn>
                <a:cxn ang="0">
                  <a:pos x="T2" y="T3"/>
                </a:cxn>
                <a:cxn ang="0">
                  <a:pos x="T4" y="T5"/>
                </a:cxn>
                <a:cxn ang="0">
                  <a:pos x="T6" y="T7"/>
                </a:cxn>
                <a:cxn ang="0">
                  <a:pos x="T8" y="T9"/>
                </a:cxn>
              </a:cxnLst>
              <a:rect l="0" t="0" r="r" b="b"/>
              <a:pathLst>
                <a:path w="1813" h="4982">
                  <a:moveTo>
                    <a:pt x="0" y="0"/>
                  </a:moveTo>
                  <a:lnTo>
                    <a:pt x="618" y="0"/>
                  </a:lnTo>
                  <a:lnTo>
                    <a:pt x="1813" y="4982"/>
                  </a:lnTo>
                  <a:lnTo>
                    <a:pt x="1195" y="4982"/>
                  </a:lnTo>
                  <a:lnTo>
                    <a:pt x="0" y="0"/>
                  </a:lnTo>
                  <a:close/>
                </a:path>
              </a:pathLst>
            </a:custGeom>
            <a:solidFill>
              <a:schemeClr val="accent2">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93" name="Freeform 9"/>
            <p:cNvSpPr>
              <a:spLocks/>
            </p:cNvSpPr>
            <p:nvPr/>
          </p:nvSpPr>
          <p:spPr bwMode="auto">
            <a:xfrm>
              <a:off x="10342563" y="5564188"/>
              <a:ext cx="1909763" cy="147638"/>
            </a:xfrm>
            <a:custGeom>
              <a:avLst/>
              <a:gdLst>
                <a:gd name="T0" fmla="*/ 94 w 2408"/>
                <a:gd name="T1" fmla="*/ 0 h 187"/>
                <a:gd name="T2" fmla="*/ 2315 w 2408"/>
                <a:gd name="T3" fmla="*/ 0 h 187"/>
                <a:gd name="T4" fmla="*/ 2344 w 2408"/>
                <a:gd name="T5" fmla="*/ 6 h 187"/>
                <a:gd name="T6" fmla="*/ 2371 w 2408"/>
                <a:gd name="T7" fmla="*/ 19 h 187"/>
                <a:gd name="T8" fmla="*/ 2389 w 2408"/>
                <a:gd name="T9" fmla="*/ 40 h 187"/>
                <a:gd name="T10" fmla="*/ 2402 w 2408"/>
                <a:gd name="T11" fmla="*/ 64 h 187"/>
                <a:gd name="T12" fmla="*/ 2408 w 2408"/>
                <a:gd name="T13" fmla="*/ 94 h 187"/>
                <a:gd name="T14" fmla="*/ 2402 w 2408"/>
                <a:gd name="T15" fmla="*/ 123 h 187"/>
                <a:gd name="T16" fmla="*/ 2389 w 2408"/>
                <a:gd name="T17" fmla="*/ 148 h 187"/>
                <a:gd name="T18" fmla="*/ 2371 w 2408"/>
                <a:gd name="T19" fmla="*/ 168 h 187"/>
                <a:gd name="T20" fmla="*/ 2344 w 2408"/>
                <a:gd name="T21" fmla="*/ 181 h 187"/>
                <a:gd name="T22" fmla="*/ 2315 w 2408"/>
                <a:gd name="T23" fmla="*/ 187 h 187"/>
                <a:gd name="T24" fmla="*/ 94 w 2408"/>
                <a:gd name="T25" fmla="*/ 187 h 187"/>
                <a:gd name="T26" fmla="*/ 66 w 2408"/>
                <a:gd name="T27" fmla="*/ 181 h 187"/>
                <a:gd name="T28" fmla="*/ 40 w 2408"/>
                <a:gd name="T29" fmla="*/ 168 h 187"/>
                <a:gd name="T30" fmla="*/ 19 w 2408"/>
                <a:gd name="T31" fmla="*/ 148 h 187"/>
                <a:gd name="T32" fmla="*/ 6 w 2408"/>
                <a:gd name="T33" fmla="*/ 123 h 187"/>
                <a:gd name="T34" fmla="*/ 0 w 2408"/>
                <a:gd name="T35" fmla="*/ 94 h 187"/>
                <a:gd name="T36" fmla="*/ 6 w 2408"/>
                <a:gd name="T37" fmla="*/ 64 h 187"/>
                <a:gd name="T38" fmla="*/ 19 w 2408"/>
                <a:gd name="T39" fmla="*/ 40 h 187"/>
                <a:gd name="T40" fmla="*/ 40 w 2408"/>
                <a:gd name="T41" fmla="*/ 19 h 187"/>
                <a:gd name="T42" fmla="*/ 66 w 2408"/>
                <a:gd name="T43" fmla="*/ 6 h 187"/>
                <a:gd name="T44" fmla="*/ 94 w 2408"/>
                <a:gd name="T4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8" h="187">
                  <a:moveTo>
                    <a:pt x="94" y="0"/>
                  </a:moveTo>
                  <a:lnTo>
                    <a:pt x="2315" y="0"/>
                  </a:lnTo>
                  <a:lnTo>
                    <a:pt x="2344" y="6"/>
                  </a:lnTo>
                  <a:lnTo>
                    <a:pt x="2371" y="19"/>
                  </a:lnTo>
                  <a:lnTo>
                    <a:pt x="2389" y="40"/>
                  </a:lnTo>
                  <a:lnTo>
                    <a:pt x="2402" y="64"/>
                  </a:lnTo>
                  <a:lnTo>
                    <a:pt x="2408" y="94"/>
                  </a:lnTo>
                  <a:lnTo>
                    <a:pt x="2402" y="123"/>
                  </a:lnTo>
                  <a:lnTo>
                    <a:pt x="2389" y="148"/>
                  </a:lnTo>
                  <a:lnTo>
                    <a:pt x="2371" y="168"/>
                  </a:lnTo>
                  <a:lnTo>
                    <a:pt x="2344" y="181"/>
                  </a:lnTo>
                  <a:lnTo>
                    <a:pt x="2315" y="187"/>
                  </a:lnTo>
                  <a:lnTo>
                    <a:pt x="94" y="187"/>
                  </a:lnTo>
                  <a:lnTo>
                    <a:pt x="66" y="181"/>
                  </a:lnTo>
                  <a:lnTo>
                    <a:pt x="40" y="168"/>
                  </a:lnTo>
                  <a:lnTo>
                    <a:pt x="19" y="148"/>
                  </a:lnTo>
                  <a:lnTo>
                    <a:pt x="6" y="123"/>
                  </a:lnTo>
                  <a:lnTo>
                    <a:pt x="0" y="94"/>
                  </a:lnTo>
                  <a:lnTo>
                    <a:pt x="6" y="64"/>
                  </a:lnTo>
                  <a:lnTo>
                    <a:pt x="19" y="40"/>
                  </a:lnTo>
                  <a:lnTo>
                    <a:pt x="40" y="19"/>
                  </a:lnTo>
                  <a:lnTo>
                    <a:pt x="66" y="6"/>
                  </a:lnTo>
                  <a:lnTo>
                    <a:pt x="94" y="0"/>
                  </a:lnTo>
                  <a:close/>
                </a:path>
              </a:pathLst>
            </a:custGeom>
            <a:solidFill>
              <a:schemeClr val="accent3">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94" name="Freeform 10"/>
            <p:cNvSpPr>
              <a:spLocks/>
            </p:cNvSpPr>
            <p:nvPr/>
          </p:nvSpPr>
          <p:spPr bwMode="auto">
            <a:xfrm>
              <a:off x="10244138" y="6175375"/>
              <a:ext cx="1774825" cy="147638"/>
            </a:xfrm>
            <a:custGeom>
              <a:avLst/>
              <a:gdLst>
                <a:gd name="T0" fmla="*/ 93 w 2236"/>
                <a:gd name="T1" fmla="*/ 0 h 187"/>
                <a:gd name="T2" fmla="*/ 2142 w 2236"/>
                <a:gd name="T3" fmla="*/ 0 h 187"/>
                <a:gd name="T4" fmla="*/ 2172 w 2236"/>
                <a:gd name="T5" fmla="*/ 4 h 187"/>
                <a:gd name="T6" fmla="*/ 2198 w 2236"/>
                <a:gd name="T7" fmla="*/ 19 h 187"/>
                <a:gd name="T8" fmla="*/ 2217 w 2236"/>
                <a:gd name="T9" fmla="*/ 38 h 187"/>
                <a:gd name="T10" fmla="*/ 2230 w 2236"/>
                <a:gd name="T11" fmla="*/ 64 h 187"/>
                <a:gd name="T12" fmla="*/ 2236 w 2236"/>
                <a:gd name="T13" fmla="*/ 94 h 187"/>
                <a:gd name="T14" fmla="*/ 2230 w 2236"/>
                <a:gd name="T15" fmla="*/ 121 h 187"/>
                <a:gd name="T16" fmla="*/ 2217 w 2236"/>
                <a:gd name="T17" fmla="*/ 148 h 187"/>
                <a:gd name="T18" fmla="*/ 2198 w 2236"/>
                <a:gd name="T19" fmla="*/ 168 h 187"/>
                <a:gd name="T20" fmla="*/ 2172 w 2236"/>
                <a:gd name="T21" fmla="*/ 181 h 187"/>
                <a:gd name="T22" fmla="*/ 2142 w 2236"/>
                <a:gd name="T23" fmla="*/ 187 h 187"/>
                <a:gd name="T24" fmla="*/ 93 w 2236"/>
                <a:gd name="T25" fmla="*/ 187 h 187"/>
                <a:gd name="T26" fmla="*/ 63 w 2236"/>
                <a:gd name="T27" fmla="*/ 181 h 187"/>
                <a:gd name="T28" fmla="*/ 37 w 2236"/>
                <a:gd name="T29" fmla="*/ 168 h 187"/>
                <a:gd name="T30" fmla="*/ 18 w 2236"/>
                <a:gd name="T31" fmla="*/ 148 h 187"/>
                <a:gd name="T32" fmla="*/ 5 w 2236"/>
                <a:gd name="T33" fmla="*/ 121 h 187"/>
                <a:gd name="T34" fmla="*/ 0 w 2236"/>
                <a:gd name="T35" fmla="*/ 94 h 187"/>
                <a:gd name="T36" fmla="*/ 5 w 2236"/>
                <a:gd name="T37" fmla="*/ 64 h 187"/>
                <a:gd name="T38" fmla="*/ 18 w 2236"/>
                <a:gd name="T39" fmla="*/ 38 h 187"/>
                <a:gd name="T40" fmla="*/ 37 w 2236"/>
                <a:gd name="T41" fmla="*/ 19 h 187"/>
                <a:gd name="T42" fmla="*/ 63 w 2236"/>
                <a:gd name="T43" fmla="*/ 4 h 187"/>
                <a:gd name="T44" fmla="*/ 93 w 2236"/>
                <a:gd name="T4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36" h="187">
                  <a:moveTo>
                    <a:pt x="93" y="0"/>
                  </a:moveTo>
                  <a:lnTo>
                    <a:pt x="2142" y="0"/>
                  </a:lnTo>
                  <a:lnTo>
                    <a:pt x="2172" y="4"/>
                  </a:lnTo>
                  <a:lnTo>
                    <a:pt x="2198" y="19"/>
                  </a:lnTo>
                  <a:lnTo>
                    <a:pt x="2217" y="38"/>
                  </a:lnTo>
                  <a:lnTo>
                    <a:pt x="2230" y="64"/>
                  </a:lnTo>
                  <a:lnTo>
                    <a:pt x="2236" y="94"/>
                  </a:lnTo>
                  <a:lnTo>
                    <a:pt x="2230" y="121"/>
                  </a:lnTo>
                  <a:lnTo>
                    <a:pt x="2217" y="148"/>
                  </a:lnTo>
                  <a:lnTo>
                    <a:pt x="2198" y="168"/>
                  </a:lnTo>
                  <a:lnTo>
                    <a:pt x="2172" y="181"/>
                  </a:lnTo>
                  <a:lnTo>
                    <a:pt x="2142" y="187"/>
                  </a:lnTo>
                  <a:lnTo>
                    <a:pt x="93" y="187"/>
                  </a:lnTo>
                  <a:lnTo>
                    <a:pt x="63" y="181"/>
                  </a:lnTo>
                  <a:lnTo>
                    <a:pt x="37" y="168"/>
                  </a:lnTo>
                  <a:lnTo>
                    <a:pt x="18" y="148"/>
                  </a:lnTo>
                  <a:lnTo>
                    <a:pt x="5" y="121"/>
                  </a:lnTo>
                  <a:lnTo>
                    <a:pt x="0" y="94"/>
                  </a:lnTo>
                  <a:lnTo>
                    <a:pt x="5" y="64"/>
                  </a:lnTo>
                  <a:lnTo>
                    <a:pt x="18" y="38"/>
                  </a:lnTo>
                  <a:lnTo>
                    <a:pt x="37" y="19"/>
                  </a:lnTo>
                  <a:lnTo>
                    <a:pt x="63" y="4"/>
                  </a:lnTo>
                  <a:lnTo>
                    <a:pt x="93" y="0"/>
                  </a:lnTo>
                  <a:close/>
                </a:path>
              </a:pathLst>
            </a:custGeom>
            <a:solidFill>
              <a:schemeClr val="accent3">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95" name="Freeform 11"/>
            <p:cNvSpPr>
              <a:spLocks/>
            </p:cNvSpPr>
            <p:nvPr/>
          </p:nvSpPr>
          <p:spPr bwMode="auto">
            <a:xfrm>
              <a:off x="10126663" y="6784975"/>
              <a:ext cx="1687513" cy="146050"/>
            </a:xfrm>
            <a:custGeom>
              <a:avLst/>
              <a:gdLst>
                <a:gd name="T0" fmla="*/ 93 w 2126"/>
                <a:gd name="T1" fmla="*/ 0 h 185"/>
                <a:gd name="T2" fmla="*/ 2033 w 2126"/>
                <a:gd name="T3" fmla="*/ 0 h 185"/>
                <a:gd name="T4" fmla="*/ 2062 w 2126"/>
                <a:gd name="T5" fmla="*/ 4 h 185"/>
                <a:gd name="T6" fmla="*/ 2089 w 2126"/>
                <a:gd name="T7" fmla="*/ 17 h 185"/>
                <a:gd name="T8" fmla="*/ 2107 w 2126"/>
                <a:gd name="T9" fmla="*/ 38 h 185"/>
                <a:gd name="T10" fmla="*/ 2122 w 2126"/>
                <a:gd name="T11" fmla="*/ 64 h 185"/>
                <a:gd name="T12" fmla="*/ 2126 w 2126"/>
                <a:gd name="T13" fmla="*/ 92 h 185"/>
                <a:gd name="T14" fmla="*/ 2122 w 2126"/>
                <a:gd name="T15" fmla="*/ 121 h 185"/>
                <a:gd name="T16" fmla="*/ 2107 w 2126"/>
                <a:gd name="T17" fmla="*/ 147 h 185"/>
                <a:gd name="T18" fmla="*/ 2089 w 2126"/>
                <a:gd name="T19" fmla="*/ 168 h 185"/>
                <a:gd name="T20" fmla="*/ 2062 w 2126"/>
                <a:gd name="T21" fmla="*/ 181 h 185"/>
                <a:gd name="T22" fmla="*/ 2033 w 2126"/>
                <a:gd name="T23" fmla="*/ 185 h 185"/>
                <a:gd name="T24" fmla="*/ 93 w 2126"/>
                <a:gd name="T25" fmla="*/ 185 h 185"/>
                <a:gd name="T26" fmla="*/ 63 w 2126"/>
                <a:gd name="T27" fmla="*/ 181 h 185"/>
                <a:gd name="T28" fmla="*/ 39 w 2126"/>
                <a:gd name="T29" fmla="*/ 168 h 185"/>
                <a:gd name="T30" fmla="*/ 18 w 2126"/>
                <a:gd name="T31" fmla="*/ 147 h 185"/>
                <a:gd name="T32" fmla="*/ 5 w 2126"/>
                <a:gd name="T33" fmla="*/ 121 h 185"/>
                <a:gd name="T34" fmla="*/ 0 w 2126"/>
                <a:gd name="T35" fmla="*/ 92 h 185"/>
                <a:gd name="T36" fmla="*/ 5 w 2126"/>
                <a:gd name="T37" fmla="*/ 64 h 185"/>
                <a:gd name="T38" fmla="*/ 18 w 2126"/>
                <a:gd name="T39" fmla="*/ 38 h 185"/>
                <a:gd name="T40" fmla="*/ 39 w 2126"/>
                <a:gd name="T41" fmla="*/ 17 h 185"/>
                <a:gd name="T42" fmla="*/ 63 w 2126"/>
                <a:gd name="T43" fmla="*/ 4 h 185"/>
                <a:gd name="T44" fmla="*/ 93 w 2126"/>
                <a:gd name="T4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6" h="185">
                  <a:moveTo>
                    <a:pt x="93" y="0"/>
                  </a:moveTo>
                  <a:lnTo>
                    <a:pt x="2033" y="0"/>
                  </a:lnTo>
                  <a:lnTo>
                    <a:pt x="2062" y="4"/>
                  </a:lnTo>
                  <a:lnTo>
                    <a:pt x="2089" y="17"/>
                  </a:lnTo>
                  <a:lnTo>
                    <a:pt x="2107" y="38"/>
                  </a:lnTo>
                  <a:lnTo>
                    <a:pt x="2122" y="64"/>
                  </a:lnTo>
                  <a:lnTo>
                    <a:pt x="2126" y="92"/>
                  </a:lnTo>
                  <a:lnTo>
                    <a:pt x="2122" y="121"/>
                  </a:lnTo>
                  <a:lnTo>
                    <a:pt x="2107" y="147"/>
                  </a:lnTo>
                  <a:lnTo>
                    <a:pt x="2089" y="168"/>
                  </a:lnTo>
                  <a:lnTo>
                    <a:pt x="2062" y="181"/>
                  </a:lnTo>
                  <a:lnTo>
                    <a:pt x="2033" y="185"/>
                  </a:lnTo>
                  <a:lnTo>
                    <a:pt x="93" y="185"/>
                  </a:lnTo>
                  <a:lnTo>
                    <a:pt x="63" y="181"/>
                  </a:lnTo>
                  <a:lnTo>
                    <a:pt x="39" y="168"/>
                  </a:lnTo>
                  <a:lnTo>
                    <a:pt x="18" y="147"/>
                  </a:lnTo>
                  <a:lnTo>
                    <a:pt x="5" y="121"/>
                  </a:lnTo>
                  <a:lnTo>
                    <a:pt x="0" y="92"/>
                  </a:lnTo>
                  <a:lnTo>
                    <a:pt x="5" y="64"/>
                  </a:lnTo>
                  <a:lnTo>
                    <a:pt x="18" y="38"/>
                  </a:lnTo>
                  <a:lnTo>
                    <a:pt x="39" y="17"/>
                  </a:lnTo>
                  <a:lnTo>
                    <a:pt x="63" y="4"/>
                  </a:lnTo>
                  <a:lnTo>
                    <a:pt x="93" y="0"/>
                  </a:lnTo>
                  <a:close/>
                </a:path>
              </a:pathLst>
            </a:custGeom>
            <a:solidFill>
              <a:schemeClr val="accent3">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96" name="Freeform 12"/>
            <p:cNvSpPr>
              <a:spLocks noEditPoints="1"/>
            </p:cNvSpPr>
            <p:nvPr/>
          </p:nvSpPr>
          <p:spPr bwMode="auto">
            <a:xfrm>
              <a:off x="9893301" y="7405688"/>
              <a:ext cx="1660525" cy="901700"/>
            </a:xfrm>
            <a:custGeom>
              <a:avLst/>
              <a:gdLst>
                <a:gd name="T0" fmla="*/ 1293 w 2093"/>
                <a:gd name="T1" fmla="*/ 764 h 1136"/>
                <a:gd name="T2" fmla="*/ 1296 w 2093"/>
                <a:gd name="T3" fmla="*/ 769 h 1136"/>
                <a:gd name="T4" fmla="*/ 1294 w 2093"/>
                <a:gd name="T5" fmla="*/ 762 h 1136"/>
                <a:gd name="T6" fmla="*/ 801 w 2093"/>
                <a:gd name="T7" fmla="*/ 6 h 1136"/>
                <a:gd name="T8" fmla="*/ 896 w 2093"/>
                <a:gd name="T9" fmla="*/ 62 h 1136"/>
                <a:gd name="T10" fmla="*/ 943 w 2093"/>
                <a:gd name="T11" fmla="*/ 153 h 1136"/>
                <a:gd name="T12" fmla="*/ 957 w 2093"/>
                <a:gd name="T13" fmla="*/ 261 h 1136"/>
                <a:gd name="T14" fmla="*/ 952 w 2093"/>
                <a:gd name="T15" fmla="*/ 369 h 1136"/>
                <a:gd name="T16" fmla="*/ 926 w 2093"/>
                <a:gd name="T17" fmla="*/ 693 h 1136"/>
                <a:gd name="T18" fmla="*/ 929 w 2093"/>
                <a:gd name="T19" fmla="*/ 752 h 1136"/>
                <a:gd name="T20" fmla="*/ 963 w 2093"/>
                <a:gd name="T21" fmla="*/ 747 h 1136"/>
                <a:gd name="T22" fmla="*/ 1101 w 2093"/>
                <a:gd name="T23" fmla="*/ 669 h 1136"/>
                <a:gd name="T24" fmla="*/ 1235 w 2093"/>
                <a:gd name="T25" fmla="*/ 607 h 1136"/>
                <a:gd name="T26" fmla="*/ 1365 w 2093"/>
                <a:gd name="T27" fmla="*/ 598 h 1136"/>
                <a:gd name="T28" fmla="*/ 1440 w 2093"/>
                <a:gd name="T29" fmla="*/ 650 h 1136"/>
                <a:gd name="T30" fmla="*/ 1484 w 2093"/>
                <a:gd name="T31" fmla="*/ 739 h 1136"/>
                <a:gd name="T32" fmla="*/ 1514 w 2093"/>
                <a:gd name="T33" fmla="*/ 834 h 1136"/>
                <a:gd name="T34" fmla="*/ 1548 w 2093"/>
                <a:gd name="T35" fmla="*/ 911 h 1136"/>
                <a:gd name="T36" fmla="*/ 1630 w 2093"/>
                <a:gd name="T37" fmla="*/ 944 h 1136"/>
                <a:gd name="T38" fmla="*/ 1758 w 2093"/>
                <a:gd name="T39" fmla="*/ 942 h 1136"/>
                <a:gd name="T40" fmla="*/ 1980 w 2093"/>
                <a:gd name="T41" fmla="*/ 892 h 1136"/>
                <a:gd name="T42" fmla="*/ 2050 w 2093"/>
                <a:gd name="T43" fmla="*/ 900 h 1136"/>
                <a:gd name="T44" fmla="*/ 2089 w 2093"/>
                <a:gd name="T45" fmla="*/ 954 h 1136"/>
                <a:gd name="T46" fmla="*/ 2086 w 2093"/>
                <a:gd name="T47" fmla="*/ 1022 h 1136"/>
                <a:gd name="T48" fmla="*/ 2028 w 2093"/>
                <a:gd name="T49" fmla="*/ 1071 h 1136"/>
                <a:gd name="T50" fmla="*/ 1901 w 2093"/>
                <a:gd name="T51" fmla="*/ 1108 h 1136"/>
                <a:gd name="T52" fmla="*/ 1754 w 2093"/>
                <a:gd name="T53" fmla="*/ 1132 h 1136"/>
                <a:gd name="T54" fmla="*/ 1607 w 2093"/>
                <a:gd name="T55" fmla="*/ 1132 h 1136"/>
                <a:gd name="T56" fmla="*/ 1477 w 2093"/>
                <a:gd name="T57" fmla="*/ 1091 h 1136"/>
                <a:gd name="T58" fmla="*/ 1382 w 2093"/>
                <a:gd name="T59" fmla="*/ 996 h 1136"/>
                <a:gd name="T60" fmla="*/ 1320 w 2093"/>
                <a:gd name="T61" fmla="*/ 834 h 1136"/>
                <a:gd name="T62" fmla="*/ 1298 w 2093"/>
                <a:gd name="T63" fmla="*/ 784 h 1136"/>
                <a:gd name="T64" fmla="*/ 1153 w 2093"/>
                <a:gd name="T65" fmla="*/ 855 h 1136"/>
                <a:gd name="T66" fmla="*/ 1006 w 2093"/>
                <a:gd name="T67" fmla="*/ 931 h 1136"/>
                <a:gd name="T68" fmla="*/ 887 w 2093"/>
                <a:gd name="T69" fmla="*/ 950 h 1136"/>
                <a:gd name="T70" fmla="*/ 788 w 2093"/>
                <a:gd name="T71" fmla="*/ 892 h 1136"/>
                <a:gd name="T72" fmla="*/ 745 w 2093"/>
                <a:gd name="T73" fmla="*/ 797 h 1136"/>
                <a:gd name="T74" fmla="*/ 738 w 2093"/>
                <a:gd name="T75" fmla="*/ 684 h 1136"/>
                <a:gd name="T76" fmla="*/ 745 w 2093"/>
                <a:gd name="T77" fmla="*/ 572 h 1136"/>
                <a:gd name="T78" fmla="*/ 771 w 2093"/>
                <a:gd name="T79" fmla="*/ 315 h 1136"/>
                <a:gd name="T80" fmla="*/ 775 w 2093"/>
                <a:gd name="T81" fmla="*/ 233 h 1136"/>
                <a:gd name="T82" fmla="*/ 766 w 2093"/>
                <a:gd name="T83" fmla="*/ 200 h 1136"/>
                <a:gd name="T84" fmla="*/ 760 w 2093"/>
                <a:gd name="T85" fmla="*/ 190 h 1136"/>
                <a:gd name="T86" fmla="*/ 758 w 2093"/>
                <a:gd name="T87" fmla="*/ 186 h 1136"/>
                <a:gd name="T88" fmla="*/ 728 w 2093"/>
                <a:gd name="T89" fmla="*/ 196 h 1136"/>
                <a:gd name="T90" fmla="*/ 671 w 2093"/>
                <a:gd name="T91" fmla="*/ 257 h 1136"/>
                <a:gd name="T92" fmla="*/ 617 w 2093"/>
                <a:gd name="T93" fmla="*/ 334 h 1136"/>
                <a:gd name="T94" fmla="*/ 296 w 2093"/>
                <a:gd name="T95" fmla="*/ 834 h 1136"/>
                <a:gd name="T96" fmla="*/ 133 w 2093"/>
                <a:gd name="T97" fmla="*/ 1078 h 1136"/>
                <a:gd name="T98" fmla="*/ 60 w 2093"/>
                <a:gd name="T99" fmla="*/ 1076 h 1136"/>
                <a:gd name="T100" fmla="*/ 6 w 2093"/>
                <a:gd name="T101" fmla="*/ 1024 h 1136"/>
                <a:gd name="T102" fmla="*/ 13 w 2093"/>
                <a:gd name="T103" fmla="*/ 946 h 1136"/>
                <a:gd name="T104" fmla="*/ 386 w 2093"/>
                <a:gd name="T105" fmla="*/ 345 h 1136"/>
                <a:gd name="T106" fmla="*/ 535 w 2093"/>
                <a:gd name="T107" fmla="*/ 133 h 1136"/>
                <a:gd name="T108" fmla="*/ 619 w 2093"/>
                <a:gd name="T109" fmla="*/ 49 h 1136"/>
                <a:gd name="T110" fmla="*/ 721 w 2093"/>
                <a:gd name="T111" fmla="*/ 2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93" h="1136">
                  <a:moveTo>
                    <a:pt x="1293" y="762"/>
                  </a:moveTo>
                  <a:lnTo>
                    <a:pt x="1293" y="762"/>
                  </a:lnTo>
                  <a:lnTo>
                    <a:pt x="1293" y="764"/>
                  </a:lnTo>
                  <a:lnTo>
                    <a:pt x="1293" y="766"/>
                  </a:lnTo>
                  <a:lnTo>
                    <a:pt x="1294" y="769"/>
                  </a:lnTo>
                  <a:lnTo>
                    <a:pt x="1296" y="769"/>
                  </a:lnTo>
                  <a:lnTo>
                    <a:pt x="1296" y="769"/>
                  </a:lnTo>
                  <a:lnTo>
                    <a:pt x="1296" y="764"/>
                  </a:lnTo>
                  <a:lnTo>
                    <a:pt x="1294" y="762"/>
                  </a:lnTo>
                  <a:lnTo>
                    <a:pt x="1293" y="762"/>
                  </a:lnTo>
                  <a:close/>
                  <a:moveTo>
                    <a:pt x="760" y="0"/>
                  </a:moveTo>
                  <a:lnTo>
                    <a:pt x="801" y="6"/>
                  </a:lnTo>
                  <a:lnTo>
                    <a:pt x="840" y="19"/>
                  </a:lnTo>
                  <a:lnTo>
                    <a:pt x="870" y="38"/>
                  </a:lnTo>
                  <a:lnTo>
                    <a:pt x="896" y="62"/>
                  </a:lnTo>
                  <a:lnTo>
                    <a:pt x="916" y="90"/>
                  </a:lnTo>
                  <a:lnTo>
                    <a:pt x="931" y="119"/>
                  </a:lnTo>
                  <a:lnTo>
                    <a:pt x="943" y="153"/>
                  </a:lnTo>
                  <a:lnTo>
                    <a:pt x="950" y="188"/>
                  </a:lnTo>
                  <a:lnTo>
                    <a:pt x="956" y="224"/>
                  </a:lnTo>
                  <a:lnTo>
                    <a:pt x="957" y="261"/>
                  </a:lnTo>
                  <a:lnTo>
                    <a:pt x="956" y="298"/>
                  </a:lnTo>
                  <a:lnTo>
                    <a:pt x="954" y="334"/>
                  </a:lnTo>
                  <a:lnTo>
                    <a:pt x="952" y="369"/>
                  </a:lnTo>
                  <a:lnTo>
                    <a:pt x="941" y="475"/>
                  </a:lnTo>
                  <a:lnTo>
                    <a:pt x="931" y="583"/>
                  </a:lnTo>
                  <a:lnTo>
                    <a:pt x="926" y="693"/>
                  </a:lnTo>
                  <a:lnTo>
                    <a:pt x="926" y="712"/>
                  </a:lnTo>
                  <a:lnTo>
                    <a:pt x="929" y="732"/>
                  </a:lnTo>
                  <a:lnTo>
                    <a:pt x="929" y="752"/>
                  </a:lnTo>
                  <a:lnTo>
                    <a:pt x="929" y="764"/>
                  </a:lnTo>
                  <a:lnTo>
                    <a:pt x="937" y="760"/>
                  </a:lnTo>
                  <a:lnTo>
                    <a:pt x="963" y="747"/>
                  </a:lnTo>
                  <a:lnTo>
                    <a:pt x="987" y="734"/>
                  </a:lnTo>
                  <a:lnTo>
                    <a:pt x="1045" y="700"/>
                  </a:lnTo>
                  <a:lnTo>
                    <a:pt x="1101" y="669"/>
                  </a:lnTo>
                  <a:lnTo>
                    <a:pt x="1144" y="646"/>
                  </a:lnTo>
                  <a:lnTo>
                    <a:pt x="1188" y="624"/>
                  </a:lnTo>
                  <a:lnTo>
                    <a:pt x="1235" y="607"/>
                  </a:lnTo>
                  <a:lnTo>
                    <a:pt x="1283" y="594"/>
                  </a:lnTo>
                  <a:lnTo>
                    <a:pt x="1330" y="592"/>
                  </a:lnTo>
                  <a:lnTo>
                    <a:pt x="1365" y="598"/>
                  </a:lnTo>
                  <a:lnTo>
                    <a:pt x="1393" y="609"/>
                  </a:lnTo>
                  <a:lnTo>
                    <a:pt x="1419" y="628"/>
                  </a:lnTo>
                  <a:lnTo>
                    <a:pt x="1440" y="650"/>
                  </a:lnTo>
                  <a:lnTo>
                    <a:pt x="1456" y="678"/>
                  </a:lnTo>
                  <a:lnTo>
                    <a:pt x="1471" y="708"/>
                  </a:lnTo>
                  <a:lnTo>
                    <a:pt x="1484" y="739"/>
                  </a:lnTo>
                  <a:lnTo>
                    <a:pt x="1495" y="771"/>
                  </a:lnTo>
                  <a:lnTo>
                    <a:pt x="1505" y="803"/>
                  </a:lnTo>
                  <a:lnTo>
                    <a:pt x="1514" y="834"/>
                  </a:lnTo>
                  <a:lnTo>
                    <a:pt x="1523" y="862"/>
                  </a:lnTo>
                  <a:lnTo>
                    <a:pt x="1535" y="890"/>
                  </a:lnTo>
                  <a:lnTo>
                    <a:pt x="1548" y="911"/>
                  </a:lnTo>
                  <a:lnTo>
                    <a:pt x="1564" y="926"/>
                  </a:lnTo>
                  <a:lnTo>
                    <a:pt x="1589" y="937"/>
                  </a:lnTo>
                  <a:lnTo>
                    <a:pt x="1630" y="944"/>
                  </a:lnTo>
                  <a:lnTo>
                    <a:pt x="1672" y="948"/>
                  </a:lnTo>
                  <a:lnTo>
                    <a:pt x="1715" y="946"/>
                  </a:lnTo>
                  <a:lnTo>
                    <a:pt x="1758" y="942"/>
                  </a:lnTo>
                  <a:lnTo>
                    <a:pt x="1832" y="931"/>
                  </a:lnTo>
                  <a:lnTo>
                    <a:pt x="1907" y="914"/>
                  </a:lnTo>
                  <a:lnTo>
                    <a:pt x="1980" y="892"/>
                  </a:lnTo>
                  <a:lnTo>
                    <a:pt x="2007" y="888"/>
                  </a:lnTo>
                  <a:lnTo>
                    <a:pt x="2030" y="890"/>
                  </a:lnTo>
                  <a:lnTo>
                    <a:pt x="2050" y="900"/>
                  </a:lnTo>
                  <a:lnTo>
                    <a:pt x="2069" y="914"/>
                  </a:lnTo>
                  <a:lnTo>
                    <a:pt x="2080" y="933"/>
                  </a:lnTo>
                  <a:lnTo>
                    <a:pt x="2089" y="954"/>
                  </a:lnTo>
                  <a:lnTo>
                    <a:pt x="2093" y="978"/>
                  </a:lnTo>
                  <a:lnTo>
                    <a:pt x="2091" y="1000"/>
                  </a:lnTo>
                  <a:lnTo>
                    <a:pt x="2086" y="1022"/>
                  </a:lnTo>
                  <a:lnTo>
                    <a:pt x="2073" y="1043"/>
                  </a:lnTo>
                  <a:lnTo>
                    <a:pt x="2054" y="1060"/>
                  </a:lnTo>
                  <a:lnTo>
                    <a:pt x="2028" y="1071"/>
                  </a:lnTo>
                  <a:lnTo>
                    <a:pt x="1989" y="1084"/>
                  </a:lnTo>
                  <a:lnTo>
                    <a:pt x="1946" y="1095"/>
                  </a:lnTo>
                  <a:lnTo>
                    <a:pt x="1901" y="1108"/>
                  </a:lnTo>
                  <a:lnTo>
                    <a:pt x="1853" y="1117"/>
                  </a:lnTo>
                  <a:lnTo>
                    <a:pt x="1805" y="1127"/>
                  </a:lnTo>
                  <a:lnTo>
                    <a:pt x="1754" y="1132"/>
                  </a:lnTo>
                  <a:lnTo>
                    <a:pt x="1706" y="1136"/>
                  </a:lnTo>
                  <a:lnTo>
                    <a:pt x="1656" y="1136"/>
                  </a:lnTo>
                  <a:lnTo>
                    <a:pt x="1607" y="1132"/>
                  </a:lnTo>
                  <a:lnTo>
                    <a:pt x="1561" y="1123"/>
                  </a:lnTo>
                  <a:lnTo>
                    <a:pt x="1518" y="1110"/>
                  </a:lnTo>
                  <a:lnTo>
                    <a:pt x="1477" y="1091"/>
                  </a:lnTo>
                  <a:lnTo>
                    <a:pt x="1440" y="1067"/>
                  </a:lnTo>
                  <a:lnTo>
                    <a:pt x="1408" y="1035"/>
                  </a:lnTo>
                  <a:lnTo>
                    <a:pt x="1382" y="996"/>
                  </a:lnTo>
                  <a:lnTo>
                    <a:pt x="1358" y="944"/>
                  </a:lnTo>
                  <a:lnTo>
                    <a:pt x="1337" y="890"/>
                  </a:lnTo>
                  <a:lnTo>
                    <a:pt x="1320" y="834"/>
                  </a:lnTo>
                  <a:lnTo>
                    <a:pt x="1315" y="820"/>
                  </a:lnTo>
                  <a:lnTo>
                    <a:pt x="1306" y="801"/>
                  </a:lnTo>
                  <a:lnTo>
                    <a:pt x="1298" y="784"/>
                  </a:lnTo>
                  <a:lnTo>
                    <a:pt x="1298" y="782"/>
                  </a:lnTo>
                  <a:lnTo>
                    <a:pt x="1226" y="816"/>
                  </a:lnTo>
                  <a:lnTo>
                    <a:pt x="1153" y="855"/>
                  </a:lnTo>
                  <a:lnTo>
                    <a:pt x="1080" y="894"/>
                  </a:lnTo>
                  <a:lnTo>
                    <a:pt x="1045" y="913"/>
                  </a:lnTo>
                  <a:lnTo>
                    <a:pt x="1006" y="931"/>
                  </a:lnTo>
                  <a:lnTo>
                    <a:pt x="967" y="944"/>
                  </a:lnTo>
                  <a:lnTo>
                    <a:pt x="928" y="952"/>
                  </a:lnTo>
                  <a:lnTo>
                    <a:pt x="887" y="950"/>
                  </a:lnTo>
                  <a:lnTo>
                    <a:pt x="848" y="937"/>
                  </a:lnTo>
                  <a:lnTo>
                    <a:pt x="814" y="916"/>
                  </a:lnTo>
                  <a:lnTo>
                    <a:pt x="788" y="892"/>
                  </a:lnTo>
                  <a:lnTo>
                    <a:pt x="769" y="862"/>
                  </a:lnTo>
                  <a:lnTo>
                    <a:pt x="754" y="831"/>
                  </a:lnTo>
                  <a:lnTo>
                    <a:pt x="745" y="797"/>
                  </a:lnTo>
                  <a:lnTo>
                    <a:pt x="740" y="760"/>
                  </a:lnTo>
                  <a:lnTo>
                    <a:pt x="738" y="721"/>
                  </a:lnTo>
                  <a:lnTo>
                    <a:pt x="738" y="684"/>
                  </a:lnTo>
                  <a:lnTo>
                    <a:pt x="740" y="645"/>
                  </a:lnTo>
                  <a:lnTo>
                    <a:pt x="743" y="607"/>
                  </a:lnTo>
                  <a:lnTo>
                    <a:pt x="745" y="572"/>
                  </a:lnTo>
                  <a:lnTo>
                    <a:pt x="749" y="538"/>
                  </a:lnTo>
                  <a:lnTo>
                    <a:pt x="760" y="427"/>
                  </a:lnTo>
                  <a:lnTo>
                    <a:pt x="771" y="315"/>
                  </a:lnTo>
                  <a:lnTo>
                    <a:pt x="773" y="289"/>
                  </a:lnTo>
                  <a:lnTo>
                    <a:pt x="775" y="261"/>
                  </a:lnTo>
                  <a:lnTo>
                    <a:pt x="775" y="233"/>
                  </a:lnTo>
                  <a:lnTo>
                    <a:pt x="769" y="207"/>
                  </a:lnTo>
                  <a:lnTo>
                    <a:pt x="767" y="203"/>
                  </a:lnTo>
                  <a:lnTo>
                    <a:pt x="766" y="200"/>
                  </a:lnTo>
                  <a:lnTo>
                    <a:pt x="764" y="198"/>
                  </a:lnTo>
                  <a:lnTo>
                    <a:pt x="762" y="194"/>
                  </a:lnTo>
                  <a:lnTo>
                    <a:pt x="760" y="190"/>
                  </a:lnTo>
                  <a:lnTo>
                    <a:pt x="758" y="188"/>
                  </a:lnTo>
                  <a:lnTo>
                    <a:pt x="758" y="186"/>
                  </a:lnTo>
                  <a:lnTo>
                    <a:pt x="758" y="186"/>
                  </a:lnTo>
                  <a:lnTo>
                    <a:pt x="753" y="185"/>
                  </a:lnTo>
                  <a:lnTo>
                    <a:pt x="741" y="186"/>
                  </a:lnTo>
                  <a:lnTo>
                    <a:pt x="728" y="196"/>
                  </a:lnTo>
                  <a:lnTo>
                    <a:pt x="706" y="214"/>
                  </a:lnTo>
                  <a:lnTo>
                    <a:pt x="686" y="239"/>
                  </a:lnTo>
                  <a:lnTo>
                    <a:pt x="671" y="257"/>
                  </a:lnTo>
                  <a:lnTo>
                    <a:pt x="654" y="281"/>
                  </a:lnTo>
                  <a:lnTo>
                    <a:pt x="635" y="308"/>
                  </a:lnTo>
                  <a:lnTo>
                    <a:pt x="617" y="334"/>
                  </a:lnTo>
                  <a:lnTo>
                    <a:pt x="518" y="481"/>
                  </a:lnTo>
                  <a:lnTo>
                    <a:pt x="423" y="630"/>
                  </a:lnTo>
                  <a:lnTo>
                    <a:pt x="296" y="834"/>
                  </a:lnTo>
                  <a:lnTo>
                    <a:pt x="174" y="1039"/>
                  </a:lnTo>
                  <a:lnTo>
                    <a:pt x="155" y="1063"/>
                  </a:lnTo>
                  <a:lnTo>
                    <a:pt x="133" y="1078"/>
                  </a:lnTo>
                  <a:lnTo>
                    <a:pt x="108" y="1084"/>
                  </a:lnTo>
                  <a:lnTo>
                    <a:pt x="84" y="1084"/>
                  </a:lnTo>
                  <a:lnTo>
                    <a:pt x="60" y="1076"/>
                  </a:lnTo>
                  <a:lnTo>
                    <a:pt x="38" y="1063"/>
                  </a:lnTo>
                  <a:lnTo>
                    <a:pt x="19" y="1047"/>
                  </a:lnTo>
                  <a:lnTo>
                    <a:pt x="6" y="1024"/>
                  </a:lnTo>
                  <a:lnTo>
                    <a:pt x="0" y="1000"/>
                  </a:lnTo>
                  <a:lnTo>
                    <a:pt x="2" y="974"/>
                  </a:lnTo>
                  <a:lnTo>
                    <a:pt x="13" y="946"/>
                  </a:lnTo>
                  <a:lnTo>
                    <a:pt x="166" y="691"/>
                  </a:lnTo>
                  <a:lnTo>
                    <a:pt x="324" y="438"/>
                  </a:lnTo>
                  <a:lnTo>
                    <a:pt x="386" y="345"/>
                  </a:lnTo>
                  <a:lnTo>
                    <a:pt x="447" y="254"/>
                  </a:lnTo>
                  <a:lnTo>
                    <a:pt x="511" y="162"/>
                  </a:lnTo>
                  <a:lnTo>
                    <a:pt x="535" y="133"/>
                  </a:lnTo>
                  <a:lnTo>
                    <a:pt x="561" y="103"/>
                  </a:lnTo>
                  <a:lnTo>
                    <a:pt x="589" y="75"/>
                  </a:lnTo>
                  <a:lnTo>
                    <a:pt x="619" y="49"/>
                  </a:lnTo>
                  <a:lnTo>
                    <a:pt x="650" y="28"/>
                  </a:lnTo>
                  <a:lnTo>
                    <a:pt x="686" y="11"/>
                  </a:lnTo>
                  <a:lnTo>
                    <a:pt x="721" y="2"/>
                  </a:lnTo>
                  <a:lnTo>
                    <a:pt x="760" y="0"/>
                  </a:lnTo>
                  <a:close/>
                </a:path>
              </a:pathLst>
            </a:custGeom>
            <a:solidFill>
              <a:schemeClr val="accent3"/>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97" name="Freeform 13"/>
            <p:cNvSpPr>
              <a:spLocks/>
            </p:cNvSpPr>
            <p:nvPr/>
          </p:nvSpPr>
          <p:spPr bwMode="auto">
            <a:xfrm>
              <a:off x="11952288" y="4506913"/>
              <a:ext cx="1484313" cy="3086100"/>
            </a:xfrm>
            <a:custGeom>
              <a:avLst/>
              <a:gdLst>
                <a:gd name="T0" fmla="*/ 1303 w 1869"/>
                <a:gd name="T1" fmla="*/ 0 h 3890"/>
                <a:gd name="T2" fmla="*/ 1869 w 1869"/>
                <a:gd name="T3" fmla="*/ 200 h 3890"/>
                <a:gd name="T4" fmla="*/ 566 w 1869"/>
                <a:gd name="T5" fmla="*/ 3890 h 3890"/>
                <a:gd name="T6" fmla="*/ 0 w 1869"/>
                <a:gd name="T7" fmla="*/ 3691 h 3890"/>
                <a:gd name="T8" fmla="*/ 1303 w 1869"/>
                <a:gd name="T9" fmla="*/ 0 h 3890"/>
              </a:gdLst>
              <a:ahLst/>
              <a:cxnLst>
                <a:cxn ang="0">
                  <a:pos x="T0" y="T1"/>
                </a:cxn>
                <a:cxn ang="0">
                  <a:pos x="T2" y="T3"/>
                </a:cxn>
                <a:cxn ang="0">
                  <a:pos x="T4" y="T5"/>
                </a:cxn>
                <a:cxn ang="0">
                  <a:pos x="T6" y="T7"/>
                </a:cxn>
                <a:cxn ang="0">
                  <a:pos x="T8" y="T9"/>
                </a:cxn>
              </a:cxnLst>
              <a:rect l="0" t="0" r="r" b="b"/>
              <a:pathLst>
                <a:path w="1869" h="3890">
                  <a:moveTo>
                    <a:pt x="1303" y="0"/>
                  </a:moveTo>
                  <a:lnTo>
                    <a:pt x="1869" y="200"/>
                  </a:lnTo>
                  <a:lnTo>
                    <a:pt x="566" y="3890"/>
                  </a:lnTo>
                  <a:lnTo>
                    <a:pt x="0" y="3691"/>
                  </a:lnTo>
                  <a:lnTo>
                    <a:pt x="1303" y="0"/>
                  </a:lnTo>
                  <a:close/>
                </a:path>
              </a:pathLst>
            </a:custGeom>
            <a:solidFill>
              <a:schemeClr val="accent5"/>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98" name="Freeform 14"/>
            <p:cNvSpPr>
              <a:spLocks/>
            </p:cNvSpPr>
            <p:nvPr/>
          </p:nvSpPr>
          <p:spPr bwMode="auto">
            <a:xfrm>
              <a:off x="12855576" y="4273550"/>
              <a:ext cx="769938" cy="1739900"/>
            </a:xfrm>
            <a:custGeom>
              <a:avLst/>
              <a:gdLst>
                <a:gd name="T0" fmla="*/ 205 w 970"/>
                <a:gd name="T1" fmla="*/ 0 h 2193"/>
                <a:gd name="T2" fmla="*/ 248 w 970"/>
                <a:gd name="T3" fmla="*/ 11 h 2193"/>
                <a:gd name="T4" fmla="*/ 846 w 970"/>
                <a:gd name="T5" fmla="*/ 222 h 2193"/>
                <a:gd name="T6" fmla="*/ 885 w 970"/>
                <a:gd name="T7" fmla="*/ 240 h 2193"/>
                <a:gd name="T8" fmla="*/ 916 w 970"/>
                <a:gd name="T9" fmla="*/ 266 h 2193"/>
                <a:gd name="T10" fmla="*/ 942 w 970"/>
                <a:gd name="T11" fmla="*/ 300 h 2193"/>
                <a:gd name="T12" fmla="*/ 961 w 970"/>
                <a:gd name="T13" fmla="*/ 335 h 2193"/>
                <a:gd name="T14" fmla="*/ 970 w 970"/>
                <a:gd name="T15" fmla="*/ 376 h 2193"/>
                <a:gd name="T16" fmla="*/ 970 w 970"/>
                <a:gd name="T17" fmla="*/ 417 h 2193"/>
                <a:gd name="T18" fmla="*/ 959 w 970"/>
                <a:gd name="T19" fmla="*/ 460 h 2193"/>
                <a:gd name="T20" fmla="*/ 391 w 970"/>
                <a:gd name="T21" fmla="*/ 2071 h 2193"/>
                <a:gd name="T22" fmla="*/ 373 w 970"/>
                <a:gd name="T23" fmla="*/ 2110 h 2193"/>
                <a:gd name="T24" fmla="*/ 347 w 970"/>
                <a:gd name="T25" fmla="*/ 2141 h 2193"/>
                <a:gd name="T26" fmla="*/ 315 w 970"/>
                <a:gd name="T27" fmla="*/ 2167 h 2193"/>
                <a:gd name="T28" fmla="*/ 278 w 970"/>
                <a:gd name="T29" fmla="*/ 2184 h 2193"/>
                <a:gd name="T30" fmla="*/ 237 w 970"/>
                <a:gd name="T31" fmla="*/ 2193 h 2193"/>
                <a:gd name="T32" fmla="*/ 196 w 970"/>
                <a:gd name="T33" fmla="*/ 2193 h 2193"/>
                <a:gd name="T34" fmla="*/ 153 w 970"/>
                <a:gd name="T35" fmla="*/ 2184 h 2193"/>
                <a:gd name="T36" fmla="*/ 114 w 970"/>
                <a:gd name="T37" fmla="*/ 2166 h 2193"/>
                <a:gd name="T38" fmla="*/ 82 w 970"/>
                <a:gd name="T39" fmla="*/ 2139 h 2193"/>
                <a:gd name="T40" fmla="*/ 56 w 970"/>
                <a:gd name="T41" fmla="*/ 2106 h 2193"/>
                <a:gd name="T42" fmla="*/ 39 w 970"/>
                <a:gd name="T43" fmla="*/ 2071 h 2193"/>
                <a:gd name="T44" fmla="*/ 30 w 970"/>
                <a:gd name="T45" fmla="*/ 2030 h 2193"/>
                <a:gd name="T46" fmla="*/ 30 w 970"/>
                <a:gd name="T47" fmla="*/ 1989 h 2193"/>
                <a:gd name="T48" fmla="*/ 39 w 970"/>
                <a:gd name="T49" fmla="*/ 1946 h 2193"/>
                <a:gd name="T50" fmla="*/ 546 w 970"/>
                <a:gd name="T51" fmla="*/ 512 h 2193"/>
                <a:gd name="T52" fmla="*/ 123 w 970"/>
                <a:gd name="T53" fmla="*/ 363 h 2193"/>
                <a:gd name="T54" fmla="*/ 84 w 970"/>
                <a:gd name="T55" fmla="*/ 345 h 2193"/>
                <a:gd name="T56" fmla="*/ 53 w 970"/>
                <a:gd name="T57" fmla="*/ 319 h 2193"/>
                <a:gd name="T58" fmla="*/ 26 w 970"/>
                <a:gd name="T59" fmla="*/ 285 h 2193"/>
                <a:gd name="T60" fmla="*/ 10 w 970"/>
                <a:gd name="T61" fmla="*/ 248 h 2193"/>
                <a:gd name="T62" fmla="*/ 0 w 970"/>
                <a:gd name="T63" fmla="*/ 209 h 2193"/>
                <a:gd name="T64" fmla="*/ 0 w 970"/>
                <a:gd name="T65" fmla="*/ 166 h 2193"/>
                <a:gd name="T66" fmla="*/ 10 w 970"/>
                <a:gd name="T67" fmla="*/ 125 h 2193"/>
                <a:gd name="T68" fmla="*/ 28 w 970"/>
                <a:gd name="T69" fmla="*/ 86 h 2193"/>
                <a:gd name="T70" fmla="*/ 54 w 970"/>
                <a:gd name="T71" fmla="*/ 54 h 2193"/>
                <a:gd name="T72" fmla="*/ 86 w 970"/>
                <a:gd name="T73" fmla="*/ 28 h 2193"/>
                <a:gd name="T74" fmla="*/ 123 w 970"/>
                <a:gd name="T75" fmla="*/ 10 h 2193"/>
                <a:gd name="T76" fmla="*/ 164 w 970"/>
                <a:gd name="T77" fmla="*/ 0 h 2193"/>
                <a:gd name="T78" fmla="*/ 205 w 970"/>
                <a:gd name="T79" fmla="*/ 0 h 2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0" h="2193">
                  <a:moveTo>
                    <a:pt x="205" y="0"/>
                  </a:moveTo>
                  <a:lnTo>
                    <a:pt x="248" y="11"/>
                  </a:lnTo>
                  <a:lnTo>
                    <a:pt x="846" y="222"/>
                  </a:lnTo>
                  <a:lnTo>
                    <a:pt x="885" y="240"/>
                  </a:lnTo>
                  <a:lnTo>
                    <a:pt x="916" y="266"/>
                  </a:lnTo>
                  <a:lnTo>
                    <a:pt x="942" y="300"/>
                  </a:lnTo>
                  <a:lnTo>
                    <a:pt x="961" y="335"/>
                  </a:lnTo>
                  <a:lnTo>
                    <a:pt x="970" y="376"/>
                  </a:lnTo>
                  <a:lnTo>
                    <a:pt x="970" y="417"/>
                  </a:lnTo>
                  <a:lnTo>
                    <a:pt x="959" y="460"/>
                  </a:lnTo>
                  <a:lnTo>
                    <a:pt x="391" y="2071"/>
                  </a:lnTo>
                  <a:lnTo>
                    <a:pt x="373" y="2110"/>
                  </a:lnTo>
                  <a:lnTo>
                    <a:pt x="347" y="2141"/>
                  </a:lnTo>
                  <a:lnTo>
                    <a:pt x="315" y="2167"/>
                  </a:lnTo>
                  <a:lnTo>
                    <a:pt x="278" y="2184"/>
                  </a:lnTo>
                  <a:lnTo>
                    <a:pt x="237" y="2193"/>
                  </a:lnTo>
                  <a:lnTo>
                    <a:pt x="196" y="2193"/>
                  </a:lnTo>
                  <a:lnTo>
                    <a:pt x="153" y="2184"/>
                  </a:lnTo>
                  <a:lnTo>
                    <a:pt x="114" y="2166"/>
                  </a:lnTo>
                  <a:lnTo>
                    <a:pt x="82" y="2139"/>
                  </a:lnTo>
                  <a:lnTo>
                    <a:pt x="56" y="2106"/>
                  </a:lnTo>
                  <a:lnTo>
                    <a:pt x="39" y="2071"/>
                  </a:lnTo>
                  <a:lnTo>
                    <a:pt x="30" y="2030"/>
                  </a:lnTo>
                  <a:lnTo>
                    <a:pt x="30" y="1989"/>
                  </a:lnTo>
                  <a:lnTo>
                    <a:pt x="39" y="1946"/>
                  </a:lnTo>
                  <a:lnTo>
                    <a:pt x="546" y="512"/>
                  </a:lnTo>
                  <a:lnTo>
                    <a:pt x="123" y="363"/>
                  </a:lnTo>
                  <a:lnTo>
                    <a:pt x="84" y="345"/>
                  </a:lnTo>
                  <a:lnTo>
                    <a:pt x="53" y="319"/>
                  </a:lnTo>
                  <a:lnTo>
                    <a:pt x="26" y="285"/>
                  </a:lnTo>
                  <a:lnTo>
                    <a:pt x="10" y="248"/>
                  </a:lnTo>
                  <a:lnTo>
                    <a:pt x="0" y="209"/>
                  </a:lnTo>
                  <a:lnTo>
                    <a:pt x="0" y="166"/>
                  </a:lnTo>
                  <a:lnTo>
                    <a:pt x="10" y="125"/>
                  </a:lnTo>
                  <a:lnTo>
                    <a:pt x="28" y="86"/>
                  </a:lnTo>
                  <a:lnTo>
                    <a:pt x="54" y="54"/>
                  </a:lnTo>
                  <a:lnTo>
                    <a:pt x="86" y="28"/>
                  </a:lnTo>
                  <a:lnTo>
                    <a:pt x="123" y="10"/>
                  </a:lnTo>
                  <a:lnTo>
                    <a:pt x="164" y="0"/>
                  </a:lnTo>
                  <a:lnTo>
                    <a:pt x="205" y="0"/>
                  </a:lnTo>
                  <a:close/>
                </a:path>
              </a:pathLst>
            </a:custGeom>
            <a:solidFill>
              <a:srgbClr val="FFBA47"/>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99" name="Freeform 15"/>
            <p:cNvSpPr>
              <a:spLocks/>
            </p:cNvSpPr>
            <p:nvPr/>
          </p:nvSpPr>
          <p:spPr bwMode="auto">
            <a:xfrm>
              <a:off x="11869738" y="7685088"/>
              <a:ext cx="295275" cy="566738"/>
            </a:xfrm>
            <a:custGeom>
              <a:avLst/>
              <a:gdLst>
                <a:gd name="T0" fmla="*/ 281 w 372"/>
                <a:gd name="T1" fmla="*/ 0 h 713"/>
                <a:gd name="T2" fmla="*/ 310 w 372"/>
                <a:gd name="T3" fmla="*/ 6 h 713"/>
                <a:gd name="T4" fmla="*/ 337 w 372"/>
                <a:gd name="T5" fmla="*/ 19 h 713"/>
                <a:gd name="T6" fmla="*/ 355 w 372"/>
                <a:gd name="T7" fmla="*/ 41 h 713"/>
                <a:gd name="T8" fmla="*/ 368 w 372"/>
                <a:gd name="T9" fmla="*/ 65 h 713"/>
                <a:gd name="T10" fmla="*/ 372 w 372"/>
                <a:gd name="T11" fmla="*/ 95 h 713"/>
                <a:gd name="T12" fmla="*/ 366 w 372"/>
                <a:gd name="T13" fmla="*/ 123 h 713"/>
                <a:gd name="T14" fmla="*/ 180 w 372"/>
                <a:gd name="T15" fmla="*/ 652 h 713"/>
                <a:gd name="T16" fmla="*/ 165 w 372"/>
                <a:gd name="T17" fmla="*/ 676 h 713"/>
                <a:gd name="T18" fmla="*/ 145 w 372"/>
                <a:gd name="T19" fmla="*/ 697 h 713"/>
                <a:gd name="T20" fmla="*/ 121 w 372"/>
                <a:gd name="T21" fmla="*/ 708 h 713"/>
                <a:gd name="T22" fmla="*/ 93 w 372"/>
                <a:gd name="T23" fmla="*/ 713 h 713"/>
                <a:gd name="T24" fmla="*/ 61 w 372"/>
                <a:gd name="T25" fmla="*/ 708 h 713"/>
                <a:gd name="T26" fmla="*/ 35 w 372"/>
                <a:gd name="T27" fmla="*/ 693 h 713"/>
                <a:gd name="T28" fmla="*/ 16 w 372"/>
                <a:gd name="T29" fmla="*/ 672 h 713"/>
                <a:gd name="T30" fmla="*/ 3 w 372"/>
                <a:gd name="T31" fmla="*/ 646 h 713"/>
                <a:gd name="T32" fmla="*/ 0 w 372"/>
                <a:gd name="T33" fmla="*/ 618 h 713"/>
                <a:gd name="T34" fmla="*/ 5 w 372"/>
                <a:gd name="T35" fmla="*/ 589 h 713"/>
                <a:gd name="T36" fmla="*/ 191 w 372"/>
                <a:gd name="T37" fmla="*/ 62 h 713"/>
                <a:gd name="T38" fmla="*/ 206 w 372"/>
                <a:gd name="T39" fmla="*/ 36 h 713"/>
                <a:gd name="T40" fmla="*/ 227 w 372"/>
                <a:gd name="T41" fmla="*/ 17 h 713"/>
                <a:gd name="T42" fmla="*/ 253 w 372"/>
                <a:gd name="T43" fmla="*/ 4 h 713"/>
                <a:gd name="T44" fmla="*/ 281 w 372"/>
                <a:gd name="T45"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2" h="713">
                  <a:moveTo>
                    <a:pt x="281" y="0"/>
                  </a:moveTo>
                  <a:lnTo>
                    <a:pt x="310" y="6"/>
                  </a:lnTo>
                  <a:lnTo>
                    <a:pt x="337" y="19"/>
                  </a:lnTo>
                  <a:lnTo>
                    <a:pt x="355" y="41"/>
                  </a:lnTo>
                  <a:lnTo>
                    <a:pt x="368" y="65"/>
                  </a:lnTo>
                  <a:lnTo>
                    <a:pt x="372" y="95"/>
                  </a:lnTo>
                  <a:lnTo>
                    <a:pt x="366" y="123"/>
                  </a:lnTo>
                  <a:lnTo>
                    <a:pt x="180" y="652"/>
                  </a:lnTo>
                  <a:lnTo>
                    <a:pt x="165" y="676"/>
                  </a:lnTo>
                  <a:lnTo>
                    <a:pt x="145" y="697"/>
                  </a:lnTo>
                  <a:lnTo>
                    <a:pt x="121" y="708"/>
                  </a:lnTo>
                  <a:lnTo>
                    <a:pt x="93" y="713"/>
                  </a:lnTo>
                  <a:lnTo>
                    <a:pt x="61" y="708"/>
                  </a:lnTo>
                  <a:lnTo>
                    <a:pt x="35" y="693"/>
                  </a:lnTo>
                  <a:lnTo>
                    <a:pt x="16" y="672"/>
                  </a:lnTo>
                  <a:lnTo>
                    <a:pt x="3" y="646"/>
                  </a:lnTo>
                  <a:lnTo>
                    <a:pt x="0" y="618"/>
                  </a:lnTo>
                  <a:lnTo>
                    <a:pt x="5" y="589"/>
                  </a:lnTo>
                  <a:lnTo>
                    <a:pt x="191" y="62"/>
                  </a:lnTo>
                  <a:lnTo>
                    <a:pt x="206" y="36"/>
                  </a:lnTo>
                  <a:lnTo>
                    <a:pt x="227" y="17"/>
                  </a:lnTo>
                  <a:lnTo>
                    <a:pt x="253" y="4"/>
                  </a:lnTo>
                  <a:lnTo>
                    <a:pt x="281" y="0"/>
                  </a:lnTo>
                  <a:close/>
                </a:path>
              </a:pathLst>
            </a:custGeom>
            <a:solidFill>
              <a:srgbClr val="91A8DD"/>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00" name="Freeform 16"/>
            <p:cNvSpPr>
              <a:spLocks/>
            </p:cNvSpPr>
            <p:nvPr/>
          </p:nvSpPr>
          <p:spPr bwMode="auto">
            <a:xfrm>
              <a:off x="11899901" y="7435850"/>
              <a:ext cx="501650" cy="569913"/>
            </a:xfrm>
            <a:custGeom>
              <a:avLst/>
              <a:gdLst>
                <a:gd name="T0" fmla="*/ 67 w 633"/>
                <a:gd name="T1" fmla="*/ 0 h 718"/>
                <a:gd name="T2" fmla="*/ 633 w 633"/>
                <a:gd name="T3" fmla="*/ 199 h 718"/>
                <a:gd name="T4" fmla="*/ 301 w 633"/>
                <a:gd name="T5" fmla="*/ 718 h 718"/>
                <a:gd name="T6" fmla="*/ 0 w 633"/>
                <a:gd name="T7" fmla="*/ 610 h 718"/>
                <a:gd name="T8" fmla="*/ 67 w 633"/>
                <a:gd name="T9" fmla="*/ 0 h 718"/>
              </a:gdLst>
              <a:ahLst/>
              <a:cxnLst>
                <a:cxn ang="0">
                  <a:pos x="T0" y="T1"/>
                </a:cxn>
                <a:cxn ang="0">
                  <a:pos x="T2" y="T3"/>
                </a:cxn>
                <a:cxn ang="0">
                  <a:pos x="T4" y="T5"/>
                </a:cxn>
                <a:cxn ang="0">
                  <a:pos x="T6" y="T7"/>
                </a:cxn>
                <a:cxn ang="0">
                  <a:pos x="T8" y="T9"/>
                </a:cxn>
              </a:cxnLst>
              <a:rect l="0" t="0" r="r" b="b"/>
              <a:pathLst>
                <a:path w="633" h="718">
                  <a:moveTo>
                    <a:pt x="67" y="0"/>
                  </a:moveTo>
                  <a:lnTo>
                    <a:pt x="633" y="199"/>
                  </a:lnTo>
                  <a:lnTo>
                    <a:pt x="301" y="718"/>
                  </a:lnTo>
                  <a:lnTo>
                    <a:pt x="0" y="610"/>
                  </a:lnTo>
                  <a:lnTo>
                    <a:pt x="67" y="0"/>
                  </a:lnTo>
                  <a:close/>
                </a:path>
              </a:pathLst>
            </a:custGeom>
            <a:solidFill>
              <a:srgbClr val="FFBA47"/>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01" name="Freeform 17"/>
            <p:cNvSpPr>
              <a:spLocks/>
            </p:cNvSpPr>
            <p:nvPr/>
          </p:nvSpPr>
          <p:spPr bwMode="auto">
            <a:xfrm>
              <a:off x="13136563" y="3965575"/>
              <a:ext cx="398463" cy="454025"/>
            </a:xfrm>
            <a:custGeom>
              <a:avLst/>
              <a:gdLst>
                <a:gd name="T0" fmla="*/ 285 w 503"/>
                <a:gd name="T1" fmla="*/ 0 h 572"/>
                <a:gd name="T2" fmla="*/ 326 w 503"/>
                <a:gd name="T3" fmla="*/ 2 h 572"/>
                <a:gd name="T4" fmla="*/ 367 w 503"/>
                <a:gd name="T5" fmla="*/ 11 h 572"/>
                <a:gd name="T6" fmla="*/ 404 w 503"/>
                <a:gd name="T7" fmla="*/ 30 h 572"/>
                <a:gd name="T8" fmla="*/ 436 w 503"/>
                <a:gd name="T9" fmla="*/ 54 h 572"/>
                <a:gd name="T10" fmla="*/ 462 w 503"/>
                <a:gd name="T11" fmla="*/ 82 h 572"/>
                <a:gd name="T12" fmla="*/ 482 w 503"/>
                <a:gd name="T13" fmla="*/ 117 h 572"/>
                <a:gd name="T14" fmla="*/ 497 w 503"/>
                <a:gd name="T15" fmla="*/ 153 h 572"/>
                <a:gd name="T16" fmla="*/ 503 w 503"/>
                <a:gd name="T17" fmla="*/ 192 h 572"/>
                <a:gd name="T18" fmla="*/ 501 w 503"/>
                <a:gd name="T19" fmla="*/ 233 h 572"/>
                <a:gd name="T20" fmla="*/ 492 w 503"/>
                <a:gd name="T21" fmla="*/ 274 h 572"/>
                <a:gd name="T22" fmla="*/ 386 w 503"/>
                <a:gd name="T23" fmla="*/ 572 h 572"/>
                <a:gd name="T24" fmla="*/ 0 w 503"/>
                <a:gd name="T25" fmla="*/ 436 h 572"/>
                <a:gd name="T26" fmla="*/ 104 w 503"/>
                <a:gd name="T27" fmla="*/ 136 h 572"/>
                <a:gd name="T28" fmla="*/ 123 w 503"/>
                <a:gd name="T29" fmla="*/ 99 h 572"/>
                <a:gd name="T30" fmla="*/ 147 w 503"/>
                <a:gd name="T31" fmla="*/ 67 h 572"/>
                <a:gd name="T32" fmla="*/ 177 w 503"/>
                <a:gd name="T33" fmla="*/ 41 h 572"/>
                <a:gd name="T34" fmla="*/ 211 w 503"/>
                <a:gd name="T35" fmla="*/ 20 h 572"/>
                <a:gd name="T36" fmla="*/ 248 w 503"/>
                <a:gd name="T37" fmla="*/ 7 h 572"/>
                <a:gd name="T38" fmla="*/ 285 w 503"/>
                <a:gd name="T39"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3" h="572">
                  <a:moveTo>
                    <a:pt x="285" y="0"/>
                  </a:moveTo>
                  <a:lnTo>
                    <a:pt x="326" y="2"/>
                  </a:lnTo>
                  <a:lnTo>
                    <a:pt x="367" y="11"/>
                  </a:lnTo>
                  <a:lnTo>
                    <a:pt x="404" y="30"/>
                  </a:lnTo>
                  <a:lnTo>
                    <a:pt x="436" y="54"/>
                  </a:lnTo>
                  <a:lnTo>
                    <a:pt x="462" y="82"/>
                  </a:lnTo>
                  <a:lnTo>
                    <a:pt x="482" y="117"/>
                  </a:lnTo>
                  <a:lnTo>
                    <a:pt x="497" y="153"/>
                  </a:lnTo>
                  <a:lnTo>
                    <a:pt x="503" y="192"/>
                  </a:lnTo>
                  <a:lnTo>
                    <a:pt x="501" y="233"/>
                  </a:lnTo>
                  <a:lnTo>
                    <a:pt x="492" y="274"/>
                  </a:lnTo>
                  <a:lnTo>
                    <a:pt x="386" y="572"/>
                  </a:lnTo>
                  <a:lnTo>
                    <a:pt x="0" y="436"/>
                  </a:lnTo>
                  <a:lnTo>
                    <a:pt x="104" y="136"/>
                  </a:lnTo>
                  <a:lnTo>
                    <a:pt x="123" y="99"/>
                  </a:lnTo>
                  <a:lnTo>
                    <a:pt x="147" y="67"/>
                  </a:lnTo>
                  <a:lnTo>
                    <a:pt x="177" y="41"/>
                  </a:lnTo>
                  <a:lnTo>
                    <a:pt x="211" y="20"/>
                  </a:lnTo>
                  <a:lnTo>
                    <a:pt x="248" y="7"/>
                  </a:lnTo>
                  <a:lnTo>
                    <a:pt x="285" y="0"/>
                  </a:lnTo>
                  <a:close/>
                </a:path>
              </a:pathLst>
            </a:custGeom>
            <a:solidFill>
              <a:schemeClr val="accent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sp>
        <p:nvSpPr>
          <p:cNvPr id="85" name="Rectangle 84"/>
          <p:cNvSpPr/>
          <p:nvPr/>
        </p:nvSpPr>
        <p:spPr>
          <a:xfrm>
            <a:off x="1190988" y="5998889"/>
            <a:ext cx="612668" cy="257122"/>
          </a:xfrm>
          <a:prstGeom prst="rect">
            <a:avLst/>
          </a:prstGeom>
        </p:spPr>
        <p:txBody>
          <a:bodyPr wrap="none">
            <a:spAutoFit/>
          </a:bodyPr>
          <a:lstStyle/>
          <a:p>
            <a:pPr algn="ctr"/>
            <a:r>
              <a:rPr lang="en-US" sz="1071" b="1">
                <a:latin typeface="Calibri" panose="020F0502020204030204" pitchFamily="34" charset="0"/>
                <a:cs typeface="Calibri" panose="020F0502020204030204" pitchFamily="34" charset="0"/>
              </a:rPr>
              <a:t>Sign off</a:t>
            </a:r>
          </a:p>
        </p:txBody>
      </p:sp>
      <p:grpSp>
        <p:nvGrpSpPr>
          <p:cNvPr id="103" name="Group 102"/>
          <p:cNvGrpSpPr/>
          <p:nvPr/>
        </p:nvGrpSpPr>
        <p:grpSpPr>
          <a:xfrm>
            <a:off x="3224437" y="2750555"/>
            <a:ext cx="254575" cy="254575"/>
            <a:chOff x="8945563" y="3965575"/>
            <a:chExt cx="4876801" cy="4876801"/>
          </a:xfrm>
        </p:grpSpPr>
        <p:sp>
          <p:nvSpPr>
            <p:cNvPr id="104" name="Freeform 7"/>
            <p:cNvSpPr>
              <a:spLocks/>
            </p:cNvSpPr>
            <p:nvPr/>
          </p:nvSpPr>
          <p:spPr bwMode="auto">
            <a:xfrm>
              <a:off x="8945563" y="4887913"/>
              <a:ext cx="4876800" cy="3954463"/>
            </a:xfrm>
            <a:custGeom>
              <a:avLst/>
              <a:gdLst>
                <a:gd name="T0" fmla="*/ 1195 w 6144"/>
                <a:gd name="T1" fmla="*/ 0 h 4982"/>
                <a:gd name="T2" fmla="*/ 4949 w 6144"/>
                <a:gd name="T3" fmla="*/ 0 h 4982"/>
                <a:gd name="T4" fmla="*/ 6144 w 6144"/>
                <a:gd name="T5" fmla="*/ 4982 h 4982"/>
                <a:gd name="T6" fmla="*/ 0 w 6144"/>
                <a:gd name="T7" fmla="*/ 4982 h 4982"/>
                <a:gd name="T8" fmla="*/ 1195 w 6144"/>
                <a:gd name="T9" fmla="*/ 0 h 4982"/>
              </a:gdLst>
              <a:ahLst/>
              <a:cxnLst>
                <a:cxn ang="0">
                  <a:pos x="T0" y="T1"/>
                </a:cxn>
                <a:cxn ang="0">
                  <a:pos x="T2" y="T3"/>
                </a:cxn>
                <a:cxn ang="0">
                  <a:pos x="T4" y="T5"/>
                </a:cxn>
                <a:cxn ang="0">
                  <a:pos x="T6" y="T7"/>
                </a:cxn>
                <a:cxn ang="0">
                  <a:pos x="T8" y="T9"/>
                </a:cxn>
              </a:cxnLst>
              <a:rect l="0" t="0" r="r" b="b"/>
              <a:pathLst>
                <a:path w="6144" h="4982">
                  <a:moveTo>
                    <a:pt x="1195" y="0"/>
                  </a:moveTo>
                  <a:lnTo>
                    <a:pt x="4949" y="0"/>
                  </a:lnTo>
                  <a:lnTo>
                    <a:pt x="6144" y="4982"/>
                  </a:lnTo>
                  <a:lnTo>
                    <a:pt x="0" y="4982"/>
                  </a:lnTo>
                  <a:lnTo>
                    <a:pt x="1195" y="0"/>
                  </a:lnTo>
                  <a:close/>
                </a:path>
              </a:pathLst>
            </a:custGeom>
            <a:solidFill>
              <a:schemeClr val="accent3">
                <a:lumMod val="20000"/>
                <a:lumOff val="8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05" name="Freeform 8"/>
            <p:cNvSpPr>
              <a:spLocks/>
            </p:cNvSpPr>
            <p:nvPr/>
          </p:nvSpPr>
          <p:spPr bwMode="auto">
            <a:xfrm>
              <a:off x="12382501" y="4887913"/>
              <a:ext cx="1439863" cy="3954463"/>
            </a:xfrm>
            <a:custGeom>
              <a:avLst/>
              <a:gdLst>
                <a:gd name="T0" fmla="*/ 0 w 1813"/>
                <a:gd name="T1" fmla="*/ 0 h 4982"/>
                <a:gd name="T2" fmla="*/ 618 w 1813"/>
                <a:gd name="T3" fmla="*/ 0 h 4982"/>
                <a:gd name="T4" fmla="*/ 1813 w 1813"/>
                <a:gd name="T5" fmla="*/ 4982 h 4982"/>
                <a:gd name="T6" fmla="*/ 1195 w 1813"/>
                <a:gd name="T7" fmla="*/ 4982 h 4982"/>
                <a:gd name="T8" fmla="*/ 0 w 1813"/>
                <a:gd name="T9" fmla="*/ 0 h 4982"/>
              </a:gdLst>
              <a:ahLst/>
              <a:cxnLst>
                <a:cxn ang="0">
                  <a:pos x="T0" y="T1"/>
                </a:cxn>
                <a:cxn ang="0">
                  <a:pos x="T2" y="T3"/>
                </a:cxn>
                <a:cxn ang="0">
                  <a:pos x="T4" y="T5"/>
                </a:cxn>
                <a:cxn ang="0">
                  <a:pos x="T6" y="T7"/>
                </a:cxn>
                <a:cxn ang="0">
                  <a:pos x="T8" y="T9"/>
                </a:cxn>
              </a:cxnLst>
              <a:rect l="0" t="0" r="r" b="b"/>
              <a:pathLst>
                <a:path w="1813" h="4982">
                  <a:moveTo>
                    <a:pt x="0" y="0"/>
                  </a:moveTo>
                  <a:lnTo>
                    <a:pt x="618" y="0"/>
                  </a:lnTo>
                  <a:lnTo>
                    <a:pt x="1813" y="4982"/>
                  </a:lnTo>
                  <a:lnTo>
                    <a:pt x="1195" y="4982"/>
                  </a:lnTo>
                  <a:lnTo>
                    <a:pt x="0" y="0"/>
                  </a:lnTo>
                  <a:close/>
                </a:path>
              </a:pathLst>
            </a:custGeom>
            <a:solidFill>
              <a:schemeClr val="accent2">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06" name="Freeform 9"/>
            <p:cNvSpPr>
              <a:spLocks/>
            </p:cNvSpPr>
            <p:nvPr/>
          </p:nvSpPr>
          <p:spPr bwMode="auto">
            <a:xfrm>
              <a:off x="10342563" y="5564188"/>
              <a:ext cx="1909763" cy="147638"/>
            </a:xfrm>
            <a:custGeom>
              <a:avLst/>
              <a:gdLst>
                <a:gd name="T0" fmla="*/ 94 w 2408"/>
                <a:gd name="T1" fmla="*/ 0 h 187"/>
                <a:gd name="T2" fmla="*/ 2315 w 2408"/>
                <a:gd name="T3" fmla="*/ 0 h 187"/>
                <a:gd name="T4" fmla="*/ 2344 w 2408"/>
                <a:gd name="T5" fmla="*/ 6 h 187"/>
                <a:gd name="T6" fmla="*/ 2371 w 2408"/>
                <a:gd name="T7" fmla="*/ 19 h 187"/>
                <a:gd name="T8" fmla="*/ 2389 w 2408"/>
                <a:gd name="T9" fmla="*/ 40 h 187"/>
                <a:gd name="T10" fmla="*/ 2402 w 2408"/>
                <a:gd name="T11" fmla="*/ 64 h 187"/>
                <a:gd name="T12" fmla="*/ 2408 w 2408"/>
                <a:gd name="T13" fmla="*/ 94 h 187"/>
                <a:gd name="T14" fmla="*/ 2402 w 2408"/>
                <a:gd name="T15" fmla="*/ 123 h 187"/>
                <a:gd name="T16" fmla="*/ 2389 w 2408"/>
                <a:gd name="T17" fmla="*/ 148 h 187"/>
                <a:gd name="T18" fmla="*/ 2371 w 2408"/>
                <a:gd name="T19" fmla="*/ 168 h 187"/>
                <a:gd name="T20" fmla="*/ 2344 w 2408"/>
                <a:gd name="T21" fmla="*/ 181 h 187"/>
                <a:gd name="T22" fmla="*/ 2315 w 2408"/>
                <a:gd name="T23" fmla="*/ 187 h 187"/>
                <a:gd name="T24" fmla="*/ 94 w 2408"/>
                <a:gd name="T25" fmla="*/ 187 h 187"/>
                <a:gd name="T26" fmla="*/ 66 w 2408"/>
                <a:gd name="T27" fmla="*/ 181 h 187"/>
                <a:gd name="T28" fmla="*/ 40 w 2408"/>
                <a:gd name="T29" fmla="*/ 168 h 187"/>
                <a:gd name="T30" fmla="*/ 19 w 2408"/>
                <a:gd name="T31" fmla="*/ 148 h 187"/>
                <a:gd name="T32" fmla="*/ 6 w 2408"/>
                <a:gd name="T33" fmla="*/ 123 h 187"/>
                <a:gd name="T34" fmla="*/ 0 w 2408"/>
                <a:gd name="T35" fmla="*/ 94 h 187"/>
                <a:gd name="T36" fmla="*/ 6 w 2408"/>
                <a:gd name="T37" fmla="*/ 64 h 187"/>
                <a:gd name="T38" fmla="*/ 19 w 2408"/>
                <a:gd name="T39" fmla="*/ 40 h 187"/>
                <a:gd name="T40" fmla="*/ 40 w 2408"/>
                <a:gd name="T41" fmla="*/ 19 h 187"/>
                <a:gd name="T42" fmla="*/ 66 w 2408"/>
                <a:gd name="T43" fmla="*/ 6 h 187"/>
                <a:gd name="T44" fmla="*/ 94 w 2408"/>
                <a:gd name="T4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8" h="187">
                  <a:moveTo>
                    <a:pt x="94" y="0"/>
                  </a:moveTo>
                  <a:lnTo>
                    <a:pt x="2315" y="0"/>
                  </a:lnTo>
                  <a:lnTo>
                    <a:pt x="2344" y="6"/>
                  </a:lnTo>
                  <a:lnTo>
                    <a:pt x="2371" y="19"/>
                  </a:lnTo>
                  <a:lnTo>
                    <a:pt x="2389" y="40"/>
                  </a:lnTo>
                  <a:lnTo>
                    <a:pt x="2402" y="64"/>
                  </a:lnTo>
                  <a:lnTo>
                    <a:pt x="2408" y="94"/>
                  </a:lnTo>
                  <a:lnTo>
                    <a:pt x="2402" y="123"/>
                  </a:lnTo>
                  <a:lnTo>
                    <a:pt x="2389" y="148"/>
                  </a:lnTo>
                  <a:lnTo>
                    <a:pt x="2371" y="168"/>
                  </a:lnTo>
                  <a:lnTo>
                    <a:pt x="2344" y="181"/>
                  </a:lnTo>
                  <a:lnTo>
                    <a:pt x="2315" y="187"/>
                  </a:lnTo>
                  <a:lnTo>
                    <a:pt x="94" y="187"/>
                  </a:lnTo>
                  <a:lnTo>
                    <a:pt x="66" y="181"/>
                  </a:lnTo>
                  <a:lnTo>
                    <a:pt x="40" y="168"/>
                  </a:lnTo>
                  <a:lnTo>
                    <a:pt x="19" y="148"/>
                  </a:lnTo>
                  <a:lnTo>
                    <a:pt x="6" y="123"/>
                  </a:lnTo>
                  <a:lnTo>
                    <a:pt x="0" y="94"/>
                  </a:lnTo>
                  <a:lnTo>
                    <a:pt x="6" y="64"/>
                  </a:lnTo>
                  <a:lnTo>
                    <a:pt x="19" y="40"/>
                  </a:lnTo>
                  <a:lnTo>
                    <a:pt x="40" y="19"/>
                  </a:lnTo>
                  <a:lnTo>
                    <a:pt x="66" y="6"/>
                  </a:lnTo>
                  <a:lnTo>
                    <a:pt x="94" y="0"/>
                  </a:lnTo>
                  <a:close/>
                </a:path>
              </a:pathLst>
            </a:custGeom>
            <a:solidFill>
              <a:schemeClr val="accent3">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07" name="Freeform 10"/>
            <p:cNvSpPr>
              <a:spLocks/>
            </p:cNvSpPr>
            <p:nvPr/>
          </p:nvSpPr>
          <p:spPr bwMode="auto">
            <a:xfrm>
              <a:off x="10244138" y="6175375"/>
              <a:ext cx="1774825" cy="147638"/>
            </a:xfrm>
            <a:custGeom>
              <a:avLst/>
              <a:gdLst>
                <a:gd name="T0" fmla="*/ 93 w 2236"/>
                <a:gd name="T1" fmla="*/ 0 h 187"/>
                <a:gd name="T2" fmla="*/ 2142 w 2236"/>
                <a:gd name="T3" fmla="*/ 0 h 187"/>
                <a:gd name="T4" fmla="*/ 2172 w 2236"/>
                <a:gd name="T5" fmla="*/ 4 h 187"/>
                <a:gd name="T6" fmla="*/ 2198 w 2236"/>
                <a:gd name="T7" fmla="*/ 19 h 187"/>
                <a:gd name="T8" fmla="*/ 2217 w 2236"/>
                <a:gd name="T9" fmla="*/ 38 h 187"/>
                <a:gd name="T10" fmla="*/ 2230 w 2236"/>
                <a:gd name="T11" fmla="*/ 64 h 187"/>
                <a:gd name="T12" fmla="*/ 2236 w 2236"/>
                <a:gd name="T13" fmla="*/ 94 h 187"/>
                <a:gd name="T14" fmla="*/ 2230 w 2236"/>
                <a:gd name="T15" fmla="*/ 121 h 187"/>
                <a:gd name="T16" fmla="*/ 2217 w 2236"/>
                <a:gd name="T17" fmla="*/ 148 h 187"/>
                <a:gd name="T18" fmla="*/ 2198 w 2236"/>
                <a:gd name="T19" fmla="*/ 168 h 187"/>
                <a:gd name="T20" fmla="*/ 2172 w 2236"/>
                <a:gd name="T21" fmla="*/ 181 h 187"/>
                <a:gd name="T22" fmla="*/ 2142 w 2236"/>
                <a:gd name="T23" fmla="*/ 187 h 187"/>
                <a:gd name="T24" fmla="*/ 93 w 2236"/>
                <a:gd name="T25" fmla="*/ 187 h 187"/>
                <a:gd name="T26" fmla="*/ 63 w 2236"/>
                <a:gd name="T27" fmla="*/ 181 h 187"/>
                <a:gd name="T28" fmla="*/ 37 w 2236"/>
                <a:gd name="T29" fmla="*/ 168 h 187"/>
                <a:gd name="T30" fmla="*/ 18 w 2236"/>
                <a:gd name="T31" fmla="*/ 148 h 187"/>
                <a:gd name="T32" fmla="*/ 5 w 2236"/>
                <a:gd name="T33" fmla="*/ 121 h 187"/>
                <a:gd name="T34" fmla="*/ 0 w 2236"/>
                <a:gd name="T35" fmla="*/ 94 h 187"/>
                <a:gd name="T36" fmla="*/ 5 w 2236"/>
                <a:gd name="T37" fmla="*/ 64 h 187"/>
                <a:gd name="T38" fmla="*/ 18 w 2236"/>
                <a:gd name="T39" fmla="*/ 38 h 187"/>
                <a:gd name="T40" fmla="*/ 37 w 2236"/>
                <a:gd name="T41" fmla="*/ 19 h 187"/>
                <a:gd name="T42" fmla="*/ 63 w 2236"/>
                <a:gd name="T43" fmla="*/ 4 h 187"/>
                <a:gd name="T44" fmla="*/ 93 w 2236"/>
                <a:gd name="T4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36" h="187">
                  <a:moveTo>
                    <a:pt x="93" y="0"/>
                  </a:moveTo>
                  <a:lnTo>
                    <a:pt x="2142" y="0"/>
                  </a:lnTo>
                  <a:lnTo>
                    <a:pt x="2172" y="4"/>
                  </a:lnTo>
                  <a:lnTo>
                    <a:pt x="2198" y="19"/>
                  </a:lnTo>
                  <a:lnTo>
                    <a:pt x="2217" y="38"/>
                  </a:lnTo>
                  <a:lnTo>
                    <a:pt x="2230" y="64"/>
                  </a:lnTo>
                  <a:lnTo>
                    <a:pt x="2236" y="94"/>
                  </a:lnTo>
                  <a:lnTo>
                    <a:pt x="2230" y="121"/>
                  </a:lnTo>
                  <a:lnTo>
                    <a:pt x="2217" y="148"/>
                  </a:lnTo>
                  <a:lnTo>
                    <a:pt x="2198" y="168"/>
                  </a:lnTo>
                  <a:lnTo>
                    <a:pt x="2172" y="181"/>
                  </a:lnTo>
                  <a:lnTo>
                    <a:pt x="2142" y="187"/>
                  </a:lnTo>
                  <a:lnTo>
                    <a:pt x="93" y="187"/>
                  </a:lnTo>
                  <a:lnTo>
                    <a:pt x="63" y="181"/>
                  </a:lnTo>
                  <a:lnTo>
                    <a:pt x="37" y="168"/>
                  </a:lnTo>
                  <a:lnTo>
                    <a:pt x="18" y="148"/>
                  </a:lnTo>
                  <a:lnTo>
                    <a:pt x="5" y="121"/>
                  </a:lnTo>
                  <a:lnTo>
                    <a:pt x="0" y="94"/>
                  </a:lnTo>
                  <a:lnTo>
                    <a:pt x="5" y="64"/>
                  </a:lnTo>
                  <a:lnTo>
                    <a:pt x="18" y="38"/>
                  </a:lnTo>
                  <a:lnTo>
                    <a:pt x="37" y="19"/>
                  </a:lnTo>
                  <a:lnTo>
                    <a:pt x="63" y="4"/>
                  </a:lnTo>
                  <a:lnTo>
                    <a:pt x="93" y="0"/>
                  </a:lnTo>
                  <a:close/>
                </a:path>
              </a:pathLst>
            </a:custGeom>
            <a:solidFill>
              <a:schemeClr val="accent3">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08" name="Freeform 11"/>
            <p:cNvSpPr>
              <a:spLocks/>
            </p:cNvSpPr>
            <p:nvPr/>
          </p:nvSpPr>
          <p:spPr bwMode="auto">
            <a:xfrm>
              <a:off x="10126663" y="6784975"/>
              <a:ext cx="1687513" cy="146050"/>
            </a:xfrm>
            <a:custGeom>
              <a:avLst/>
              <a:gdLst>
                <a:gd name="T0" fmla="*/ 93 w 2126"/>
                <a:gd name="T1" fmla="*/ 0 h 185"/>
                <a:gd name="T2" fmla="*/ 2033 w 2126"/>
                <a:gd name="T3" fmla="*/ 0 h 185"/>
                <a:gd name="T4" fmla="*/ 2062 w 2126"/>
                <a:gd name="T5" fmla="*/ 4 h 185"/>
                <a:gd name="T6" fmla="*/ 2089 w 2126"/>
                <a:gd name="T7" fmla="*/ 17 h 185"/>
                <a:gd name="T8" fmla="*/ 2107 w 2126"/>
                <a:gd name="T9" fmla="*/ 38 h 185"/>
                <a:gd name="T10" fmla="*/ 2122 w 2126"/>
                <a:gd name="T11" fmla="*/ 64 h 185"/>
                <a:gd name="T12" fmla="*/ 2126 w 2126"/>
                <a:gd name="T13" fmla="*/ 92 h 185"/>
                <a:gd name="T14" fmla="*/ 2122 w 2126"/>
                <a:gd name="T15" fmla="*/ 121 h 185"/>
                <a:gd name="T16" fmla="*/ 2107 w 2126"/>
                <a:gd name="T17" fmla="*/ 147 h 185"/>
                <a:gd name="T18" fmla="*/ 2089 w 2126"/>
                <a:gd name="T19" fmla="*/ 168 h 185"/>
                <a:gd name="T20" fmla="*/ 2062 w 2126"/>
                <a:gd name="T21" fmla="*/ 181 h 185"/>
                <a:gd name="T22" fmla="*/ 2033 w 2126"/>
                <a:gd name="T23" fmla="*/ 185 h 185"/>
                <a:gd name="T24" fmla="*/ 93 w 2126"/>
                <a:gd name="T25" fmla="*/ 185 h 185"/>
                <a:gd name="T26" fmla="*/ 63 w 2126"/>
                <a:gd name="T27" fmla="*/ 181 h 185"/>
                <a:gd name="T28" fmla="*/ 39 w 2126"/>
                <a:gd name="T29" fmla="*/ 168 h 185"/>
                <a:gd name="T30" fmla="*/ 18 w 2126"/>
                <a:gd name="T31" fmla="*/ 147 h 185"/>
                <a:gd name="T32" fmla="*/ 5 w 2126"/>
                <a:gd name="T33" fmla="*/ 121 h 185"/>
                <a:gd name="T34" fmla="*/ 0 w 2126"/>
                <a:gd name="T35" fmla="*/ 92 h 185"/>
                <a:gd name="T36" fmla="*/ 5 w 2126"/>
                <a:gd name="T37" fmla="*/ 64 h 185"/>
                <a:gd name="T38" fmla="*/ 18 w 2126"/>
                <a:gd name="T39" fmla="*/ 38 h 185"/>
                <a:gd name="T40" fmla="*/ 39 w 2126"/>
                <a:gd name="T41" fmla="*/ 17 h 185"/>
                <a:gd name="T42" fmla="*/ 63 w 2126"/>
                <a:gd name="T43" fmla="*/ 4 h 185"/>
                <a:gd name="T44" fmla="*/ 93 w 2126"/>
                <a:gd name="T4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6" h="185">
                  <a:moveTo>
                    <a:pt x="93" y="0"/>
                  </a:moveTo>
                  <a:lnTo>
                    <a:pt x="2033" y="0"/>
                  </a:lnTo>
                  <a:lnTo>
                    <a:pt x="2062" y="4"/>
                  </a:lnTo>
                  <a:lnTo>
                    <a:pt x="2089" y="17"/>
                  </a:lnTo>
                  <a:lnTo>
                    <a:pt x="2107" y="38"/>
                  </a:lnTo>
                  <a:lnTo>
                    <a:pt x="2122" y="64"/>
                  </a:lnTo>
                  <a:lnTo>
                    <a:pt x="2126" y="92"/>
                  </a:lnTo>
                  <a:lnTo>
                    <a:pt x="2122" y="121"/>
                  </a:lnTo>
                  <a:lnTo>
                    <a:pt x="2107" y="147"/>
                  </a:lnTo>
                  <a:lnTo>
                    <a:pt x="2089" y="168"/>
                  </a:lnTo>
                  <a:lnTo>
                    <a:pt x="2062" y="181"/>
                  </a:lnTo>
                  <a:lnTo>
                    <a:pt x="2033" y="185"/>
                  </a:lnTo>
                  <a:lnTo>
                    <a:pt x="93" y="185"/>
                  </a:lnTo>
                  <a:lnTo>
                    <a:pt x="63" y="181"/>
                  </a:lnTo>
                  <a:lnTo>
                    <a:pt x="39" y="168"/>
                  </a:lnTo>
                  <a:lnTo>
                    <a:pt x="18" y="147"/>
                  </a:lnTo>
                  <a:lnTo>
                    <a:pt x="5" y="121"/>
                  </a:lnTo>
                  <a:lnTo>
                    <a:pt x="0" y="92"/>
                  </a:lnTo>
                  <a:lnTo>
                    <a:pt x="5" y="64"/>
                  </a:lnTo>
                  <a:lnTo>
                    <a:pt x="18" y="38"/>
                  </a:lnTo>
                  <a:lnTo>
                    <a:pt x="39" y="17"/>
                  </a:lnTo>
                  <a:lnTo>
                    <a:pt x="63" y="4"/>
                  </a:lnTo>
                  <a:lnTo>
                    <a:pt x="93" y="0"/>
                  </a:lnTo>
                  <a:close/>
                </a:path>
              </a:pathLst>
            </a:custGeom>
            <a:solidFill>
              <a:schemeClr val="accent3">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09" name="Freeform 12"/>
            <p:cNvSpPr>
              <a:spLocks noEditPoints="1"/>
            </p:cNvSpPr>
            <p:nvPr/>
          </p:nvSpPr>
          <p:spPr bwMode="auto">
            <a:xfrm>
              <a:off x="9893301" y="7405688"/>
              <a:ext cx="1660525" cy="901700"/>
            </a:xfrm>
            <a:custGeom>
              <a:avLst/>
              <a:gdLst>
                <a:gd name="T0" fmla="*/ 1293 w 2093"/>
                <a:gd name="T1" fmla="*/ 764 h 1136"/>
                <a:gd name="T2" fmla="*/ 1296 w 2093"/>
                <a:gd name="T3" fmla="*/ 769 h 1136"/>
                <a:gd name="T4" fmla="*/ 1294 w 2093"/>
                <a:gd name="T5" fmla="*/ 762 h 1136"/>
                <a:gd name="T6" fmla="*/ 801 w 2093"/>
                <a:gd name="T7" fmla="*/ 6 h 1136"/>
                <a:gd name="T8" fmla="*/ 896 w 2093"/>
                <a:gd name="T9" fmla="*/ 62 h 1136"/>
                <a:gd name="T10" fmla="*/ 943 w 2093"/>
                <a:gd name="T11" fmla="*/ 153 h 1136"/>
                <a:gd name="T12" fmla="*/ 957 w 2093"/>
                <a:gd name="T13" fmla="*/ 261 h 1136"/>
                <a:gd name="T14" fmla="*/ 952 w 2093"/>
                <a:gd name="T15" fmla="*/ 369 h 1136"/>
                <a:gd name="T16" fmla="*/ 926 w 2093"/>
                <a:gd name="T17" fmla="*/ 693 h 1136"/>
                <a:gd name="T18" fmla="*/ 929 w 2093"/>
                <a:gd name="T19" fmla="*/ 752 h 1136"/>
                <a:gd name="T20" fmla="*/ 963 w 2093"/>
                <a:gd name="T21" fmla="*/ 747 h 1136"/>
                <a:gd name="T22" fmla="*/ 1101 w 2093"/>
                <a:gd name="T23" fmla="*/ 669 h 1136"/>
                <a:gd name="T24" fmla="*/ 1235 w 2093"/>
                <a:gd name="T25" fmla="*/ 607 h 1136"/>
                <a:gd name="T26" fmla="*/ 1365 w 2093"/>
                <a:gd name="T27" fmla="*/ 598 h 1136"/>
                <a:gd name="T28" fmla="*/ 1440 w 2093"/>
                <a:gd name="T29" fmla="*/ 650 h 1136"/>
                <a:gd name="T30" fmla="*/ 1484 w 2093"/>
                <a:gd name="T31" fmla="*/ 739 h 1136"/>
                <a:gd name="T32" fmla="*/ 1514 w 2093"/>
                <a:gd name="T33" fmla="*/ 834 h 1136"/>
                <a:gd name="T34" fmla="*/ 1548 w 2093"/>
                <a:gd name="T35" fmla="*/ 911 h 1136"/>
                <a:gd name="T36" fmla="*/ 1630 w 2093"/>
                <a:gd name="T37" fmla="*/ 944 h 1136"/>
                <a:gd name="T38" fmla="*/ 1758 w 2093"/>
                <a:gd name="T39" fmla="*/ 942 h 1136"/>
                <a:gd name="T40" fmla="*/ 1980 w 2093"/>
                <a:gd name="T41" fmla="*/ 892 h 1136"/>
                <a:gd name="T42" fmla="*/ 2050 w 2093"/>
                <a:gd name="T43" fmla="*/ 900 h 1136"/>
                <a:gd name="T44" fmla="*/ 2089 w 2093"/>
                <a:gd name="T45" fmla="*/ 954 h 1136"/>
                <a:gd name="T46" fmla="*/ 2086 w 2093"/>
                <a:gd name="T47" fmla="*/ 1022 h 1136"/>
                <a:gd name="T48" fmla="*/ 2028 w 2093"/>
                <a:gd name="T49" fmla="*/ 1071 h 1136"/>
                <a:gd name="T50" fmla="*/ 1901 w 2093"/>
                <a:gd name="T51" fmla="*/ 1108 h 1136"/>
                <a:gd name="T52" fmla="*/ 1754 w 2093"/>
                <a:gd name="T53" fmla="*/ 1132 h 1136"/>
                <a:gd name="T54" fmla="*/ 1607 w 2093"/>
                <a:gd name="T55" fmla="*/ 1132 h 1136"/>
                <a:gd name="T56" fmla="*/ 1477 w 2093"/>
                <a:gd name="T57" fmla="*/ 1091 h 1136"/>
                <a:gd name="T58" fmla="*/ 1382 w 2093"/>
                <a:gd name="T59" fmla="*/ 996 h 1136"/>
                <a:gd name="T60" fmla="*/ 1320 w 2093"/>
                <a:gd name="T61" fmla="*/ 834 h 1136"/>
                <a:gd name="T62" fmla="*/ 1298 w 2093"/>
                <a:gd name="T63" fmla="*/ 784 h 1136"/>
                <a:gd name="T64" fmla="*/ 1153 w 2093"/>
                <a:gd name="T65" fmla="*/ 855 h 1136"/>
                <a:gd name="T66" fmla="*/ 1006 w 2093"/>
                <a:gd name="T67" fmla="*/ 931 h 1136"/>
                <a:gd name="T68" fmla="*/ 887 w 2093"/>
                <a:gd name="T69" fmla="*/ 950 h 1136"/>
                <a:gd name="T70" fmla="*/ 788 w 2093"/>
                <a:gd name="T71" fmla="*/ 892 h 1136"/>
                <a:gd name="T72" fmla="*/ 745 w 2093"/>
                <a:gd name="T73" fmla="*/ 797 h 1136"/>
                <a:gd name="T74" fmla="*/ 738 w 2093"/>
                <a:gd name="T75" fmla="*/ 684 h 1136"/>
                <a:gd name="T76" fmla="*/ 745 w 2093"/>
                <a:gd name="T77" fmla="*/ 572 h 1136"/>
                <a:gd name="T78" fmla="*/ 771 w 2093"/>
                <a:gd name="T79" fmla="*/ 315 h 1136"/>
                <a:gd name="T80" fmla="*/ 775 w 2093"/>
                <a:gd name="T81" fmla="*/ 233 h 1136"/>
                <a:gd name="T82" fmla="*/ 766 w 2093"/>
                <a:gd name="T83" fmla="*/ 200 h 1136"/>
                <a:gd name="T84" fmla="*/ 760 w 2093"/>
                <a:gd name="T85" fmla="*/ 190 h 1136"/>
                <a:gd name="T86" fmla="*/ 758 w 2093"/>
                <a:gd name="T87" fmla="*/ 186 h 1136"/>
                <a:gd name="T88" fmla="*/ 728 w 2093"/>
                <a:gd name="T89" fmla="*/ 196 h 1136"/>
                <a:gd name="T90" fmla="*/ 671 w 2093"/>
                <a:gd name="T91" fmla="*/ 257 h 1136"/>
                <a:gd name="T92" fmla="*/ 617 w 2093"/>
                <a:gd name="T93" fmla="*/ 334 h 1136"/>
                <a:gd name="T94" fmla="*/ 296 w 2093"/>
                <a:gd name="T95" fmla="*/ 834 h 1136"/>
                <a:gd name="T96" fmla="*/ 133 w 2093"/>
                <a:gd name="T97" fmla="*/ 1078 h 1136"/>
                <a:gd name="T98" fmla="*/ 60 w 2093"/>
                <a:gd name="T99" fmla="*/ 1076 h 1136"/>
                <a:gd name="T100" fmla="*/ 6 w 2093"/>
                <a:gd name="T101" fmla="*/ 1024 h 1136"/>
                <a:gd name="T102" fmla="*/ 13 w 2093"/>
                <a:gd name="T103" fmla="*/ 946 h 1136"/>
                <a:gd name="T104" fmla="*/ 386 w 2093"/>
                <a:gd name="T105" fmla="*/ 345 h 1136"/>
                <a:gd name="T106" fmla="*/ 535 w 2093"/>
                <a:gd name="T107" fmla="*/ 133 h 1136"/>
                <a:gd name="T108" fmla="*/ 619 w 2093"/>
                <a:gd name="T109" fmla="*/ 49 h 1136"/>
                <a:gd name="T110" fmla="*/ 721 w 2093"/>
                <a:gd name="T111" fmla="*/ 2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93" h="1136">
                  <a:moveTo>
                    <a:pt x="1293" y="762"/>
                  </a:moveTo>
                  <a:lnTo>
                    <a:pt x="1293" y="762"/>
                  </a:lnTo>
                  <a:lnTo>
                    <a:pt x="1293" y="764"/>
                  </a:lnTo>
                  <a:lnTo>
                    <a:pt x="1293" y="766"/>
                  </a:lnTo>
                  <a:lnTo>
                    <a:pt x="1294" y="769"/>
                  </a:lnTo>
                  <a:lnTo>
                    <a:pt x="1296" y="769"/>
                  </a:lnTo>
                  <a:lnTo>
                    <a:pt x="1296" y="769"/>
                  </a:lnTo>
                  <a:lnTo>
                    <a:pt x="1296" y="764"/>
                  </a:lnTo>
                  <a:lnTo>
                    <a:pt x="1294" y="762"/>
                  </a:lnTo>
                  <a:lnTo>
                    <a:pt x="1293" y="762"/>
                  </a:lnTo>
                  <a:close/>
                  <a:moveTo>
                    <a:pt x="760" y="0"/>
                  </a:moveTo>
                  <a:lnTo>
                    <a:pt x="801" y="6"/>
                  </a:lnTo>
                  <a:lnTo>
                    <a:pt x="840" y="19"/>
                  </a:lnTo>
                  <a:lnTo>
                    <a:pt x="870" y="38"/>
                  </a:lnTo>
                  <a:lnTo>
                    <a:pt x="896" y="62"/>
                  </a:lnTo>
                  <a:lnTo>
                    <a:pt x="916" y="90"/>
                  </a:lnTo>
                  <a:lnTo>
                    <a:pt x="931" y="119"/>
                  </a:lnTo>
                  <a:lnTo>
                    <a:pt x="943" y="153"/>
                  </a:lnTo>
                  <a:lnTo>
                    <a:pt x="950" y="188"/>
                  </a:lnTo>
                  <a:lnTo>
                    <a:pt x="956" y="224"/>
                  </a:lnTo>
                  <a:lnTo>
                    <a:pt x="957" y="261"/>
                  </a:lnTo>
                  <a:lnTo>
                    <a:pt x="956" y="298"/>
                  </a:lnTo>
                  <a:lnTo>
                    <a:pt x="954" y="334"/>
                  </a:lnTo>
                  <a:lnTo>
                    <a:pt x="952" y="369"/>
                  </a:lnTo>
                  <a:lnTo>
                    <a:pt x="941" y="475"/>
                  </a:lnTo>
                  <a:lnTo>
                    <a:pt x="931" y="583"/>
                  </a:lnTo>
                  <a:lnTo>
                    <a:pt x="926" y="693"/>
                  </a:lnTo>
                  <a:lnTo>
                    <a:pt x="926" y="712"/>
                  </a:lnTo>
                  <a:lnTo>
                    <a:pt x="929" y="732"/>
                  </a:lnTo>
                  <a:lnTo>
                    <a:pt x="929" y="752"/>
                  </a:lnTo>
                  <a:lnTo>
                    <a:pt x="929" y="764"/>
                  </a:lnTo>
                  <a:lnTo>
                    <a:pt x="937" y="760"/>
                  </a:lnTo>
                  <a:lnTo>
                    <a:pt x="963" y="747"/>
                  </a:lnTo>
                  <a:lnTo>
                    <a:pt x="987" y="734"/>
                  </a:lnTo>
                  <a:lnTo>
                    <a:pt x="1045" y="700"/>
                  </a:lnTo>
                  <a:lnTo>
                    <a:pt x="1101" y="669"/>
                  </a:lnTo>
                  <a:lnTo>
                    <a:pt x="1144" y="646"/>
                  </a:lnTo>
                  <a:lnTo>
                    <a:pt x="1188" y="624"/>
                  </a:lnTo>
                  <a:lnTo>
                    <a:pt x="1235" y="607"/>
                  </a:lnTo>
                  <a:lnTo>
                    <a:pt x="1283" y="594"/>
                  </a:lnTo>
                  <a:lnTo>
                    <a:pt x="1330" y="592"/>
                  </a:lnTo>
                  <a:lnTo>
                    <a:pt x="1365" y="598"/>
                  </a:lnTo>
                  <a:lnTo>
                    <a:pt x="1393" y="609"/>
                  </a:lnTo>
                  <a:lnTo>
                    <a:pt x="1419" y="628"/>
                  </a:lnTo>
                  <a:lnTo>
                    <a:pt x="1440" y="650"/>
                  </a:lnTo>
                  <a:lnTo>
                    <a:pt x="1456" y="678"/>
                  </a:lnTo>
                  <a:lnTo>
                    <a:pt x="1471" y="708"/>
                  </a:lnTo>
                  <a:lnTo>
                    <a:pt x="1484" y="739"/>
                  </a:lnTo>
                  <a:lnTo>
                    <a:pt x="1495" y="771"/>
                  </a:lnTo>
                  <a:lnTo>
                    <a:pt x="1505" y="803"/>
                  </a:lnTo>
                  <a:lnTo>
                    <a:pt x="1514" y="834"/>
                  </a:lnTo>
                  <a:lnTo>
                    <a:pt x="1523" y="862"/>
                  </a:lnTo>
                  <a:lnTo>
                    <a:pt x="1535" y="890"/>
                  </a:lnTo>
                  <a:lnTo>
                    <a:pt x="1548" y="911"/>
                  </a:lnTo>
                  <a:lnTo>
                    <a:pt x="1564" y="926"/>
                  </a:lnTo>
                  <a:lnTo>
                    <a:pt x="1589" y="937"/>
                  </a:lnTo>
                  <a:lnTo>
                    <a:pt x="1630" y="944"/>
                  </a:lnTo>
                  <a:lnTo>
                    <a:pt x="1672" y="948"/>
                  </a:lnTo>
                  <a:lnTo>
                    <a:pt x="1715" y="946"/>
                  </a:lnTo>
                  <a:lnTo>
                    <a:pt x="1758" y="942"/>
                  </a:lnTo>
                  <a:lnTo>
                    <a:pt x="1832" y="931"/>
                  </a:lnTo>
                  <a:lnTo>
                    <a:pt x="1907" y="914"/>
                  </a:lnTo>
                  <a:lnTo>
                    <a:pt x="1980" y="892"/>
                  </a:lnTo>
                  <a:lnTo>
                    <a:pt x="2007" y="888"/>
                  </a:lnTo>
                  <a:lnTo>
                    <a:pt x="2030" y="890"/>
                  </a:lnTo>
                  <a:lnTo>
                    <a:pt x="2050" y="900"/>
                  </a:lnTo>
                  <a:lnTo>
                    <a:pt x="2069" y="914"/>
                  </a:lnTo>
                  <a:lnTo>
                    <a:pt x="2080" y="933"/>
                  </a:lnTo>
                  <a:lnTo>
                    <a:pt x="2089" y="954"/>
                  </a:lnTo>
                  <a:lnTo>
                    <a:pt x="2093" y="978"/>
                  </a:lnTo>
                  <a:lnTo>
                    <a:pt x="2091" y="1000"/>
                  </a:lnTo>
                  <a:lnTo>
                    <a:pt x="2086" y="1022"/>
                  </a:lnTo>
                  <a:lnTo>
                    <a:pt x="2073" y="1043"/>
                  </a:lnTo>
                  <a:lnTo>
                    <a:pt x="2054" y="1060"/>
                  </a:lnTo>
                  <a:lnTo>
                    <a:pt x="2028" y="1071"/>
                  </a:lnTo>
                  <a:lnTo>
                    <a:pt x="1989" y="1084"/>
                  </a:lnTo>
                  <a:lnTo>
                    <a:pt x="1946" y="1095"/>
                  </a:lnTo>
                  <a:lnTo>
                    <a:pt x="1901" y="1108"/>
                  </a:lnTo>
                  <a:lnTo>
                    <a:pt x="1853" y="1117"/>
                  </a:lnTo>
                  <a:lnTo>
                    <a:pt x="1805" y="1127"/>
                  </a:lnTo>
                  <a:lnTo>
                    <a:pt x="1754" y="1132"/>
                  </a:lnTo>
                  <a:lnTo>
                    <a:pt x="1706" y="1136"/>
                  </a:lnTo>
                  <a:lnTo>
                    <a:pt x="1656" y="1136"/>
                  </a:lnTo>
                  <a:lnTo>
                    <a:pt x="1607" y="1132"/>
                  </a:lnTo>
                  <a:lnTo>
                    <a:pt x="1561" y="1123"/>
                  </a:lnTo>
                  <a:lnTo>
                    <a:pt x="1518" y="1110"/>
                  </a:lnTo>
                  <a:lnTo>
                    <a:pt x="1477" y="1091"/>
                  </a:lnTo>
                  <a:lnTo>
                    <a:pt x="1440" y="1067"/>
                  </a:lnTo>
                  <a:lnTo>
                    <a:pt x="1408" y="1035"/>
                  </a:lnTo>
                  <a:lnTo>
                    <a:pt x="1382" y="996"/>
                  </a:lnTo>
                  <a:lnTo>
                    <a:pt x="1358" y="944"/>
                  </a:lnTo>
                  <a:lnTo>
                    <a:pt x="1337" y="890"/>
                  </a:lnTo>
                  <a:lnTo>
                    <a:pt x="1320" y="834"/>
                  </a:lnTo>
                  <a:lnTo>
                    <a:pt x="1315" y="820"/>
                  </a:lnTo>
                  <a:lnTo>
                    <a:pt x="1306" y="801"/>
                  </a:lnTo>
                  <a:lnTo>
                    <a:pt x="1298" y="784"/>
                  </a:lnTo>
                  <a:lnTo>
                    <a:pt x="1298" y="782"/>
                  </a:lnTo>
                  <a:lnTo>
                    <a:pt x="1226" y="816"/>
                  </a:lnTo>
                  <a:lnTo>
                    <a:pt x="1153" y="855"/>
                  </a:lnTo>
                  <a:lnTo>
                    <a:pt x="1080" y="894"/>
                  </a:lnTo>
                  <a:lnTo>
                    <a:pt x="1045" y="913"/>
                  </a:lnTo>
                  <a:lnTo>
                    <a:pt x="1006" y="931"/>
                  </a:lnTo>
                  <a:lnTo>
                    <a:pt x="967" y="944"/>
                  </a:lnTo>
                  <a:lnTo>
                    <a:pt x="928" y="952"/>
                  </a:lnTo>
                  <a:lnTo>
                    <a:pt x="887" y="950"/>
                  </a:lnTo>
                  <a:lnTo>
                    <a:pt x="848" y="937"/>
                  </a:lnTo>
                  <a:lnTo>
                    <a:pt x="814" y="916"/>
                  </a:lnTo>
                  <a:lnTo>
                    <a:pt x="788" y="892"/>
                  </a:lnTo>
                  <a:lnTo>
                    <a:pt x="769" y="862"/>
                  </a:lnTo>
                  <a:lnTo>
                    <a:pt x="754" y="831"/>
                  </a:lnTo>
                  <a:lnTo>
                    <a:pt x="745" y="797"/>
                  </a:lnTo>
                  <a:lnTo>
                    <a:pt x="740" y="760"/>
                  </a:lnTo>
                  <a:lnTo>
                    <a:pt x="738" y="721"/>
                  </a:lnTo>
                  <a:lnTo>
                    <a:pt x="738" y="684"/>
                  </a:lnTo>
                  <a:lnTo>
                    <a:pt x="740" y="645"/>
                  </a:lnTo>
                  <a:lnTo>
                    <a:pt x="743" y="607"/>
                  </a:lnTo>
                  <a:lnTo>
                    <a:pt x="745" y="572"/>
                  </a:lnTo>
                  <a:lnTo>
                    <a:pt x="749" y="538"/>
                  </a:lnTo>
                  <a:lnTo>
                    <a:pt x="760" y="427"/>
                  </a:lnTo>
                  <a:lnTo>
                    <a:pt x="771" y="315"/>
                  </a:lnTo>
                  <a:lnTo>
                    <a:pt x="773" y="289"/>
                  </a:lnTo>
                  <a:lnTo>
                    <a:pt x="775" y="261"/>
                  </a:lnTo>
                  <a:lnTo>
                    <a:pt x="775" y="233"/>
                  </a:lnTo>
                  <a:lnTo>
                    <a:pt x="769" y="207"/>
                  </a:lnTo>
                  <a:lnTo>
                    <a:pt x="767" y="203"/>
                  </a:lnTo>
                  <a:lnTo>
                    <a:pt x="766" y="200"/>
                  </a:lnTo>
                  <a:lnTo>
                    <a:pt x="764" y="198"/>
                  </a:lnTo>
                  <a:lnTo>
                    <a:pt x="762" y="194"/>
                  </a:lnTo>
                  <a:lnTo>
                    <a:pt x="760" y="190"/>
                  </a:lnTo>
                  <a:lnTo>
                    <a:pt x="758" y="188"/>
                  </a:lnTo>
                  <a:lnTo>
                    <a:pt x="758" y="186"/>
                  </a:lnTo>
                  <a:lnTo>
                    <a:pt x="758" y="186"/>
                  </a:lnTo>
                  <a:lnTo>
                    <a:pt x="753" y="185"/>
                  </a:lnTo>
                  <a:lnTo>
                    <a:pt x="741" y="186"/>
                  </a:lnTo>
                  <a:lnTo>
                    <a:pt x="728" y="196"/>
                  </a:lnTo>
                  <a:lnTo>
                    <a:pt x="706" y="214"/>
                  </a:lnTo>
                  <a:lnTo>
                    <a:pt x="686" y="239"/>
                  </a:lnTo>
                  <a:lnTo>
                    <a:pt x="671" y="257"/>
                  </a:lnTo>
                  <a:lnTo>
                    <a:pt x="654" y="281"/>
                  </a:lnTo>
                  <a:lnTo>
                    <a:pt x="635" y="308"/>
                  </a:lnTo>
                  <a:lnTo>
                    <a:pt x="617" y="334"/>
                  </a:lnTo>
                  <a:lnTo>
                    <a:pt x="518" y="481"/>
                  </a:lnTo>
                  <a:lnTo>
                    <a:pt x="423" y="630"/>
                  </a:lnTo>
                  <a:lnTo>
                    <a:pt x="296" y="834"/>
                  </a:lnTo>
                  <a:lnTo>
                    <a:pt x="174" y="1039"/>
                  </a:lnTo>
                  <a:lnTo>
                    <a:pt x="155" y="1063"/>
                  </a:lnTo>
                  <a:lnTo>
                    <a:pt x="133" y="1078"/>
                  </a:lnTo>
                  <a:lnTo>
                    <a:pt x="108" y="1084"/>
                  </a:lnTo>
                  <a:lnTo>
                    <a:pt x="84" y="1084"/>
                  </a:lnTo>
                  <a:lnTo>
                    <a:pt x="60" y="1076"/>
                  </a:lnTo>
                  <a:lnTo>
                    <a:pt x="38" y="1063"/>
                  </a:lnTo>
                  <a:lnTo>
                    <a:pt x="19" y="1047"/>
                  </a:lnTo>
                  <a:lnTo>
                    <a:pt x="6" y="1024"/>
                  </a:lnTo>
                  <a:lnTo>
                    <a:pt x="0" y="1000"/>
                  </a:lnTo>
                  <a:lnTo>
                    <a:pt x="2" y="974"/>
                  </a:lnTo>
                  <a:lnTo>
                    <a:pt x="13" y="946"/>
                  </a:lnTo>
                  <a:lnTo>
                    <a:pt x="166" y="691"/>
                  </a:lnTo>
                  <a:lnTo>
                    <a:pt x="324" y="438"/>
                  </a:lnTo>
                  <a:lnTo>
                    <a:pt x="386" y="345"/>
                  </a:lnTo>
                  <a:lnTo>
                    <a:pt x="447" y="254"/>
                  </a:lnTo>
                  <a:lnTo>
                    <a:pt x="511" y="162"/>
                  </a:lnTo>
                  <a:lnTo>
                    <a:pt x="535" y="133"/>
                  </a:lnTo>
                  <a:lnTo>
                    <a:pt x="561" y="103"/>
                  </a:lnTo>
                  <a:lnTo>
                    <a:pt x="589" y="75"/>
                  </a:lnTo>
                  <a:lnTo>
                    <a:pt x="619" y="49"/>
                  </a:lnTo>
                  <a:lnTo>
                    <a:pt x="650" y="28"/>
                  </a:lnTo>
                  <a:lnTo>
                    <a:pt x="686" y="11"/>
                  </a:lnTo>
                  <a:lnTo>
                    <a:pt x="721" y="2"/>
                  </a:lnTo>
                  <a:lnTo>
                    <a:pt x="760" y="0"/>
                  </a:lnTo>
                  <a:close/>
                </a:path>
              </a:pathLst>
            </a:custGeom>
            <a:solidFill>
              <a:schemeClr val="accent3"/>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10" name="Freeform 13"/>
            <p:cNvSpPr>
              <a:spLocks/>
            </p:cNvSpPr>
            <p:nvPr/>
          </p:nvSpPr>
          <p:spPr bwMode="auto">
            <a:xfrm>
              <a:off x="11952288" y="4506913"/>
              <a:ext cx="1484313" cy="3086100"/>
            </a:xfrm>
            <a:custGeom>
              <a:avLst/>
              <a:gdLst>
                <a:gd name="T0" fmla="*/ 1303 w 1869"/>
                <a:gd name="T1" fmla="*/ 0 h 3890"/>
                <a:gd name="T2" fmla="*/ 1869 w 1869"/>
                <a:gd name="T3" fmla="*/ 200 h 3890"/>
                <a:gd name="T4" fmla="*/ 566 w 1869"/>
                <a:gd name="T5" fmla="*/ 3890 h 3890"/>
                <a:gd name="T6" fmla="*/ 0 w 1869"/>
                <a:gd name="T7" fmla="*/ 3691 h 3890"/>
                <a:gd name="T8" fmla="*/ 1303 w 1869"/>
                <a:gd name="T9" fmla="*/ 0 h 3890"/>
              </a:gdLst>
              <a:ahLst/>
              <a:cxnLst>
                <a:cxn ang="0">
                  <a:pos x="T0" y="T1"/>
                </a:cxn>
                <a:cxn ang="0">
                  <a:pos x="T2" y="T3"/>
                </a:cxn>
                <a:cxn ang="0">
                  <a:pos x="T4" y="T5"/>
                </a:cxn>
                <a:cxn ang="0">
                  <a:pos x="T6" y="T7"/>
                </a:cxn>
                <a:cxn ang="0">
                  <a:pos x="T8" y="T9"/>
                </a:cxn>
              </a:cxnLst>
              <a:rect l="0" t="0" r="r" b="b"/>
              <a:pathLst>
                <a:path w="1869" h="3890">
                  <a:moveTo>
                    <a:pt x="1303" y="0"/>
                  </a:moveTo>
                  <a:lnTo>
                    <a:pt x="1869" y="200"/>
                  </a:lnTo>
                  <a:lnTo>
                    <a:pt x="566" y="3890"/>
                  </a:lnTo>
                  <a:lnTo>
                    <a:pt x="0" y="3691"/>
                  </a:lnTo>
                  <a:lnTo>
                    <a:pt x="1303" y="0"/>
                  </a:lnTo>
                  <a:close/>
                </a:path>
              </a:pathLst>
            </a:custGeom>
            <a:solidFill>
              <a:schemeClr val="accent5"/>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11" name="Freeform 14"/>
            <p:cNvSpPr>
              <a:spLocks/>
            </p:cNvSpPr>
            <p:nvPr/>
          </p:nvSpPr>
          <p:spPr bwMode="auto">
            <a:xfrm>
              <a:off x="12855576" y="4273550"/>
              <a:ext cx="769938" cy="1739900"/>
            </a:xfrm>
            <a:custGeom>
              <a:avLst/>
              <a:gdLst>
                <a:gd name="T0" fmla="*/ 205 w 970"/>
                <a:gd name="T1" fmla="*/ 0 h 2193"/>
                <a:gd name="T2" fmla="*/ 248 w 970"/>
                <a:gd name="T3" fmla="*/ 11 h 2193"/>
                <a:gd name="T4" fmla="*/ 846 w 970"/>
                <a:gd name="T5" fmla="*/ 222 h 2193"/>
                <a:gd name="T6" fmla="*/ 885 w 970"/>
                <a:gd name="T7" fmla="*/ 240 h 2193"/>
                <a:gd name="T8" fmla="*/ 916 w 970"/>
                <a:gd name="T9" fmla="*/ 266 h 2193"/>
                <a:gd name="T10" fmla="*/ 942 w 970"/>
                <a:gd name="T11" fmla="*/ 300 h 2193"/>
                <a:gd name="T12" fmla="*/ 961 w 970"/>
                <a:gd name="T13" fmla="*/ 335 h 2193"/>
                <a:gd name="T14" fmla="*/ 970 w 970"/>
                <a:gd name="T15" fmla="*/ 376 h 2193"/>
                <a:gd name="T16" fmla="*/ 970 w 970"/>
                <a:gd name="T17" fmla="*/ 417 h 2193"/>
                <a:gd name="T18" fmla="*/ 959 w 970"/>
                <a:gd name="T19" fmla="*/ 460 h 2193"/>
                <a:gd name="T20" fmla="*/ 391 w 970"/>
                <a:gd name="T21" fmla="*/ 2071 h 2193"/>
                <a:gd name="T22" fmla="*/ 373 w 970"/>
                <a:gd name="T23" fmla="*/ 2110 h 2193"/>
                <a:gd name="T24" fmla="*/ 347 w 970"/>
                <a:gd name="T25" fmla="*/ 2141 h 2193"/>
                <a:gd name="T26" fmla="*/ 315 w 970"/>
                <a:gd name="T27" fmla="*/ 2167 h 2193"/>
                <a:gd name="T28" fmla="*/ 278 w 970"/>
                <a:gd name="T29" fmla="*/ 2184 h 2193"/>
                <a:gd name="T30" fmla="*/ 237 w 970"/>
                <a:gd name="T31" fmla="*/ 2193 h 2193"/>
                <a:gd name="T32" fmla="*/ 196 w 970"/>
                <a:gd name="T33" fmla="*/ 2193 h 2193"/>
                <a:gd name="T34" fmla="*/ 153 w 970"/>
                <a:gd name="T35" fmla="*/ 2184 h 2193"/>
                <a:gd name="T36" fmla="*/ 114 w 970"/>
                <a:gd name="T37" fmla="*/ 2166 h 2193"/>
                <a:gd name="T38" fmla="*/ 82 w 970"/>
                <a:gd name="T39" fmla="*/ 2139 h 2193"/>
                <a:gd name="T40" fmla="*/ 56 w 970"/>
                <a:gd name="T41" fmla="*/ 2106 h 2193"/>
                <a:gd name="T42" fmla="*/ 39 w 970"/>
                <a:gd name="T43" fmla="*/ 2071 h 2193"/>
                <a:gd name="T44" fmla="*/ 30 w 970"/>
                <a:gd name="T45" fmla="*/ 2030 h 2193"/>
                <a:gd name="T46" fmla="*/ 30 w 970"/>
                <a:gd name="T47" fmla="*/ 1989 h 2193"/>
                <a:gd name="T48" fmla="*/ 39 w 970"/>
                <a:gd name="T49" fmla="*/ 1946 h 2193"/>
                <a:gd name="T50" fmla="*/ 546 w 970"/>
                <a:gd name="T51" fmla="*/ 512 h 2193"/>
                <a:gd name="T52" fmla="*/ 123 w 970"/>
                <a:gd name="T53" fmla="*/ 363 h 2193"/>
                <a:gd name="T54" fmla="*/ 84 w 970"/>
                <a:gd name="T55" fmla="*/ 345 h 2193"/>
                <a:gd name="T56" fmla="*/ 53 w 970"/>
                <a:gd name="T57" fmla="*/ 319 h 2193"/>
                <a:gd name="T58" fmla="*/ 26 w 970"/>
                <a:gd name="T59" fmla="*/ 285 h 2193"/>
                <a:gd name="T60" fmla="*/ 10 w 970"/>
                <a:gd name="T61" fmla="*/ 248 h 2193"/>
                <a:gd name="T62" fmla="*/ 0 w 970"/>
                <a:gd name="T63" fmla="*/ 209 h 2193"/>
                <a:gd name="T64" fmla="*/ 0 w 970"/>
                <a:gd name="T65" fmla="*/ 166 h 2193"/>
                <a:gd name="T66" fmla="*/ 10 w 970"/>
                <a:gd name="T67" fmla="*/ 125 h 2193"/>
                <a:gd name="T68" fmla="*/ 28 w 970"/>
                <a:gd name="T69" fmla="*/ 86 h 2193"/>
                <a:gd name="T70" fmla="*/ 54 w 970"/>
                <a:gd name="T71" fmla="*/ 54 h 2193"/>
                <a:gd name="T72" fmla="*/ 86 w 970"/>
                <a:gd name="T73" fmla="*/ 28 h 2193"/>
                <a:gd name="T74" fmla="*/ 123 w 970"/>
                <a:gd name="T75" fmla="*/ 10 h 2193"/>
                <a:gd name="T76" fmla="*/ 164 w 970"/>
                <a:gd name="T77" fmla="*/ 0 h 2193"/>
                <a:gd name="T78" fmla="*/ 205 w 970"/>
                <a:gd name="T79" fmla="*/ 0 h 2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0" h="2193">
                  <a:moveTo>
                    <a:pt x="205" y="0"/>
                  </a:moveTo>
                  <a:lnTo>
                    <a:pt x="248" y="11"/>
                  </a:lnTo>
                  <a:lnTo>
                    <a:pt x="846" y="222"/>
                  </a:lnTo>
                  <a:lnTo>
                    <a:pt x="885" y="240"/>
                  </a:lnTo>
                  <a:lnTo>
                    <a:pt x="916" y="266"/>
                  </a:lnTo>
                  <a:lnTo>
                    <a:pt x="942" y="300"/>
                  </a:lnTo>
                  <a:lnTo>
                    <a:pt x="961" y="335"/>
                  </a:lnTo>
                  <a:lnTo>
                    <a:pt x="970" y="376"/>
                  </a:lnTo>
                  <a:lnTo>
                    <a:pt x="970" y="417"/>
                  </a:lnTo>
                  <a:lnTo>
                    <a:pt x="959" y="460"/>
                  </a:lnTo>
                  <a:lnTo>
                    <a:pt x="391" y="2071"/>
                  </a:lnTo>
                  <a:lnTo>
                    <a:pt x="373" y="2110"/>
                  </a:lnTo>
                  <a:lnTo>
                    <a:pt x="347" y="2141"/>
                  </a:lnTo>
                  <a:lnTo>
                    <a:pt x="315" y="2167"/>
                  </a:lnTo>
                  <a:lnTo>
                    <a:pt x="278" y="2184"/>
                  </a:lnTo>
                  <a:lnTo>
                    <a:pt x="237" y="2193"/>
                  </a:lnTo>
                  <a:lnTo>
                    <a:pt x="196" y="2193"/>
                  </a:lnTo>
                  <a:lnTo>
                    <a:pt x="153" y="2184"/>
                  </a:lnTo>
                  <a:lnTo>
                    <a:pt x="114" y="2166"/>
                  </a:lnTo>
                  <a:lnTo>
                    <a:pt x="82" y="2139"/>
                  </a:lnTo>
                  <a:lnTo>
                    <a:pt x="56" y="2106"/>
                  </a:lnTo>
                  <a:lnTo>
                    <a:pt x="39" y="2071"/>
                  </a:lnTo>
                  <a:lnTo>
                    <a:pt x="30" y="2030"/>
                  </a:lnTo>
                  <a:lnTo>
                    <a:pt x="30" y="1989"/>
                  </a:lnTo>
                  <a:lnTo>
                    <a:pt x="39" y="1946"/>
                  </a:lnTo>
                  <a:lnTo>
                    <a:pt x="546" y="512"/>
                  </a:lnTo>
                  <a:lnTo>
                    <a:pt x="123" y="363"/>
                  </a:lnTo>
                  <a:lnTo>
                    <a:pt x="84" y="345"/>
                  </a:lnTo>
                  <a:lnTo>
                    <a:pt x="53" y="319"/>
                  </a:lnTo>
                  <a:lnTo>
                    <a:pt x="26" y="285"/>
                  </a:lnTo>
                  <a:lnTo>
                    <a:pt x="10" y="248"/>
                  </a:lnTo>
                  <a:lnTo>
                    <a:pt x="0" y="209"/>
                  </a:lnTo>
                  <a:lnTo>
                    <a:pt x="0" y="166"/>
                  </a:lnTo>
                  <a:lnTo>
                    <a:pt x="10" y="125"/>
                  </a:lnTo>
                  <a:lnTo>
                    <a:pt x="28" y="86"/>
                  </a:lnTo>
                  <a:lnTo>
                    <a:pt x="54" y="54"/>
                  </a:lnTo>
                  <a:lnTo>
                    <a:pt x="86" y="28"/>
                  </a:lnTo>
                  <a:lnTo>
                    <a:pt x="123" y="10"/>
                  </a:lnTo>
                  <a:lnTo>
                    <a:pt x="164" y="0"/>
                  </a:lnTo>
                  <a:lnTo>
                    <a:pt x="205" y="0"/>
                  </a:lnTo>
                  <a:close/>
                </a:path>
              </a:pathLst>
            </a:custGeom>
            <a:solidFill>
              <a:srgbClr val="FFBA47"/>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12" name="Freeform 15"/>
            <p:cNvSpPr>
              <a:spLocks/>
            </p:cNvSpPr>
            <p:nvPr/>
          </p:nvSpPr>
          <p:spPr bwMode="auto">
            <a:xfrm>
              <a:off x="11869738" y="7685088"/>
              <a:ext cx="295275" cy="566738"/>
            </a:xfrm>
            <a:custGeom>
              <a:avLst/>
              <a:gdLst>
                <a:gd name="T0" fmla="*/ 281 w 372"/>
                <a:gd name="T1" fmla="*/ 0 h 713"/>
                <a:gd name="T2" fmla="*/ 310 w 372"/>
                <a:gd name="T3" fmla="*/ 6 h 713"/>
                <a:gd name="T4" fmla="*/ 337 w 372"/>
                <a:gd name="T5" fmla="*/ 19 h 713"/>
                <a:gd name="T6" fmla="*/ 355 w 372"/>
                <a:gd name="T7" fmla="*/ 41 h 713"/>
                <a:gd name="T8" fmla="*/ 368 w 372"/>
                <a:gd name="T9" fmla="*/ 65 h 713"/>
                <a:gd name="T10" fmla="*/ 372 w 372"/>
                <a:gd name="T11" fmla="*/ 95 h 713"/>
                <a:gd name="T12" fmla="*/ 366 w 372"/>
                <a:gd name="T13" fmla="*/ 123 h 713"/>
                <a:gd name="T14" fmla="*/ 180 w 372"/>
                <a:gd name="T15" fmla="*/ 652 h 713"/>
                <a:gd name="T16" fmla="*/ 165 w 372"/>
                <a:gd name="T17" fmla="*/ 676 h 713"/>
                <a:gd name="T18" fmla="*/ 145 w 372"/>
                <a:gd name="T19" fmla="*/ 697 h 713"/>
                <a:gd name="T20" fmla="*/ 121 w 372"/>
                <a:gd name="T21" fmla="*/ 708 h 713"/>
                <a:gd name="T22" fmla="*/ 93 w 372"/>
                <a:gd name="T23" fmla="*/ 713 h 713"/>
                <a:gd name="T24" fmla="*/ 61 w 372"/>
                <a:gd name="T25" fmla="*/ 708 h 713"/>
                <a:gd name="T26" fmla="*/ 35 w 372"/>
                <a:gd name="T27" fmla="*/ 693 h 713"/>
                <a:gd name="T28" fmla="*/ 16 w 372"/>
                <a:gd name="T29" fmla="*/ 672 h 713"/>
                <a:gd name="T30" fmla="*/ 3 w 372"/>
                <a:gd name="T31" fmla="*/ 646 h 713"/>
                <a:gd name="T32" fmla="*/ 0 w 372"/>
                <a:gd name="T33" fmla="*/ 618 h 713"/>
                <a:gd name="T34" fmla="*/ 5 w 372"/>
                <a:gd name="T35" fmla="*/ 589 h 713"/>
                <a:gd name="T36" fmla="*/ 191 w 372"/>
                <a:gd name="T37" fmla="*/ 62 h 713"/>
                <a:gd name="T38" fmla="*/ 206 w 372"/>
                <a:gd name="T39" fmla="*/ 36 h 713"/>
                <a:gd name="T40" fmla="*/ 227 w 372"/>
                <a:gd name="T41" fmla="*/ 17 h 713"/>
                <a:gd name="T42" fmla="*/ 253 w 372"/>
                <a:gd name="T43" fmla="*/ 4 h 713"/>
                <a:gd name="T44" fmla="*/ 281 w 372"/>
                <a:gd name="T45"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2" h="713">
                  <a:moveTo>
                    <a:pt x="281" y="0"/>
                  </a:moveTo>
                  <a:lnTo>
                    <a:pt x="310" y="6"/>
                  </a:lnTo>
                  <a:lnTo>
                    <a:pt x="337" y="19"/>
                  </a:lnTo>
                  <a:lnTo>
                    <a:pt x="355" y="41"/>
                  </a:lnTo>
                  <a:lnTo>
                    <a:pt x="368" y="65"/>
                  </a:lnTo>
                  <a:lnTo>
                    <a:pt x="372" y="95"/>
                  </a:lnTo>
                  <a:lnTo>
                    <a:pt x="366" y="123"/>
                  </a:lnTo>
                  <a:lnTo>
                    <a:pt x="180" y="652"/>
                  </a:lnTo>
                  <a:lnTo>
                    <a:pt x="165" y="676"/>
                  </a:lnTo>
                  <a:lnTo>
                    <a:pt x="145" y="697"/>
                  </a:lnTo>
                  <a:lnTo>
                    <a:pt x="121" y="708"/>
                  </a:lnTo>
                  <a:lnTo>
                    <a:pt x="93" y="713"/>
                  </a:lnTo>
                  <a:lnTo>
                    <a:pt x="61" y="708"/>
                  </a:lnTo>
                  <a:lnTo>
                    <a:pt x="35" y="693"/>
                  </a:lnTo>
                  <a:lnTo>
                    <a:pt x="16" y="672"/>
                  </a:lnTo>
                  <a:lnTo>
                    <a:pt x="3" y="646"/>
                  </a:lnTo>
                  <a:lnTo>
                    <a:pt x="0" y="618"/>
                  </a:lnTo>
                  <a:lnTo>
                    <a:pt x="5" y="589"/>
                  </a:lnTo>
                  <a:lnTo>
                    <a:pt x="191" y="62"/>
                  </a:lnTo>
                  <a:lnTo>
                    <a:pt x="206" y="36"/>
                  </a:lnTo>
                  <a:lnTo>
                    <a:pt x="227" y="17"/>
                  </a:lnTo>
                  <a:lnTo>
                    <a:pt x="253" y="4"/>
                  </a:lnTo>
                  <a:lnTo>
                    <a:pt x="281" y="0"/>
                  </a:lnTo>
                  <a:close/>
                </a:path>
              </a:pathLst>
            </a:custGeom>
            <a:solidFill>
              <a:srgbClr val="91A8DD"/>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13" name="Freeform 16"/>
            <p:cNvSpPr>
              <a:spLocks/>
            </p:cNvSpPr>
            <p:nvPr/>
          </p:nvSpPr>
          <p:spPr bwMode="auto">
            <a:xfrm>
              <a:off x="11899901" y="7435850"/>
              <a:ext cx="501650" cy="569913"/>
            </a:xfrm>
            <a:custGeom>
              <a:avLst/>
              <a:gdLst>
                <a:gd name="T0" fmla="*/ 67 w 633"/>
                <a:gd name="T1" fmla="*/ 0 h 718"/>
                <a:gd name="T2" fmla="*/ 633 w 633"/>
                <a:gd name="T3" fmla="*/ 199 h 718"/>
                <a:gd name="T4" fmla="*/ 301 w 633"/>
                <a:gd name="T5" fmla="*/ 718 h 718"/>
                <a:gd name="T6" fmla="*/ 0 w 633"/>
                <a:gd name="T7" fmla="*/ 610 h 718"/>
                <a:gd name="T8" fmla="*/ 67 w 633"/>
                <a:gd name="T9" fmla="*/ 0 h 718"/>
              </a:gdLst>
              <a:ahLst/>
              <a:cxnLst>
                <a:cxn ang="0">
                  <a:pos x="T0" y="T1"/>
                </a:cxn>
                <a:cxn ang="0">
                  <a:pos x="T2" y="T3"/>
                </a:cxn>
                <a:cxn ang="0">
                  <a:pos x="T4" y="T5"/>
                </a:cxn>
                <a:cxn ang="0">
                  <a:pos x="T6" y="T7"/>
                </a:cxn>
                <a:cxn ang="0">
                  <a:pos x="T8" y="T9"/>
                </a:cxn>
              </a:cxnLst>
              <a:rect l="0" t="0" r="r" b="b"/>
              <a:pathLst>
                <a:path w="633" h="718">
                  <a:moveTo>
                    <a:pt x="67" y="0"/>
                  </a:moveTo>
                  <a:lnTo>
                    <a:pt x="633" y="199"/>
                  </a:lnTo>
                  <a:lnTo>
                    <a:pt x="301" y="718"/>
                  </a:lnTo>
                  <a:lnTo>
                    <a:pt x="0" y="610"/>
                  </a:lnTo>
                  <a:lnTo>
                    <a:pt x="67" y="0"/>
                  </a:lnTo>
                  <a:close/>
                </a:path>
              </a:pathLst>
            </a:custGeom>
            <a:solidFill>
              <a:srgbClr val="FFBA47"/>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14" name="Freeform 17"/>
            <p:cNvSpPr>
              <a:spLocks/>
            </p:cNvSpPr>
            <p:nvPr/>
          </p:nvSpPr>
          <p:spPr bwMode="auto">
            <a:xfrm>
              <a:off x="13136563" y="3965575"/>
              <a:ext cx="398463" cy="454025"/>
            </a:xfrm>
            <a:custGeom>
              <a:avLst/>
              <a:gdLst>
                <a:gd name="T0" fmla="*/ 285 w 503"/>
                <a:gd name="T1" fmla="*/ 0 h 572"/>
                <a:gd name="T2" fmla="*/ 326 w 503"/>
                <a:gd name="T3" fmla="*/ 2 h 572"/>
                <a:gd name="T4" fmla="*/ 367 w 503"/>
                <a:gd name="T5" fmla="*/ 11 h 572"/>
                <a:gd name="T6" fmla="*/ 404 w 503"/>
                <a:gd name="T7" fmla="*/ 30 h 572"/>
                <a:gd name="T8" fmla="*/ 436 w 503"/>
                <a:gd name="T9" fmla="*/ 54 h 572"/>
                <a:gd name="T10" fmla="*/ 462 w 503"/>
                <a:gd name="T11" fmla="*/ 82 h 572"/>
                <a:gd name="T12" fmla="*/ 482 w 503"/>
                <a:gd name="T13" fmla="*/ 117 h 572"/>
                <a:gd name="T14" fmla="*/ 497 w 503"/>
                <a:gd name="T15" fmla="*/ 153 h 572"/>
                <a:gd name="T16" fmla="*/ 503 w 503"/>
                <a:gd name="T17" fmla="*/ 192 h 572"/>
                <a:gd name="T18" fmla="*/ 501 w 503"/>
                <a:gd name="T19" fmla="*/ 233 h 572"/>
                <a:gd name="T20" fmla="*/ 492 w 503"/>
                <a:gd name="T21" fmla="*/ 274 h 572"/>
                <a:gd name="T22" fmla="*/ 386 w 503"/>
                <a:gd name="T23" fmla="*/ 572 h 572"/>
                <a:gd name="T24" fmla="*/ 0 w 503"/>
                <a:gd name="T25" fmla="*/ 436 h 572"/>
                <a:gd name="T26" fmla="*/ 104 w 503"/>
                <a:gd name="T27" fmla="*/ 136 h 572"/>
                <a:gd name="T28" fmla="*/ 123 w 503"/>
                <a:gd name="T29" fmla="*/ 99 h 572"/>
                <a:gd name="T30" fmla="*/ 147 w 503"/>
                <a:gd name="T31" fmla="*/ 67 h 572"/>
                <a:gd name="T32" fmla="*/ 177 w 503"/>
                <a:gd name="T33" fmla="*/ 41 h 572"/>
                <a:gd name="T34" fmla="*/ 211 w 503"/>
                <a:gd name="T35" fmla="*/ 20 h 572"/>
                <a:gd name="T36" fmla="*/ 248 w 503"/>
                <a:gd name="T37" fmla="*/ 7 h 572"/>
                <a:gd name="T38" fmla="*/ 285 w 503"/>
                <a:gd name="T39"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3" h="572">
                  <a:moveTo>
                    <a:pt x="285" y="0"/>
                  </a:moveTo>
                  <a:lnTo>
                    <a:pt x="326" y="2"/>
                  </a:lnTo>
                  <a:lnTo>
                    <a:pt x="367" y="11"/>
                  </a:lnTo>
                  <a:lnTo>
                    <a:pt x="404" y="30"/>
                  </a:lnTo>
                  <a:lnTo>
                    <a:pt x="436" y="54"/>
                  </a:lnTo>
                  <a:lnTo>
                    <a:pt x="462" y="82"/>
                  </a:lnTo>
                  <a:lnTo>
                    <a:pt x="482" y="117"/>
                  </a:lnTo>
                  <a:lnTo>
                    <a:pt x="497" y="153"/>
                  </a:lnTo>
                  <a:lnTo>
                    <a:pt x="503" y="192"/>
                  </a:lnTo>
                  <a:lnTo>
                    <a:pt x="501" y="233"/>
                  </a:lnTo>
                  <a:lnTo>
                    <a:pt x="492" y="274"/>
                  </a:lnTo>
                  <a:lnTo>
                    <a:pt x="386" y="572"/>
                  </a:lnTo>
                  <a:lnTo>
                    <a:pt x="0" y="436"/>
                  </a:lnTo>
                  <a:lnTo>
                    <a:pt x="104" y="136"/>
                  </a:lnTo>
                  <a:lnTo>
                    <a:pt x="123" y="99"/>
                  </a:lnTo>
                  <a:lnTo>
                    <a:pt x="147" y="67"/>
                  </a:lnTo>
                  <a:lnTo>
                    <a:pt x="177" y="41"/>
                  </a:lnTo>
                  <a:lnTo>
                    <a:pt x="211" y="20"/>
                  </a:lnTo>
                  <a:lnTo>
                    <a:pt x="248" y="7"/>
                  </a:lnTo>
                  <a:lnTo>
                    <a:pt x="285" y="0"/>
                  </a:lnTo>
                  <a:close/>
                </a:path>
              </a:pathLst>
            </a:custGeom>
            <a:solidFill>
              <a:schemeClr val="accent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28" name="Group 127"/>
          <p:cNvGrpSpPr/>
          <p:nvPr/>
        </p:nvGrpSpPr>
        <p:grpSpPr>
          <a:xfrm>
            <a:off x="3229261" y="4174264"/>
            <a:ext cx="249060" cy="249060"/>
            <a:chOff x="2989716" y="3091657"/>
            <a:chExt cx="4876800" cy="4876800"/>
          </a:xfrm>
        </p:grpSpPr>
        <p:sp>
          <p:nvSpPr>
            <p:cNvPr id="129"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30"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31"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32"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33" name="Group 132"/>
          <p:cNvGrpSpPr/>
          <p:nvPr/>
        </p:nvGrpSpPr>
        <p:grpSpPr>
          <a:xfrm>
            <a:off x="843270" y="5476864"/>
            <a:ext cx="366455" cy="366455"/>
            <a:chOff x="2989716" y="3091657"/>
            <a:chExt cx="4876800" cy="4876800"/>
          </a:xfrm>
        </p:grpSpPr>
        <p:sp>
          <p:nvSpPr>
            <p:cNvPr id="134"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35"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36"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37"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sp>
        <p:nvSpPr>
          <p:cNvPr id="138" name="Rectangle 137"/>
          <p:cNvSpPr/>
          <p:nvPr/>
        </p:nvSpPr>
        <p:spPr>
          <a:xfrm>
            <a:off x="1182383" y="5552972"/>
            <a:ext cx="833883" cy="257122"/>
          </a:xfrm>
          <a:prstGeom prst="rect">
            <a:avLst/>
          </a:prstGeom>
        </p:spPr>
        <p:txBody>
          <a:bodyPr wrap="none">
            <a:spAutoFit/>
          </a:bodyPr>
          <a:lstStyle/>
          <a:p>
            <a:pPr algn="ctr"/>
            <a:r>
              <a:rPr lang="en-US" sz="1071" b="1">
                <a:latin typeface="Calibri" panose="020F0502020204030204" pitchFamily="34" charset="0"/>
                <a:cs typeface="Calibri" panose="020F0502020204030204" pitchFamily="34" charset="0"/>
              </a:rPr>
              <a:t>Automated</a:t>
            </a:r>
          </a:p>
        </p:txBody>
      </p:sp>
      <p:grpSp>
        <p:nvGrpSpPr>
          <p:cNvPr id="139" name="Group 138"/>
          <p:cNvGrpSpPr/>
          <p:nvPr/>
        </p:nvGrpSpPr>
        <p:grpSpPr>
          <a:xfrm>
            <a:off x="3229261" y="5755678"/>
            <a:ext cx="249060" cy="249060"/>
            <a:chOff x="2989716" y="3091657"/>
            <a:chExt cx="4876800" cy="4876800"/>
          </a:xfrm>
        </p:grpSpPr>
        <p:sp>
          <p:nvSpPr>
            <p:cNvPr id="140"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41"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42"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43"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44" name="Group 143"/>
          <p:cNvGrpSpPr/>
          <p:nvPr/>
        </p:nvGrpSpPr>
        <p:grpSpPr>
          <a:xfrm>
            <a:off x="5873490" y="3259266"/>
            <a:ext cx="249060" cy="249060"/>
            <a:chOff x="2989716" y="3091657"/>
            <a:chExt cx="4876800" cy="4876800"/>
          </a:xfrm>
        </p:grpSpPr>
        <p:sp>
          <p:nvSpPr>
            <p:cNvPr id="145"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46"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47"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48"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49" name="Group 148"/>
          <p:cNvGrpSpPr/>
          <p:nvPr/>
        </p:nvGrpSpPr>
        <p:grpSpPr>
          <a:xfrm>
            <a:off x="5873490" y="4928812"/>
            <a:ext cx="249060" cy="249060"/>
            <a:chOff x="2989716" y="3091657"/>
            <a:chExt cx="4876800" cy="4876800"/>
          </a:xfrm>
        </p:grpSpPr>
        <p:sp>
          <p:nvSpPr>
            <p:cNvPr id="150"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51"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52"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53"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54" name="Group 153"/>
          <p:cNvGrpSpPr/>
          <p:nvPr/>
        </p:nvGrpSpPr>
        <p:grpSpPr>
          <a:xfrm>
            <a:off x="9179828" y="2807178"/>
            <a:ext cx="249060" cy="249060"/>
            <a:chOff x="2989716" y="3091657"/>
            <a:chExt cx="4876800" cy="4876800"/>
          </a:xfrm>
        </p:grpSpPr>
        <p:sp>
          <p:nvSpPr>
            <p:cNvPr id="155"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56"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57"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58"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59" name="Group 158"/>
          <p:cNvGrpSpPr/>
          <p:nvPr/>
        </p:nvGrpSpPr>
        <p:grpSpPr>
          <a:xfrm>
            <a:off x="9177399" y="4329948"/>
            <a:ext cx="254575" cy="254575"/>
            <a:chOff x="8945563" y="3965575"/>
            <a:chExt cx="4876801" cy="4876801"/>
          </a:xfrm>
        </p:grpSpPr>
        <p:sp>
          <p:nvSpPr>
            <p:cNvPr id="160" name="Freeform 7"/>
            <p:cNvSpPr>
              <a:spLocks/>
            </p:cNvSpPr>
            <p:nvPr/>
          </p:nvSpPr>
          <p:spPr bwMode="auto">
            <a:xfrm>
              <a:off x="8945563" y="4887913"/>
              <a:ext cx="4876800" cy="3954463"/>
            </a:xfrm>
            <a:custGeom>
              <a:avLst/>
              <a:gdLst>
                <a:gd name="T0" fmla="*/ 1195 w 6144"/>
                <a:gd name="T1" fmla="*/ 0 h 4982"/>
                <a:gd name="T2" fmla="*/ 4949 w 6144"/>
                <a:gd name="T3" fmla="*/ 0 h 4982"/>
                <a:gd name="T4" fmla="*/ 6144 w 6144"/>
                <a:gd name="T5" fmla="*/ 4982 h 4982"/>
                <a:gd name="T6" fmla="*/ 0 w 6144"/>
                <a:gd name="T7" fmla="*/ 4982 h 4982"/>
                <a:gd name="T8" fmla="*/ 1195 w 6144"/>
                <a:gd name="T9" fmla="*/ 0 h 4982"/>
              </a:gdLst>
              <a:ahLst/>
              <a:cxnLst>
                <a:cxn ang="0">
                  <a:pos x="T0" y="T1"/>
                </a:cxn>
                <a:cxn ang="0">
                  <a:pos x="T2" y="T3"/>
                </a:cxn>
                <a:cxn ang="0">
                  <a:pos x="T4" y="T5"/>
                </a:cxn>
                <a:cxn ang="0">
                  <a:pos x="T6" y="T7"/>
                </a:cxn>
                <a:cxn ang="0">
                  <a:pos x="T8" y="T9"/>
                </a:cxn>
              </a:cxnLst>
              <a:rect l="0" t="0" r="r" b="b"/>
              <a:pathLst>
                <a:path w="6144" h="4982">
                  <a:moveTo>
                    <a:pt x="1195" y="0"/>
                  </a:moveTo>
                  <a:lnTo>
                    <a:pt x="4949" y="0"/>
                  </a:lnTo>
                  <a:lnTo>
                    <a:pt x="6144" y="4982"/>
                  </a:lnTo>
                  <a:lnTo>
                    <a:pt x="0" y="4982"/>
                  </a:lnTo>
                  <a:lnTo>
                    <a:pt x="1195" y="0"/>
                  </a:lnTo>
                  <a:close/>
                </a:path>
              </a:pathLst>
            </a:custGeom>
            <a:solidFill>
              <a:schemeClr val="accent3">
                <a:lumMod val="20000"/>
                <a:lumOff val="8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61" name="Freeform 8"/>
            <p:cNvSpPr>
              <a:spLocks/>
            </p:cNvSpPr>
            <p:nvPr/>
          </p:nvSpPr>
          <p:spPr bwMode="auto">
            <a:xfrm>
              <a:off x="12382501" y="4887913"/>
              <a:ext cx="1439863" cy="3954463"/>
            </a:xfrm>
            <a:custGeom>
              <a:avLst/>
              <a:gdLst>
                <a:gd name="T0" fmla="*/ 0 w 1813"/>
                <a:gd name="T1" fmla="*/ 0 h 4982"/>
                <a:gd name="T2" fmla="*/ 618 w 1813"/>
                <a:gd name="T3" fmla="*/ 0 h 4982"/>
                <a:gd name="T4" fmla="*/ 1813 w 1813"/>
                <a:gd name="T5" fmla="*/ 4982 h 4982"/>
                <a:gd name="T6" fmla="*/ 1195 w 1813"/>
                <a:gd name="T7" fmla="*/ 4982 h 4982"/>
                <a:gd name="T8" fmla="*/ 0 w 1813"/>
                <a:gd name="T9" fmla="*/ 0 h 4982"/>
              </a:gdLst>
              <a:ahLst/>
              <a:cxnLst>
                <a:cxn ang="0">
                  <a:pos x="T0" y="T1"/>
                </a:cxn>
                <a:cxn ang="0">
                  <a:pos x="T2" y="T3"/>
                </a:cxn>
                <a:cxn ang="0">
                  <a:pos x="T4" y="T5"/>
                </a:cxn>
                <a:cxn ang="0">
                  <a:pos x="T6" y="T7"/>
                </a:cxn>
                <a:cxn ang="0">
                  <a:pos x="T8" y="T9"/>
                </a:cxn>
              </a:cxnLst>
              <a:rect l="0" t="0" r="r" b="b"/>
              <a:pathLst>
                <a:path w="1813" h="4982">
                  <a:moveTo>
                    <a:pt x="0" y="0"/>
                  </a:moveTo>
                  <a:lnTo>
                    <a:pt x="618" y="0"/>
                  </a:lnTo>
                  <a:lnTo>
                    <a:pt x="1813" y="4982"/>
                  </a:lnTo>
                  <a:lnTo>
                    <a:pt x="1195" y="4982"/>
                  </a:lnTo>
                  <a:lnTo>
                    <a:pt x="0" y="0"/>
                  </a:lnTo>
                  <a:close/>
                </a:path>
              </a:pathLst>
            </a:custGeom>
            <a:solidFill>
              <a:schemeClr val="accent2">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62" name="Freeform 9"/>
            <p:cNvSpPr>
              <a:spLocks/>
            </p:cNvSpPr>
            <p:nvPr/>
          </p:nvSpPr>
          <p:spPr bwMode="auto">
            <a:xfrm>
              <a:off x="10342563" y="5564188"/>
              <a:ext cx="1909763" cy="147638"/>
            </a:xfrm>
            <a:custGeom>
              <a:avLst/>
              <a:gdLst>
                <a:gd name="T0" fmla="*/ 94 w 2408"/>
                <a:gd name="T1" fmla="*/ 0 h 187"/>
                <a:gd name="T2" fmla="*/ 2315 w 2408"/>
                <a:gd name="T3" fmla="*/ 0 h 187"/>
                <a:gd name="T4" fmla="*/ 2344 w 2408"/>
                <a:gd name="T5" fmla="*/ 6 h 187"/>
                <a:gd name="T6" fmla="*/ 2371 w 2408"/>
                <a:gd name="T7" fmla="*/ 19 h 187"/>
                <a:gd name="T8" fmla="*/ 2389 w 2408"/>
                <a:gd name="T9" fmla="*/ 40 h 187"/>
                <a:gd name="T10" fmla="*/ 2402 w 2408"/>
                <a:gd name="T11" fmla="*/ 64 h 187"/>
                <a:gd name="T12" fmla="*/ 2408 w 2408"/>
                <a:gd name="T13" fmla="*/ 94 h 187"/>
                <a:gd name="T14" fmla="*/ 2402 w 2408"/>
                <a:gd name="T15" fmla="*/ 123 h 187"/>
                <a:gd name="T16" fmla="*/ 2389 w 2408"/>
                <a:gd name="T17" fmla="*/ 148 h 187"/>
                <a:gd name="T18" fmla="*/ 2371 w 2408"/>
                <a:gd name="T19" fmla="*/ 168 h 187"/>
                <a:gd name="T20" fmla="*/ 2344 w 2408"/>
                <a:gd name="T21" fmla="*/ 181 h 187"/>
                <a:gd name="T22" fmla="*/ 2315 w 2408"/>
                <a:gd name="T23" fmla="*/ 187 h 187"/>
                <a:gd name="T24" fmla="*/ 94 w 2408"/>
                <a:gd name="T25" fmla="*/ 187 h 187"/>
                <a:gd name="T26" fmla="*/ 66 w 2408"/>
                <a:gd name="T27" fmla="*/ 181 h 187"/>
                <a:gd name="T28" fmla="*/ 40 w 2408"/>
                <a:gd name="T29" fmla="*/ 168 h 187"/>
                <a:gd name="T30" fmla="*/ 19 w 2408"/>
                <a:gd name="T31" fmla="*/ 148 h 187"/>
                <a:gd name="T32" fmla="*/ 6 w 2408"/>
                <a:gd name="T33" fmla="*/ 123 h 187"/>
                <a:gd name="T34" fmla="*/ 0 w 2408"/>
                <a:gd name="T35" fmla="*/ 94 h 187"/>
                <a:gd name="T36" fmla="*/ 6 w 2408"/>
                <a:gd name="T37" fmla="*/ 64 h 187"/>
                <a:gd name="T38" fmla="*/ 19 w 2408"/>
                <a:gd name="T39" fmla="*/ 40 h 187"/>
                <a:gd name="T40" fmla="*/ 40 w 2408"/>
                <a:gd name="T41" fmla="*/ 19 h 187"/>
                <a:gd name="T42" fmla="*/ 66 w 2408"/>
                <a:gd name="T43" fmla="*/ 6 h 187"/>
                <a:gd name="T44" fmla="*/ 94 w 2408"/>
                <a:gd name="T4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8" h="187">
                  <a:moveTo>
                    <a:pt x="94" y="0"/>
                  </a:moveTo>
                  <a:lnTo>
                    <a:pt x="2315" y="0"/>
                  </a:lnTo>
                  <a:lnTo>
                    <a:pt x="2344" y="6"/>
                  </a:lnTo>
                  <a:lnTo>
                    <a:pt x="2371" y="19"/>
                  </a:lnTo>
                  <a:lnTo>
                    <a:pt x="2389" y="40"/>
                  </a:lnTo>
                  <a:lnTo>
                    <a:pt x="2402" y="64"/>
                  </a:lnTo>
                  <a:lnTo>
                    <a:pt x="2408" y="94"/>
                  </a:lnTo>
                  <a:lnTo>
                    <a:pt x="2402" y="123"/>
                  </a:lnTo>
                  <a:lnTo>
                    <a:pt x="2389" y="148"/>
                  </a:lnTo>
                  <a:lnTo>
                    <a:pt x="2371" y="168"/>
                  </a:lnTo>
                  <a:lnTo>
                    <a:pt x="2344" y="181"/>
                  </a:lnTo>
                  <a:lnTo>
                    <a:pt x="2315" y="187"/>
                  </a:lnTo>
                  <a:lnTo>
                    <a:pt x="94" y="187"/>
                  </a:lnTo>
                  <a:lnTo>
                    <a:pt x="66" y="181"/>
                  </a:lnTo>
                  <a:lnTo>
                    <a:pt x="40" y="168"/>
                  </a:lnTo>
                  <a:lnTo>
                    <a:pt x="19" y="148"/>
                  </a:lnTo>
                  <a:lnTo>
                    <a:pt x="6" y="123"/>
                  </a:lnTo>
                  <a:lnTo>
                    <a:pt x="0" y="94"/>
                  </a:lnTo>
                  <a:lnTo>
                    <a:pt x="6" y="64"/>
                  </a:lnTo>
                  <a:lnTo>
                    <a:pt x="19" y="40"/>
                  </a:lnTo>
                  <a:lnTo>
                    <a:pt x="40" y="19"/>
                  </a:lnTo>
                  <a:lnTo>
                    <a:pt x="66" y="6"/>
                  </a:lnTo>
                  <a:lnTo>
                    <a:pt x="94" y="0"/>
                  </a:lnTo>
                  <a:close/>
                </a:path>
              </a:pathLst>
            </a:custGeom>
            <a:solidFill>
              <a:schemeClr val="accent3">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63" name="Freeform 10"/>
            <p:cNvSpPr>
              <a:spLocks/>
            </p:cNvSpPr>
            <p:nvPr/>
          </p:nvSpPr>
          <p:spPr bwMode="auto">
            <a:xfrm>
              <a:off x="10244138" y="6175375"/>
              <a:ext cx="1774825" cy="147638"/>
            </a:xfrm>
            <a:custGeom>
              <a:avLst/>
              <a:gdLst>
                <a:gd name="T0" fmla="*/ 93 w 2236"/>
                <a:gd name="T1" fmla="*/ 0 h 187"/>
                <a:gd name="T2" fmla="*/ 2142 w 2236"/>
                <a:gd name="T3" fmla="*/ 0 h 187"/>
                <a:gd name="T4" fmla="*/ 2172 w 2236"/>
                <a:gd name="T5" fmla="*/ 4 h 187"/>
                <a:gd name="T6" fmla="*/ 2198 w 2236"/>
                <a:gd name="T7" fmla="*/ 19 h 187"/>
                <a:gd name="T8" fmla="*/ 2217 w 2236"/>
                <a:gd name="T9" fmla="*/ 38 h 187"/>
                <a:gd name="T10" fmla="*/ 2230 w 2236"/>
                <a:gd name="T11" fmla="*/ 64 h 187"/>
                <a:gd name="T12" fmla="*/ 2236 w 2236"/>
                <a:gd name="T13" fmla="*/ 94 h 187"/>
                <a:gd name="T14" fmla="*/ 2230 w 2236"/>
                <a:gd name="T15" fmla="*/ 121 h 187"/>
                <a:gd name="T16" fmla="*/ 2217 w 2236"/>
                <a:gd name="T17" fmla="*/ 148 h 187"/>
                <a:gd name="T18" fmla="*/ 2198 w 2236"/>
                <a:gd name="T19" fmla="*/ 168 h 187"/>
                <a:gd name="T20" fmla="*/ 2172 w 2236"/>
                <a:gd name="T21" fmla="*/ 181 h 187"/>
                <a:gd name="T22" fmla="*/ 2142 w 2236"/>
                <a:gd name="T23" fmla="*/ 187 h 187"/>
                <a:gd name="T24" fmla="*/ 93 w 2236"/>
                <a:gd name="T25" fmla="*/ 187 h 187"/>
                <a:gd name="T26" fmla="*/ 63 w 2236"/>
                <a:gd name="T27" fmla="*/ 181 h 187"/>
                <a:gd name="T28" fmla="*/ 37 w 2236"/>
                <a:gd name="T29" fmla="*/ 168 h 187"/>
                <a:gd name="T30" fmla="*/ 18 w 2236"/>
                <a:gd name="T31" fmla="*/ 148 h 187"/>
                <a:gd name="T32" fmla="*/ 5 w 2236"/>
                <a:gd name="T33" fmla="*/ 121 h 187"/>
                <a:gd name="T34" fmla="*/ 0 w 2236"/>
                <a:gd name="T35" fmla="*/ 94 h 187"/>
                <a:gd name="T36" fmla="*/ 5 w 2236"/>
                <a:gd name="T37" fmla="*/ 64 h 187"/>
                <a:gd name="T38" fmla="*/ 18 w 2236"/>
                <a:gd name="T39" fmla="*/ 38 h 187"/>
                <a:gd name="T40" fmla="*/ 37 w 2236"/>
                <a:gd name="T41" fmla="*/ 19 h 187"/>
                <a:gd name="T42" fmla="*/ 63 w 2236"/>
                <a:gd name="T43" fmla="*/ 4 h 187"/>
                <a:gd name="T44" fmla="*/ 93 w 2236"/>
                <a:gd name="T4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36" h="187">
                  <a:moveTo>
                    <a:pt x="93" y="0"/>
                  </a:moveTo>
                  <a:lnTo>
                    <a:pt x="2142" y="0"/>
                  </a:lnTo>
                  <a:lnTo>
                    <a:pt x="2172" y="4"/>
                  </a:lnTo>
                  <a:lnTo>
                    <a:pt x="2198" y="19"/>
                  </a:lnTo>
                  <a:lnTo>
                    <a:pt x="2217" y="38"/>
                  </a:lnTo>
                  <a:lnTo>
                    <a:pt x="2230" y="64"/>
                  </a:lnTo>
                  <a:lnTo>
                    <a:pt x="2236" y="94"/>
                  </a:lnTo>
                  <a:lnTo>
                    <a:pt x="2230" y="121"/>
                  </a:lnTo>
                  <a:lnTo>
                    <a:pt x="2217" y="148"/>
                  </a:lnTo>
                  <a:lnTo>
                    <a:pt x="2198" y="168"/>
                  </a:lnTo>
                  <a:lnTo>
                    <a:pt x="2172" y="181"/>
                  </a:lnTo>
                  <a:lnTo>
                    <a:pt x="2142" y="187"/>
                  </a:lnTo>
                  <a:lnTo>
                    <a:pt x="93" y="187"/>
                  </a:lnTo>
                  <a:lnTo>
                    <a:pt x="63" y="181"/>
                  </a:lnTo>
                  <a:lnTo>
                    <a:pt x="37" y="168"/>
                  </a:lnTo>
                  <a:lnTo>
                    <a:pt x="18" y="148"/>
                  </a:lnTo>
                  <a:lnTo>
                    <a:pt x="5" y="121"/>
                  </a:lnTo>
                  <a:lnTo>
                    <a:pt x="0" y="94"/>
                  </a:lnTo>
                  <a:lnTo>
                    <a:pt x="5" y="64"/>
                  </a:lnTo>
                  <a:lnTo>
                    <a:pt x="18" y="38"/>
                  </a:lnTo>
                  <a:lnTo>
                    <a:pt x="37" y="19"/>
                  </a:lnTo>
                  <a:lnTo>
                    <a:pt x="63" y="4"/>
                  </a:lnTo>
                  <a:lnTo>
                    <a:pt x="93" y="0"/>
                  </a:lnTo>
                  <a:close/>
                </a:path>
              </a:pathLst>
            </a:custGeom>
            <a:solidFill>
              <a:schemeClr val="accent3">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64" name="Freeform 11"/>
            <p:cNvSpPr>
              <a:spLocks/>
            </p:cNvSpPr>
            <p:nvPr/>
          </p:nvSpPr>
          <p:spPr bwMode="auto">
            <a:xfrm>
              <a:off x="10126663" y="6784975"/>
              <a:ext cx="1687513" cy="146050"/>
            </a:xfrm>
            <a:custGeom>
              <a:avLst/>
              <a:gdLst>
                <a:gd name="T0" fmla="*/ 93 w 2126"/>
                <a:gd name="T1" fmla="*/ 0 h 185"/>
                <a:gd name="T2" fmla="*/ 2033 w 2126"/>
                <a:gd name="T3" fmla="*/ 0 h 185"/>
                <a:gd name="T4" fmla="*/ 2062 w 2126"/>
                <a:gd name="T5" fmla="*/ 4 h 185"/>
                <a:gd name="T6" fmla="*/ 2089 w 2126"/>
                <a:gd name="T7" fmla="*/ 17 h 185"/>
                <a:gd name="T8" fmla="*/ 2107 w 2126"/>
                <a:gd name="T9" fmla="*/ 38 h 185"/>
                <a:gd name="T10" fmla="*/ 2122 w 2126"/>
                <a:gd name="T11" fmla="*/ 64 h 185"/>
                <a:gd name="T12" fmla="*/ 2126 w 2126"/>
                <a:gd name="T13" fmla="*/ 92 h 185"/>
                <a:gd name="T14" fmla="*/ 2122 w 2126"/>
                <a:gd name="T15" fmla="*/ 121 h 185"/>
                <a:gd name="T16" fmla="*/ 2107 w 2126"/>
                <a:gd name="T17" fmla="*/ 147 h 185"/>
                <a:gd name="T18" fmla="*/ 2089 w 2126"/>
                <a:gd name="T19" fmla="*/ 168 h 185"/>
                <a:gd name="T20" fmla="*/ 2062 w 2126"/>
                <a:gd name="T21" fmla="*/ 181 h 185"/>
                <a:gd name="T22" fmla="*/ 2033 w 2126"/>
                <a:gd name="T23" fmla="*/ 185 h 185"/>
                <a:gd name="T24" fmla="*/ 93 w 2126"/>
                <a:gd name="T25" fmla="*/ 185 h 185"/>
                <a:gd name="T26" fmla="*/ 63 w 2126"/>
                <a:gd name="T27" fmla="*/ 181 h 185"/>
                <a:gd name="T28" fmla="*/ 39 w 2126"/>
                <a:gd name="T29" fmla="*/ 168 h 185"/>
                <a:gd name="T30" fmla="*/ 18 w 2126"/>
                <a:gd name="T31" fmla="*/ 147 h 185"/>
                <a:gd name="T32" fmla="*/ 5 w 2126"/>
                <a:gd name="T33" fmla="*/ 121 h 185"/>
                <a:gd name="T34" fmla="*/ 0 w 2126"/>
                <a:gd name="T35" fmla="*/ 92 h 185"/>
                <a:gd name="T36" fmla="*/ 5 w 2126"/>
                <a:gd name="T37" fmla="*/ 64 h 185"/>
                <a:gd name="T38" fmla="*/ 18 w 2126"/>
                <a:gd name="T39" fmla="*/ 38 h 185"/>
                <a:gd name="T40" fmla="*/ 39 w 2126"/>
                <a:gd name="T41" fmla="*/ 17 h 185"/>
                <a:gd name="T42" fmla="*/ 63 w 2126"/>
                <a:gd name="T43" fmla="*/ 4 h 185"/>
                <a:gd name="T44" fmla="*/ 93 w 2126"/>
                <a:gd name="T4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6" h="185">
                  <a:moveTo>
                    <a:pt x="93" y="0"/>
                  </a:moveTo>
                  <a:lnTo>
                    <a:pt x="2033" y="0"/>
                  </a:lnTo>
                  <a:lnTo>
                    <a:pt x="2062" y="4"/>
                  </a:lnTo>
                  <a:lnTo>
                    <a:pt x="2089" y="17"/>
                  </a:lnTo>
                  <a:lnTo>
                    <a:pt x="2107" y="38"/>
                  </a:lnTo>
                  <a:lnTo>
                    <a:pt x="2122" y="64"/>
                  </a:lnTo>
                  <a:lnTo>
                    <a:pt x="2126" y="92"/>
                  </a:lnTo>
                  <a:lnTo>
                    <a:pt x="2122" y="121"/>
                  </a:lnTo>
                  <a:lnTo>
                    <a:pt x="2107" y="147"/>
                  </a:lnTo>
                  <a:lnTo>
                    <a:pt x="2089" y="168"/>
                  </a:lnTo>
                  <a:lnTo>
                    <a:pt x="2062" y="181"/>
                  </a:lnTo>
                  <a:lnTo>
                    <a:pt x="2033" y="185"/>
                  </a:lnTo>
                  <a:lnTo>
                    <a:pt x="93" y="185"/>
                  </a:lnTo>
                  <a:lnTo>
                    <a:pt x="63" y="181"/>
                  </a:lnTo>
                  <a:lnTo>
                    <a:pt x="39" y="168"/>
                  </a:lnTo>
                  <a:lnTo>
                    <a:pt x="18" y="147"/>
                  </a:lnTo>
                  <a:lnTo>
                    <a:pt x="5" y="121"/>
                  </a:lnTo>
                  <a:lnTo>
                    <a:pt x="0" y="92"/>
                  </a:lnTo>
                  <a:lnTo>
                    <a:pt x="5" y="64"/>
                  </a:lnTo>
                  <a:lnTo>
                    <a:pt x="18" y="38"/>
                  </a:lnTo>
                  <a:lnTo>
                    <a:pt x="39" y="17"/>
                  </a:lnTo>
                  <a:lnTo>
                    <a:pt x="63" y="4"/>
                  </a:lnTo>
                  <a:lnTo>
                    <a:pt x="93" y="0"/>
                  </a:lnTo>
                  <a:close/>
                </a:path>
              </a:pathLst>
            </a:custGeom>
            <a:solidFill>
              <a:schemeClr val="accent3">
                <a:lumMod val="60000"/>
                <a:lumOff val="40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65" name="Freeform 12"/>
            <p:cNvSpPr>
              <a:spLocks noEditPoints="1"/>
            </p:cNvSpPr>
            <p:nvPr/>
          </p:nvSpPr>
          <p:spPr bwMode="auto">
            <a:xfrm>
              <a:off x="9893301" y="7405688"/>
              <a:ext cx="1660525" cy="901700"/>
            </a:xfrm>
            <a:custGeom>
              <a:avLst/>
              <a:gdLst>
                <a:gd name="T0" fmla="*/ 1293 w 2093"/>
                <a:gd name="T1" fmla="*/ 764 h 1136"/>
                <a:gd name="T2" fmla="*/ 1296 w 2093"/>
                <a:gd name="T3" fmla="*/ 769 h 1136"/>
                <a:gd name="T4" fmla="*/ 1294 w 2093"/>
                <a:gd name="T5" fmla="*/ 762 h 1136"/>
                <a:gd name="T6" fmla="*/ 801 w 2093"/>
                <a:gd name="T7" fmla="*/ 6 h 1136"/>
                <a:gd name="T8" fmla="*/ 896 w 2093"/>
                <a:gd name="T9" fmla="*/ 62 h 1136"/>
                <a:gd name="T10" fmla="*/ 943 w 2093"/>
                <a:gd name="T11" fmla="*/ 153 h 1136"/>
                <a:gd name="T12" fmla="*/ 957 w 2093"/>
                <a:gd name="T13" fmla="*/ 261 h 1136"/>
                <a:gd name="T14" fmla="*/ 952 w 2093"/>
                <a:gd name="T15" fmla="*/ 369 h 1136"/>
                <a:gd name="T16" fmla="*/ 926 w 2093"/>
                <a:gd name="T17" fmla="*/ 693 h 1136"/>
                <a:gd name="T18" fmla="*/ 929 w 2093"/>
                <a:gd name="T19" fmla="*/ 752 h 1136"/>
                <a:gd name="T20" fmla="*/ 963 w 2093"/>
                <a:gd name="T21" fmla="*/ 747 h 1136"/>
                <a:gd name="T22" fmla="*/ 1101 w 2093"/>
                <a:gd name="T23" fmla="*/ 669 h 1136"/>
                <a:gd name="T24" fmla="*/ 1235 w 2093"/>
                <a:gd name="T25" fmla="*/ 607 h 1136"/>
                <a:gd name="T26" fmla="*/ 1365 w 2093"/>
                <a:gd name="T27" fmla="*/ 598 h 1136"/>
                <a:gd name="T28" fmla="*/ 1440 w 2093"/>
                <a:gd name="T29" fmla="*/ 650 h 1136"/>
                <a:gd name="T30" fmla="*/ 1484 w 2093"/>
                <a:gd name="T31" fmla="*/ 739 h 1136"/>
                <a:gd name="T32" fmla="*/ 1514 w 2093"/>
                <a:gd name="T33" fmla="*/ 834 h 1136"/>
                <a:gd name="T34" fmla="*/ 1548 w 2093"/>
                <a:gd name="T35" fmla="*/ 911 h 1136"/>
                <a:gd name="T36" fmla="*/ 1630 w 2093"/>
                <a:gd name="T37" fmla="*/ 944 h 1136"/>
                <a:gd name="T38" fmla="*/ 1758 w 2093"/>
                <a:gd name="T39" fmla="*/ 942 h 1136"/>
                <a:gd name="T40" fmla="*/ 1980 w 2093"/>
                <a:gd name="T41" fmla="*/ 892 h 1136"/>
                <a:gd name="T42" fmla="*/ 2050 w 2093"/>
                <a:gd name="T43" fmla="*/ 900 h 1136"/>
                <a:gd name="T44" fmla="*/ 2089 w 2093"/>
                <a:gd name="T45" fmla="*/ 954 h 1136"/>
                <a:gd name="T46" fmla="*/ 2086 w 2093"/>
                <a:gd name="T47" fmla="*/ 1022 h 1136"/>
                <a:gd name="T48" fmla="*/ 2028 w 2093"/>
                <a:gd name="T49" fmla="*/ 1071 h 1136"/>
                <a:gd name="T50" fmla="*/ 1901 w 2093"/>
                <a:gd name="T51" fmla="*/ 1108 h 1136"/>
                <a:gd name="T52" fmla="*/ 1754 w 2093"/>
                <a:gd name="T53" fmla="*/ 1132 h 1136"/>
                <a:gd name="T54" fmla="*/ 1607 w 2093"/>
                <a:gd name="T55" fmla="*/ 1132 h 1136"/>
                <a:gd name="T56" fmla="*/ 1477 w 2093"/>
                <a:gd name="T57" fmla="*/ 1091 h 1136"/>
                <a:gd name="T58" fmla="*/ 1382 w 2093"/>
                <a:gd name="T59" fmla="*/ 996 h 1136"/>
                <a:gd name="T60" fmla="*/ 1320 w 2093"/>
                <a:gd name="T61" fmla="*/ 834 h 1136"/>
                <a:gd name="T62" fmla="*/ 1298 w 2093"/>
                <a:gd name="T63" fmla="*/ 784 h 1136"/>
                <a:gd name="T64" fmla="*/ 1153 w 2093"/>
                <a:gd name="T65" fmla="*/ 855 h 1136"/>
                <a:gd name="T66" fmla="*/ 1006 w 2093"/>
                <a:gd name="T67" fmla="*/ 931 h 1136"/>
                <a:gd name="T68" fmla="*/ 887 w 2093"/>
                <a:gd name="T69" fmla="*/ 950 h 1136"/>
                <a:gd name="T70" fmla="*/ 788 w 2093"/>
                <a:gd name="T71" fmla="*/ 892 h 1136"/>
                <a:gd name="T72" fmla="*/ 745 w 2093"/>
                <a:gd name="T73" fmla="*/ 797 h 1136"/>
                <a:gd name="T74" fmla="*/ 738 w 2093"/>
                <a:gd name="T75" fmla="*/ 684 h 1136"/>
                <a:gd name="T76" fmla="*/ 745 w 2093"/>
                <a:gd name="T77" fmla="*/ 572 h 1136"/>
                <a:gd name="T78" fmla="*/ 771 w 2093"/>
                <a:gd name="T79" fmla="*/ 315 h 1136"/>
                <a:gd name="T80" fmla="*/ 775 w 2093"/>
                <a:gd name="T81" fmla="*/ 233 h 1136"/>
                <a:gd name="T82" fmla="*/ 766 w 2093"/>
                <a:gd name="T83" fmla="*/ 200 h 1136"/>
                <a:gd name="T84" fmla="*/ 760 w 2093"/>
                <a:gd name="T85" fmla="*/ 190 h 1136"/>
                <a:gd name="T86" fmla="*/ 758 w 2093"/>
                <a:gd name="T87" fmla="*/ 186 h 1136"/>
                <a:gd name="T88" fmla="*/ 728 w 2093"/>
                <a:gd name="T89" fmla="*/ 196 h 1136"/>
                <a:gd name="T90" fmla="*/ 671 w 2093"/>
                <a:gd name="T91" fmla="*/ 257 h 1136"/>
                <a:gd name="T92" fmla="*/ 617 w 2093"/>
                <a:gd name="T93" fmla="*/ 334 h 1136"/>
                <a:gd name="T94" fmla="*/ 296 w 2093"/>
                <a:gd name="T95" fmla="*/ 834 h 1136"/>
                <a:gd name="T96" fmla="*/ 133 w 2093"/>
                <a:gd name="T97" fmla="*/ 1078 h 1136"/>
                <a:gd name="T98" fmla="*/ 60 w 2093"/>
                <a:gd name="T99" fmla="*/ 1076 h 1136"/>
                <a:gd name="T100" fmla="*/ 6 w 2093"/>
                <a:gd name="T101" fmla="*/ 1024 h 1136"/>
                <a:gd name="T102" fmla="*/ 13 w 2093"/>
                <a:gd name="T103" fmla="*/ 946 h 1136"/>
                <a:gd name="T104" fmla="*/ 386 w 2093"/>
                <a:gd name="T105" fmla="*/ 345 h 1136"/>
                <a:gd name="T106" fmla="*/ 535 w 2093"/>
                <a:gd name="T107" fmla="*/ 133 h 1136"/>
                <a:gd name="T108" fmla="*/ 619 w 2093"/>
                <a:gd name="T109" fmla="*/ 49 h 1136"/>
                <a:gd name="T110" fmla="*/ 721 w 2093"/>
                <a:gd name="T111" fmla="*/ 2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93" h="1136">
                  <a:moveTo>
                    <a:pt x="1293" y="762"/>
                  </a:moveTo>
                  <a:lnTo>
                    <a:pt x="1293" y="762"/>
                  </a:lnTo>
                  <a:lnTo>
                    <a:pt x="1293" y="764"/>
                  </a:lnTo>
                  <a:lnTo>
                    <a:pt x="1293" y="766"/>
                  </a:lnTo>
                  <a:lnTo>
                    <a:pt x="1294" y="769"/>
                  </a:lnTo>
                  <a:lnTo>
                    <a:pt x="1296" y="769"/>
                  </a:lnTo>
                  <a:lnTo>
                    <a:pt x="1296" y="769"/>
                  </a:lnTo>
                  <a:lnTo>
                    <a:pt x="1296" y="764"/>
                  </a:lnTo>
                  <a:lnTo>
                    <a:pt x="1294" y="762"/>
                  </a:lnTo>
                  <a:lnTo>
                    <a:pt x="1293" y="762"/>
                  </a:lnTo>
                  <a:close/>
                  <a:moveTo>
                    <a:pt x="760" y="0"/>
                  </a:moveTo>
                  <a:lnTo>
                    <a:pt x="801" y="6"/>
                  </a:lnTo>
                  <a:lnTo>
                    <a:pt x="840" y="19"/>
                  </a:lnTo>
                  <a:lnTo>
                    <a:pt x="870" y="38"/>
                  </a:lnTo>
                  <a:lnTo>
                    <a:pt x="896" y="62"/>
                  </a:lnTo>
                  <a:lnTo>
                    <a:pt x="916" y="90"/>
                  </a:lnTo>
                  <a:lnTo>
                    <a:pt x="931" y="119"/>
                  </a:lnTo>
                  <a:lnTo>
                    <a:pt x="943" y="153"/>
                  </a:lnTo>
                  <a:lnTo>
                    <a:pt x="950" y="188"/>
                  </a:lnTo>
                  <a:lnTo>
                    <a:pt x="956" y="224"/>
                  </a:lnTo>
                  <a:lnTo>
                    <a:pt x="957" y="261"/>
                  </a:lnTo>
                  <a:lnTo>
                    <a:pt x="956" y="298"/>
                  </a:lnTo>
                  <a:lnTo>
                    <a:pt x="954" y="334"/>
                  </a:lnTo>
                  <a:lnTo>
                    <a:pt x="952" y="369"/>
                  </a:lnTo>
                  <a:lnTo>
                    <a:pt x="941" y="475"/>
                  </a:lnTo>
                  <a:lnTo>
                    <a:pt x="931" y="583"/>
                  </a:lnTo>
                  <a:lnTo>
                    <a:pt x="926" y="693"/>
                  </a:lnTo>
                  <a:lnTo>
                    <a:pt x="926" y="712"/>
                  </a:lnTo>
                  <a:lnTo>
                    <a:pt x="929" y="732"/>
                  </a:lnTo>
                  <a:lnTo>
                    <a:pt x="929" y="752"/>
                  </a:lnTo>
                  <a:lnTo>
                    <a:pt x="929" y="764"/>
                  </a:lnTo>
                  <a:lnTo>
                    <a:pt x="937" y="760"/>
                  </a:lnTo>
                  <a:lnTo>
                    <a:pt x="963" y="747"/>
                  </a:lnTo>
                  <a:lnTo>
                    <a:pt x="987" y="734"/>
                  </a:lnTo>
                  <a:lnTo>
                    <a:pt x="1045" y="700"/>
                  </a:lnTo>
                  <a:lnTo>
                    <a:pt x="1101" y="669"/>
                  </a:lnTo>
                  <a:lnTo>
                    <a:pt x="1144" y="646"/>
                  </a:lnTo>
                  <a:lnTo>
                    <a:pt x="1188" y="624"/>
                  </a:lnTo>
                  <a:lnTo>
                    <a:pt x="1235" y="607"/>
                  </a:lnTo>
                  <a:lnTo>
                    <a:pt x="1283" y="594"/>
                  </a:lnTo>
                  <a:lnTo>
                    <a:pt x="1330" y="592"/>
                  </a:lnTo>
                  <a:lnTo>
                    <a:pt x="1365" y="598"/>
                  </a:lnTo>
                  <a:lnTo>
                    <a:pt x="1393" y="609"/>
                  </a:lnTo>
                  <a:lnTo>
                    <a:pt x="1419" y="628"/>
                  </a:lnTo>
                  <a:lnTo>
                    <a:pt x="1440" y="650"/>
                  </a:lnTo>
                  <a:lnTo>
                    <a:pt x="1456" y="678"/>
                  </a:lnTo>
                  <a:lnTo>
                    <a:pt x="1471" y="708"/>
                  </a:lnTo>
                  <a:lnTo>
                    <a:pt x="1484" y="739"/>
                  </a:lnTo>
                  <a:lnTo>
                    <a:pt x="1495" y="771"/>
                  </a:lnTo>
                  <a:lnTo>
                    <a:pt x="1505" y="803"/>
                  </a:lnTo>
                  <a:lnTo>
                    <a:pt x="1514" y="834"/>
                  </a:lnTo>
                  <a:lnTo>
                    <a:pt x="1523" y="862"/>
                  </a:lnTo>
                  <a:lnTo>
                    <a:pt x="1535" y="890"/>
                  </a:lnTo>
                  <a:lnTo>
                    <a:pt x="1548" y="911"/>
                  </a:lnTo>
                  <a:lnTo>
                    <a:pt x="1564" y="926"/>
                  </a:lnTo>
                  <a:lnTo>
                    <a:pt x="1589" y="937"/>
                  </a:lnTo>
                  <a:lnTo>
                    <a:pt x="1630" y="944"/>
                  </a:lnTo>
                  <a:lnTo>
                    <a:pt x="1672" y="948"/>
                  </a:lnTo>
                  <a:lnTo>
                    <a:pt x="1715" y="946"/>
                  </a:lnTo>
                  <a:lnTo>
                    <a:pt x="1758" y="942"/>
                  </a:lnTo>
                  <a:lnTo>
                    <a:pt x="1832" y="931"/>
                  </a:lnTo>
                  <a:lnTo>
                    <a:pt x="1907" y="914"/>
                  </a:lnTo>
                  <a:lnTo>
                    <a:pt x="1980" y="892"/>
                  </a:lnTo>
                  <a:lnTo>
                    <a:pt x="2007" y="888"/>
                  </a:lnTo>
                  <a:lnTo>
                    <a:pt x="2030" y="890"/>
                  </a:lnTo>
                  <a:lnTo>
                    <a:pt x="2050" y="900"/>
                  </a:lnTo>
                  <a:lnTo>
                    <a:pt x="2069" y="914"/>
                  </a:lnTo>
                  <a:lnTo>
                    <a:pt x="2080" y="933"/>
                  </a:lnTo>
                  <a:lnTo>
                    <a:pt x="2089" y="954"/>
                  </a:lnTo>
                  <a:lnTo>
                    <a:pt x="2093" y="978"/>
                  </a:lnTo>
                  <a:lnTo>
                    <a:pt x="2091" y="1000"/>
                  </a:lnTo>
                  <a:lnTo>
                    <a:pt x="2086" y="1022"/>
                  </a:lnTo>
                  <a:lnTo>
                    <a:pt x="2073" y="1043"/>
                  </a:lnTo>
                  <a:lnTo>
                    <a:pt x="2054" y="1060"/>
                  </a:lnTo>
                  <a:lnTo>
                    <a:pt x="2028" y="1071"/>
                  </a:lnTo>
                  <a:lnTo>
                    <a:pt x="1989" y="1084"/>
                  </a:lnTo>
                  <a:lnTo>
                    <a:pt x="1946" y="1095"/>
                  </a:lnTo>
                  <a:lnTo>
                    <a:pt x="1901" y="1108"/>
                  </a:lnTo>
                  <a:lnTo>
                    <a:pt x="1853" y="1117"/>
                  </a:lnTo>
                  <a:lnTo>
                    <a:pt x="1805" y="1127"/>
                  </a:lnTo>
                  <a:lnTo>
                    <a:pt x="1754" y="1132"/>
                  </a:lnTo>
                  <a:lnTo>
                    <a:pt x="1706" y="1136"/>
                  </a:lnTo>
                  <a:lnTo>
                    <a:pt x="1656" y="1136"/>
                  </a:lnTo>
                  <a:lnTo>
                    <a:pt x="1607" y="1132"/>
                  </a:lnTo>
                  <a:lnTo>
                    <a:pt x="1561" y="1123"/>
                  </a:lnTo>
                  <a:lnTo>
                    <a:pt x="1518" y="1110"/>
                  </a:lnTo>
                  <a:lnTo>
                    <a:pt x="1477" y="1091"/>
                  </a:lnTo>
                  <a:lnTo>
                    <a:pt x="1440" y="1067"/>
                  </a:lnTo>
                  <a:lnTo>
                    <a:pt x="1408" y="1035"/>
                  </a:lnTo>
                  <a:lnTo>
                    <a:pt x="1382" y="996"/>
                  </a:lnTo>
                  <a:lnTo>
                    <a:pt x="1358" y="944"/>
                  </a:lnTo>
                  <a:lnTo>
                    <a:pt x="1337" y="890"/>
                  </a:lnTo>
                  <a:lnTo>
                    <a:pt x="1320" y="834"/>
                  </a:lnTo>
                  <a:lnTo>
                    <a:pt x="1315" y="820"/>
                  </a:lnTo>
                  <a:lnTo>
                    <a:pt x="1306" y="801"/>
                  </a:lnTo>
                  <a:lnTo>
                    <a:pt x="1298" y="784"/>
                  </a:lnTo>
                  <a:lnTo>
                    <a:pt x="1298" y="782"/>
                  </a:lnTo>
                  <a:lnTo>
                    <a:pt x="1226" y="816"/>
                  </a:lnTo>
                  <a:lnTo>
                    <a:pt x="1153" y="855"/>
                  </a:lnTo>
                  <a:lnTo>
                    <a:pt x="1080" y="894"/>
                  </a:lnTo>
                  <a:lnTo>
                    <a:pt x="1045" y="913"/>
                  </a:lnTo>
                  <a:lnTo>
                    <a:pt x="1006" y="931"/>
                  </a:lnTo>
                  <a:lnTo>
                    <a:pt x="967" y="944"/>
                  </a:lnTo>
                  <a:lnTo>
                    <a:pt x="928" y="952"/>
                  </a:lnTo>
                  <a:lnTo>
                    <a:pt x="887" y="950"/>
                  </a:lnTo>
                  <a:lnTo>
                    <a:pt x="848" y="937"/>
                  </a:lnTo>
                  <a:lnTo>
                    <a:pt x="814" y="916"/>
                  </a:lnTo>
                  <a:lnTo>
                    <a:pt x="788" y="892"/>
                  </a:lnTo>
                  <a:lnTo>
                    <a:pt x="769" y="862"/>
                  </a:lnTo>
                  <a:lnTo>
                    <a:pt x="754" y="831"/>
                  </a:lnTo>
                  <a:lnTo>
                    <a:pt x="745" y="797"/>
                  </a:lnTo>
                  <a:lnTo>
                    <a:pt x="740" y="760"/>
                  </a:lnTo>
                  <a:lnTo>
                    <a:pt x="738" y="721"/>
                  </a:lnTo>
                  <a:lnTo>
                    <a:pt x="738" y="684"/>
                  </a:lnTo>
                  <a:lnTo>
                    <a:pt x="740" y="645"/>
                  </a:lnTo>
                  <a:lnTo>
                    <a:pt x="743" y="607"/>
                  </a:lnTo>
                  <a:lnTo>
                    <a:pt x="745" y="572"/>
                  </a:lnTo>
                  <a:lnTo>
                    <a:pt x="749" y="538"/>
                  </a:lnTo>
                  <a:lnTo>
                    <a:pt x="760" y="427"/>
                  </a:lnTo>
                  <a:lnTo>
                    <a:pt x="771" y="315"/>
                  </a:lnTo>
                  <a:lnTo>
                    <a:pt x="773" y="289"/>
                  </a:lnTo>
                  <a:lnTo>
                    <a:pt x="775" y="261"/>
                  </a:lnTo>
                  <a:lnTo>
                    <a:pt x="775" y="233"/>
                  </a:lnTo>
                  <a:lnTo>
                    <a:pt x="769" y="207"/>
                  </a:lnTo>
                  <a:lnTo>
                    <a:pt x="767" y="203"/>
                  </a:lnTo>
                  <a:lnTo>
                    <a:pt x="766" y="200"/>
                  </a:lnTo>
                  <a:lnTo>
                    <a:pt x="764" y="198"/>
                  </a:lnTo>
                  <a:lnTo>
                    <a:pt x="762" y="194"/>
                  </a:lnTo>
                  <a:lnTo>
                    <a:pt x="760" y="190"/>
                  </a:lnTo>
                  <a:lnTo>
                    <a:pt x="758" y="188"/>
                  </a:lnTo>
                  <a:lnTo>
                    <a:pt x="758" y="186"/>
                  </a:lnTo>
                  <a:lnTo>
                    <a:pt x="758" y="186"/>
                  </a:lnTo>
                  <a:lnTo>
                    <a:pt x="753" y="185"/>
                  </a:lnTo>
                  <a:lnTo>
                    <a:pt x="741" y="186"/>
                  </a:lnTo>
                  <a:lnTo>
                    <a:pt x="728" y="196"/>
                  </a:lnTo>
                  <a:lnTo>
                    <a:pt x="706" y="214"/>
                  </a:lnTo>
                  <a:lnTo>
                    <a:pt x="686" y="239"/>
                  </a:lnTo>
                  <a:lnTo>
                    <a:pt x="671" y="257"/>
                  </a:lnTo>
                  <a:lnTo>
                    <a:pt x="654" y="281"/>
                  </a:lnTo>
                  <a:lnTo>
                    <a:pt x="635" y="308"/>
                  </a:lnTo>
                  <a:lnTo>
                    <a:pt x="617" y="334"/>
                  </a:lnTo>
                  <a:lnTo>
                    <a:pt x="518" y="481"/>
                  </a:lnTo>
                  <a:lnTo>
                    <a:pt x="423" y="630"/>
                  </a:lnTo>
                  <a:lnTo>
                    <a:pt x="296" y="834"/>
                  </a:lnTo>
                  <a:lnTo>
                    <a:pt x="174" y="1039"/>
                  </a:lnTo>
                  <a:lnTo>
                    <a:pt x="155" y="1063"/>
                  </a:lnTo>
                  <a:lnTo>
                    <a:pt x="133" y="1078"/>
                  </a:lnTo>
                  <a:lnTo>
                    <a:pt x="108" y="1084"/>
                  </a:lnTo>
                  <a:lnTo>
                    <a:pt x="84" y="1084"/>
                  </a:lnTo>
                  <a:lnTo>
                    <a:pt x="60" y="1076"/>
                  </a:lnTo>
                  <a:lnTo>
                    <a:pt x="38" y="1063"/>
                  </a:lnTo>
                  <a:lnTo>
                    <a:pt x="19" y="1047"/>
                  </a:lnTo>
                  <a:lnTo>
                    <a:pt x="6" y="1024"/>
                  </a:lnTo>
                  <a:lnTo>
                    <a:pt x="0" y="1000"/>
                  </a:lnTo>
                  <a:lnTo>
                    <a:pt x="2" y="974"/>
                  </a:lnTo>
                  <a:lnTo>
                    <a:pt x="13" y="946"/>
                  </a:lnTo>
                  <a:lnTo>
                    <a:pt x="166" y="691"/>
                  </a:lnTo>
                  <a:lnTo>
                    <a:pt x="324" y="438"/>
                  </a:lnTo>
                  <a:lnTo>
                    <a:pt x="386" y="345"/>
                  </a:lnTo>
                  <a:lnTo>
                    <a:pt x="447" y="254"/>
                  </a:lnTo>
                  <a:lnTo>
                    <a:pt x="511" y="162"/>
                  </a:lnTo>
                  <a:lnTo>
                    <a:pt x="535" y="133"/>
                  </a:lnTo>
                  <a:lnTo>
                    <a:pt x="561" y="103"/>
                  </a:lnTo>
                  <a:lnTo>
                    <a:pt x="589" y="75"/>
                  </a:lnTo>
                  <a:lnTo>
                    <a:pt x="619" y="49"/>
                  </a:lnTo>
                  <a:lnTo>
                    <a:pt x="650" y="28"/>
                  </a:lnTo>
                  <a:lnTo>
                    <a:pt x="686" y="11"/>
                  </a:lnTo>
                  <a:lnTo>
                    <a:pt x="721" y="2"/>
                  </a:lnTo>
                  <a:lnTo>
                    <a:pt x="760" y="0"/>
                  </a:lnTo>
                  <a:close/>
                </a:path>
              </a:pathLst>
            </a:custGeom>
            <a:solidFill>
              <a:schemeClr val="accent3"/>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66" name="Freeform 13"/>
            <p:cNvSpPr>
              <a:spLocks/>
            </p:cNvSpPr>
            <p:nvPr/>
          </p:nvSpPr>
          <p:spPr bwMode="auto">
            <a:xfrm>
              <a:off x="11952288" y="4506913"/>
              <a:ext cx="1484313" cy="3086100"/>
            </a:xfrm>
            <a:custGeom>
              <a:avLst/>
              <a:gdLst>
                <a:gd name="T0" fmla="*/ 1303 w 1869"/>
                <a:gd name="T1" fmla="*/ 0 h 3890"/>
                <a:gd name="T2" fmla="*/ 1869 w 1869"/>
                <a:gd name="T3" fmla="*/ 200 h 3890"/>
                <a:gd name="T4" fmla="*/ 566 w 1869"/>
                <a:gd name="T5" fmla="*/ 3890 h 3890"/>
                <a:gd name="T6" fmla="*/ 0 w 1869"/>
                <a:gd name="T7" fmla="*/ 3691 h 3890"/>
                <a:gd name="T8" fmla="*/ 1303 w 1869"/>
                <a:gd name="T9" fmla="*/ 0 h 3890"/>
              </a:gdLst>
              <a:ahLst/>
              <a:cxnLst>
                <a:cxn ang="0">
                  <a:pos x="T0" y="T1"/>
                </a:cxn>
                <a:cxn ang="0">
                  <a:pos x="T2" y="T3"/>
                </a:cxn>
                <a:cxn ang="0">
                  <a:pos x="T4" y="T5"/>
                </a:cxn>
                <a:cxn ang="0">
                  <a:pos x="T6" y="T7"/>
                </a:cxn>
                <a:cxn ang="0">
                  <a:pos x="T8" y="T9"/>
                </a:cxn>
              </a:cxnLst>
              <a:rect l="0" t="0" r="r" b="b"/>
              <a:pathLst>
                <a:path w="1869" h="3890">
                  <a:moveTo>
                    <a:pt x="1303" y="0"/>
                  </a:moveTo>
                  <a:lnTo>
                    <a:pt x="1869" y="200"/>
                  </a:lnTo>
                  <a:lnTo>
                    <a:pt x="566" y="3890"/>
                  </a:lnTo>
                  <a:lnTo>
                    <a:pt x="0" y="3691"/>
                  </a:lnTo>
                  <a:lnTo>
                    <a:pt x="1303" y="0"/>
                  </a:lnTo>
                  <a:close/>
                </a:path>
              </a:pathLst>
            </a:custGeom>
            <a:solidFill>
              <a:schemeClr val="accent5"/>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67" name="Freeform 14"/>
            <p:cNvSpPr>
              <a:spLocks/>
            </p:cNvSpPr>
            <p:nvPr/>
          </p:nvSpPr>
          <p:spPr bwMode="auto">
            <a:xfrm>
              <a:off x="12855576" y="4273550"/>
              <a:ext cx="769938" cy="1739900"/>
            </a:xfrm>
            <a:custGeom>
              <a:avLst/>
              <a:gdLst>
                <a:gd name="T0" fmla="*/ 205 w 970"/>
                <a:gd name="T1" fmla="*/ 0 h 2193"/>
                <a:gd name="T2" fmla="*/ 248 w 970"/>
                <a:gd name="T3" fmla="*/ 11 h 2193"/>
                <a:gd name="T4" fmla="*/ 846 w 970"/>
                <a:gd name="T5" fmla="*/ 222 h 2193"/>
                <a:gd name="T6" fmla="*/ 885 w 970"/>
                <a:gd name="T7" fmla="*/ 240 h 2193"/>
                <a:gd name="T8" fmla="*/ 916 w 970"/>
                <a:gd name="T9" fmla="*/ 266 h 2193"/>
                <a:gd name="T10" fmla="*/ 942 w 970"/>
                <a:gd name="T11" fmla="*/ 300 h 2193"/>
                <a:gd name="T12" fmla="*/ 961 w 970"/>
                <a:gd name="T13" fmla="*/ 335 h 2193"/>
                <a:gd name="T14" fmla="*/ 970 w 970"/>
                <a:gd name="T15" fmla="*/ 376 h 2193"/>
                <a:gd name="T16" fmla="*/ 970 w 970"/>
                <a:gd name="T17" fmla="*/ 417 h 2193"/>
                <a:gd name="T18" fmla="*/ 959 w 970"/>
                <a:gd name="T19" fmla="*/ 460 h 2193"/>
                <a:gd name="T20" fmla="*/ 391 w 970"/>
                <a:gd name="T21" fmla="*/ 2071 h 2193"/>
                <a:gd name="T22" fmla="*/ 373 w 970"/>
                <a:gd name="T23" fmla="*/ 2110 h 2193"/>
                <a:gd name="T24" fmla="*/ 347 w 970"/>
                <a:gd name="T25" fmla="*/ 2141 h 2193"/>
                <a:gd name="T26" fmla="*/ 315 w 970"/>
                <a:gd name="T27" fmla="*/ 2167 h 2193"/>
                <a:gd name="T28" fmla="*/ 278 w 970"/>
                <a:gd name="T29" fmla="*/ 2184 h 2193"/>
                <a:gd name="T30" fmla="*/ 237 w 970"/>
                <a:gd name="T31" fmla="*/ 2193 h 2193"/>
                <a:gd name="T32" fmla="*/ 196 w 970"/>
                <a:gd name="T33" fmla="*/ 2193 h 2193"/>
                <a:gd name="T34" fmla="*/ 153 w 970"/>
                <a:gd name="T35" fmla="*/ 2184 h 2193"/>
                <a:gd name="T36" fmla="*/ 114 w 970"/>
                <a:gd name="T37" fmla="*/ 2166 h 2193"/>
                <a:gd name="T38" fmla="*/ 82 w 970"/>
                <a:gd name="T39" fmla="*/ 2139 h 2193"/>
                <a:gd name="T40" fmla="*/ 56 w 970"/>
                <a:gd name="T41" fmla="*/ 2106 h 2193"/>
                <a:gd name="T42" fmla="*/ 39 w 970"/>
                <a:gd name="T43" fmla="*/ 2071 h 2193"/>
                <a:gd name="T44" fmla="*/ 30 w 970"/>
                <a:gd name="T45" fmla="*/ 2030 h 2193"/>
                <a:gd name="T46" fmla="*/ 30 w 970"/>
                <a:gd name="T47" fmla="*/ 1989 h 2193"/>
                <a:gd name="T48" fmla="*/ 39 w 970"/>
                <a:gd name="T49" fmla="*/ 1946 h 2193"/>
                <a:gd name="T50" fmla="*/ 546 w 970"/>
                <a:gd name="T51" fmla="*/ 512 h 2193"/>
                <a:gd name="T52" fmla="*/ 123 w 970"/>
                <a:gd name="T53" fmla="*/ 363 h 2193"/>
                <a:gd name="T54" fmla="*/ 84 w 970"/>
                <a:gd name="T55" fmla="*/ 345 h 2193"/>
                <a:gd name="T56" fmla="*/ 53 w 970"/>
                <a:gd name="T57" fmla="*/ 319 h 2193"/>
                <a:gd name="T58" fmla="*/ 26 w 970"/>
                <a:gd name="T59" fmla="*/ 285 h 2193"/>
                <a:gd name="T60" fmla="*/ 10 w 970"/>
                <a:gd name="T61" fmla="*/ 248 h 2193"/>
                <a:gd name="T62" fmla="*/ 0 w 970"/>
                <a:gd name="T63" fmla="*/ 209 h 2193"/>
                <a:gd name="T64" fmla="*/ 0 w 970"/>
                <a:gd name="T65" fmla="*/ 166 h 2193"/>
                <a:gd name="T66" fmla="*/ 10 w 970"/>
                <a:gd name="T67" fmla="*/ 125 h 2193"/>
                <a:gd name="T68" fmla="*/ 28 w 970"/>
                <a:gd name="T69" fmla="*/ 86 h 2193"/>
                <a:gd name="T70" fmla="*/ 54 w 970"/>
                <a:gd name="T71" fmla="*/ 54 h 2193"/>
                <a:gd name="T72" fmla="*/ 86 w 970"/>
                <a:gd name="T73" fmla="*/ 28 h 2193"/>
                <a:gd name="T74" fmla="*/ 123 w 970"/>
                <a:gd name="T75" fmla="*/ 10 h 2193"/>
                <a:gd name="T76" fmla="*/ 164 w 970"/>
                <a:gd name="T77" fmla="*/ 0 h 2193"/>
                <a:gd name="T78" fmla="*/ 205 w 970"/>
                <a:gd name="T79" fmla="*/ 0 h 2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0" h="2193">
                  <a:moveTo>
                    <a:pt x="205" y="0"/>
                  </a:moveTo>
                  <a:lnTo>
                    <a:pt x="248" y="11"/>
                  </a:lnTo>
                  <a:lnTo>
                    <a:pt x="846" y="222"/>
                  </a:lnTo>
                  <a:lnTo>
                    <a:pt x="885" y="240"/>
                  </a:lnTo>
                  <a:lnTo>
                    <a:pt x="916" y="266"/>
                  </a:lnTo>
                  <a:lnTo>
                    <a:pt x="942" y="300"/>
                  </a:lnTo>
                  <a:lnTo>
                    <a:pt x="961" y="335"/>
                  </a:lnTo>
                  <a:lnTo>
                    <a:pt x="970" y="376"/>
                  </a:lnTo>
                  <a:lnTo>
                    <a:pt x="970" y="417"/>
                  </a:lnTo>
                  <a:lnTo>
                    <a:pt x="959" y="460"/>
                  </a:lnTo>
                  <a:lnTo>
                    <a:pt x="391" y="2071"/>
                  </a:lnTo>
                  <a:lnTo>
                    <a:pt x="373" y="2110"/>
                  </a:lnTo>
                  <a:lnTo>
                    <a:pt x="347" y="2141"/>
                  </a:lnTo>
                  <a:lnTo>
                    <a:pt x="315" y="2167"/>
                  </a:lnTo>
                  <a:lnTo>
                    <a:pt x="278" y="2184"/>
                  </a:lnTo>
                  <a:lnTo>
                    <a:pt x="237" y="2193"/>
                  </a:lnTo>
                  <a:lnTo>
                    <a:pt x="196" y="2193"/>
                  </a:lnTo>
                  <a:lnTo>
                    <a:pt x="153" y="2184"/>
                  </a:lnTo>
                  <a:lnTo>
                    <a:pt x="114" y="2166"/>
                  </a:lnTo>
                  <a:lnTo>
                    <a:pt x="82" y="2139"/>
                  </a:lnTo>
                  <a:lnTo>
                    <a:pt x="56" y="2106"/>
                  </a:lnTo>
                  <a:lnTo>
                    <a:pt x="39" y="2071"/>
                  </a:lnTo>
                  <a:lnTo>
                    <a:pt x="30" y="2030"/>
                  </a:lnTo>
                  <a:lnTo>
                    <a:pt x="30" y="1989"/>
                  </a:lnTo>
                  <a:lnTo>
                    <a:pt x="39" y="1946"/>
                  </a:lnTo>
                  <a:lnTo>
                    <a:pt x="546" y="512"/>
                  </a:lnTo>
                  <a:lnTo>
                    <a:pt x="123" y="363"/>
                  </a:lnTo>
                  <a:lnTo>
                    <a:pt x="84" y="345"/>
                  </a:lnTo>
                  <a:lnTo>
                    <a:pt x="53" y="319"/>
                  </a:lnTo>
                  <a:lnTo>
                    <a:pt x="26" y="285"/>
                  </a:lnTo>
                  <a:lnTo>
                    <a:pt x="10" y="248"/>
                  </a:lnTo>
                  <a:lnTo>
                    <a:pt x="0" y="209"/>
                  </a:lnTo>
                  <a:lnTo>
                    <a:pt x="0" y="166"/>
                  </a:lnTo>
                  <a:lnTo>
                    <a:pt x="10" y="125"/>
                  </a:lnTo>
                  <a:lnTo>
                    <a:pt x="28" y="86"/>
                  </a:lnTo>
                  <a:lnTo>
                    <a:pt x="54" y="54"/>
                  </a:lnTo>
                  <a:lnTo>
                    <a:pt x="86" y="28"/>
                  </a:lnTo>
                  <a:lnTo>
                    <a:pt x="123" y="10"/>
                  </a:lnTo>
                  <a:lnTo>
                    <a:pt x="164" y="0"/>
                  </a:lnTo>
                  <a:lnTo>
                    <a:pt x="205" y="0"/>
                  </a:lnTo>
                  <a:close/>
                </a:path>
              </a:pathLst>
            </a:custGeom>
            <a:solidFill>
              <a:srgbClr val="FFBA47"/>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68" name="Freeform 15"/>
            <p:cNvSpPr>
              <a:spLocks/>
            </p:cNvSpPr>
            <p:nvPr/>
          </p:nvSpPr>
          <p:spPr bwMode="auto">
            <a:xfrm>
              <a:off x="11869738" y="7685088"/>
              <a:ext cx="295275" cy="566738"/>
            </a:xfrm>
            <a:custGeom>
              <a:avLst/>
              <a:gdLst>
                <a:gd name="T0" fmla="*/ 281 w 372"/>
                <a:gd name="T1" fmla="*/ 0 h 713"/>
                <a:gd name="T2" fmla="*/ 310 w 372"/>
                <a:gd name="T3" fmla="*/ 6 h 713"/>
                <a:gd name="T4" fmla="*/ 337 w 372"/>
                <a:gd name="T5" fmla="*/ 19 h 713"/>
                <a:gd name="T6" fmla="*/ 355 w 372"/>
                <a:gd name="T7" fmla="*/ 41 h 713"/>
                <a:gd name="T8" fmla="*/ 368 w 372"/>
                <a:gd name="T9" fmla="*/ 65 h 713"/>
                <a:gd name="T10" fmla="*/ 372 w 372"/>
                <a:gd name="T11" fmla="*/ 95 h 713"/>
                <a:gd name="T12" fmla="*/ 366 w 372"/>
                <a:gd name="T13" fmla="*/ 123 h 713"/>
                <a:gd name="T14" fmla="*/ 180 w 372"/>
                <a:gd name="T15" fmla="*/ 652 h 713"/>
                <a:gd name="T16" fmla="*/ 165 w 372"/>
                <a:gd name="T17" fmla="*/ 676 h 713"/>
                <a:gd name="T18" fmla="*/ 145 w 372"/>
                <a:gd name="T19" fmla="*/ 697 h 713"/>
                <a:gd name="T20" fmla="*/ 121 w 372"/>
                <a:gd name="T21" fmla="*/ 708 h 713"/>
                <a:gd name="T22" fmla="*/ 93 w 372"/>
                <a:gd name="T23" fmla="*/ 713 h 713"/>
                <a:gd name="T24" fmla="*/ 61 w 372"/>
                <a:gd name="T25" fmla="*/ 708 h 713"/>
                <a:gd name="T26" fmla="*/ 35 w 372"/>
                <a:gd name="T27" fmla="*/ 693 h 713"/>
                <a:gd name="T28" fmla="*/ 16 w 372"/>
                <a:gd name="T29" fmla="*/ 672 h 713"/>
                <a:gd name="T30" fmla="*/ 3 w 372"/>
                <a:gd name="T31" fmla="*/ 646 h 713"/>
                <a:gd name="T32" fmla="*/ 0 w 372"/>
                <a:gd name="T33" fmla="*/ 618 h 713"/>
                <a:gd name="T34" fmla="*/ 5 w 372"/>
                <a:gd name="T35" fmla="*/ 589 h 713"/>
                <a:gd name="T36" fmla="*/ 191 w 372"/>
                <a:gd name="T37" fmla="*/ 62 h 713"/>
                <a:gd name="T38" fmla="*/ 206 w 372"/>
                <a:gd name="T39" fmla="*/ 36 h 713"/>
                <a:gd name="T40" fmla="*/ 227 w 372"/>
                <a:gd name="T41" fmla="*/ 17 h 713"/>
                <a:gd name="T42" fmla="*/ 253 w 372"/>
                <a:gd name="T43" fmla="*/ 4 h 713"/>
                <a:gd name="T44" fmla="*/ 281 w 372"/>
                <a:gd name="T45"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2" h="713">
                  <a:moveTo>
                    <a:pt x="281" y="0"/>
                  </a:moveTo>
                  <a:lnTo>
                    <a:pt x="310" y="6"/>
                  </a:lnTo>
                  <a:lnTo>
                    <a:pt x="337" y="19"/>
                  </a:lnTo>
                  <a:lnTo>
                    <a:pt x="355" y="41"/>
                  </a:lnTo>
                  <a:lnTo>
                    <a:pt x="368" y="65"/>
                  </a:lnTo>
                  <a:lnTo>
                    <a:pt x="372" y="95"/>
                  </a:lnTo>
                  <a:lnTo>
                    <a:pt x="366" y="123"/>
                  </a:lnTo>
                  <a:lnTo>
                    <a:pt x="180" y="652"/>
                  </a:lnTo>
                  <a:lnTo>
                    <a:pt x="165" y="676"/>
                  </a:lnTo>
                  <a:lnTo>
                    <a:pt x="145" y="697"/>
                  </a:lnTo>
                  <a:lnTo>
                    <a:pt x="121" y="708"/>
                  </a:lnTo>
                  <a:lnTo>
                    <a:pt x="93" y="713"/>
                  </a:lnTo>
                  <a:lnTo>
                    <a:pt x="61" y="708"/>
                  </a:lnTo>
                  <a:lnTo>
                    <a:pt x="35" y="693"/>
                  </a:lnTo>
                  <a:lnTo>
                    <a:pt x="16" y="672"/>
                  </a:lnTo>
                  <a:lnTo>
                    <a:pt x="3" y="646"/>
                  </a:lnTo>
                  <a:lnTo>
                    <a:pt x="0" y="618"/>
                  </a:lnTo>
                  <a:lnTo>
                    <a:pt x="5" y="589"/>
                  </a:lnTo>
                  <a:lnTo>
                    <a:pt x="191" y="62"/>
                  </a:lnTo>
                  <a:lnTo>
                    <a:pt x="206" y="36"/>
                  </a:lnTo>
                  <a:lnTo>
                    <a:pt x="227" y="17"/>
                  </a:lnTo>
                  <a:lnTo>
                    <a:pt x="253" y="4"/>
                  </a:lnTo>
                  <a:lnTo>
                    <a:pt x="281" y="0"/>
                  </a:lnTo>
                  <a:close/>
                </a:path>
              </a:pathLst>
            </a:custGeom>
            <a:solidFill>
              <a:srgbClr val="91A8DD"/>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69" name="Freeform 16"/>
            <p:cNvSpPr>
              <a:spLocks/>
            </p:cNvSpPr>
            <p:nvPr/>
          </p:nvSpPr>
          <p:spPr bwMode="auto">
            <a:xfrm>
              <a:off x="11899901" y="7435850"/>
              <a:ext cx="501650" cy="569913"/>
            </a:xfrm>
            <a:custGeom>
              <a:avLst/>
              <a:gdLst>
                <a:gd name="T0" fmla="*/ 67 w 633"/>
                <a:gd name="T1" fmla="*/ 0 h 718"/>
                <a:gd name="T2" fmla="*/ 633 w 633"/>
                <a:gd name="T3" fmla="*/ 199 h 718"/>
                <a:gd name="T4" fmla="*/ 301 w 633"/>
                <a:gd name="T5" fmla="*/ 718 h 718"/>
                <a:gd name="T6" fmla="*/ 0 w 633"/>
                <a:gd name="T7" fmla="*/ 610 h 718"/>
                <a:gd name="T8" fmla="*/ 67 w 633"/>
                <a:gd name="T9" fmla="*/ 0 h 718"/>
              </a:gdLst>
              <a:ahLst/>
              <a:cxnLst>
                <a:cxn ang="0">
                  <a:pos x="T0" y="T1"/>
                </a:cxn>
                <a:cxn ang="0">
                  <a:pos x="T2" y="T3"/>
                </a:cxn>
                <a:cxn ang="0">
                  <a:pos x="T4" y="T5"/>
                </a:cxn>
                <a:cxn ang="0">
                  <a:pos x="T6" y="T7"/>
                </a:cxn>
                <a:cxn ang="0">
                  <a:pos x="T8" y="T9"/>
                </a:cxn>
              </a:cxnLst>
              <a:rect l="0" t="0" r="r" b="b"/>
              <a:pathLst>
                <a:path w="633" h="718">
                  <a:moveTo>
                    <a:pt x="67" y="0"/>
                  </a:moveTo>
                  <a:lnTo>
                    <a:pt x="633" y="199"/>
                  </a:lnTo>
                  <a:lnTo>
                    <a:pt x="301" y="718"/>
                  </a:lnTo>
                  <a:lnTo>
                    <a:pt x="0" y="610"/>
                  </a:lnTo>
                  <a:lnTo>
                    <a:pt x="67" y="0"/>
                  </a:lnTo>
                  <a:close/>
                </a:path>
              </a:pathLst>
            </a:custGeom>
            <a:solidFill>
              <a:srgbClr val="FFBA47"/>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70" name="Freeform 17"/>
            <p:cNvSpPr>
              <a:spLocks/>
            </p:cNvSpPr>
            <p:nvPr/>
          </p:nvSpPr>
          <p:spPr bwMode="auto">
            <a:xfrm>
              <a:off x="13136563" y="3965575"/>
              <a:ext cx="398463" cy="454025"/>
            </a:xfrm>
            <a:custGeom>
              <a:avLst/>
              <a:gdLst>
                <a:gd name="T0" fmla="*/ 285 w 503"/>
                <a:gd name="T1" fmla="*/ 0 h 572"/>
                <a:gd name="T2" fmla="*/ 326 w 503"/>
                <a:gd name="T3" fmla="*/ 2 h 572"/>
                <a:gd name="T4" fmla="*/ 367 w 503"/>
                <a:gd name="T5" fmla="*/ 11 h 572"/>
                <a:gd name="T6" fmla="*/ 404 w 503"/>
                <a:gd name="T7" fmla="*/ 30 h 572"/>
                <a:gd name="T8" fmla="*/ 436 w 503"/>
                <a:gd name="T9" fmla="*/ 54 h 572"/>
                <a:gd name="T10" fmla="*/ 462 w 503"/>
                <a:gd name="T11" fmla="*/ 82 h 572"/>
                <a:gd name="T12" fmla="*/ 482 w 503"/>
                <a:gd name="T13" fmla="*/ 117 h 572"/>
                <a:gd name="T14" fmla="*/ 497 w 503"/>
                <a:gd name="T15" fmla="*/ 153 h 572"/>
                <a:gd name="T16" fmla="*/ 503 w 503"/>
                <a:gd name="T17" fmla="*/ 192 h 572"/>
                <a:gd name="T18" fmla="*/ 501 w 503"/>
                <a:gd name="T19" fmla="*/ 233 h 572"/>
                <a:gd name="T20" fmla="*/ 492 w 503"/>
                <a:gd name="T21" fmla="*/ 274 h 572"/>
                <a:gd name="T22" fmla="*/ 386 w 503"/>
                <a:gd name="T23" fmla="*/ 572 h 572"/>
                <a:gd name="T24" fmla="*/ 0 w 503"/>
                <a:gd name="T25" fmla="*/ 436 h 572"/>
                <a:gd name="T26" fmla="*/ 104 w 503"/>
                <a:gd name="T27" fmla="*/ 136 h 572"/>
                <a:gd name="T28" fmla="*/ 123 w 503"/>
                <a:gd name="T29" fmla="*/ 99 h 572"/>
                <a:gd name="T30" fmla="*/ 147 w 503"/>
                <a:gd name="T31" fmla="*/ 67 h 572"/>
                <a:gd name="T32" fmla="*/ 177 w 503"/>
                <a:gd name="T33" fmla="*/ 41 h 572"/>
                <a:gd name="T34" fmla="*/ 211 w 503"/>
                <a:gd name="T35" fmla="*/ 20 h 572"/>
                <a:gd name="T36" fmla="*/ 248 w 503"/>
                <a:gd name="T37" fmla="*/ 7 h 572"/>
                <a:gd name="T38" fmla="*/ 285 w 503"/>
                <a:gd name="T39"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3" h="572">
                  <a:moveTo>
                    <a:pt x="285" y="0"/>
                  </a:moveTo>
                  <a:lnTo>
                    <a:pt x="326" y="2"/>
                  </a:lnTo>
                  <a:lnTo>
                    <a:pt x="367" y="11"/>
                  </a:lnTo>
                  <a:lnTo>
                    <a:pt x="404" y="30"/>
                  </a:lnTo>
                  <a:lnTo>
                    <a:pt x="436" y="54"/>
                  </a:lnTo>
                  <a:lnTo>
                    <a:pt x="462" y="82"/>
                  </a:lnTo>
                  <a:lnTo>
                    <a:pt x="482" y="117"/>
                  </a:lnTo>
                  <a:lnTo>
                    <a:pt x="497" y="153"/>
                  </a:lnTo>
                  <a:lnTo>
                    <a:pt x="503" y="192"/>
                  </a:lnTo>
                  <a:lnTo>
                    <a:pt x="501" y="233"/>
                  </a:lnTo>
                  <a:lnTo>
                    <a:pt x="492" y="274"/>
                  </a:lnTo>
                  <a:lnTo>
                    <a:pt x="386" y="572"/>
                  </a:lnTo>
                  <a:lnTo>
                    <a:pt x="0" y="436"/>
                  </a:lnTo>
                  <a:lnTo>
                    <a:pt x="104" y="136"/>
                  </a:lnTo>
                  <a:lnTo>
                    <a:pt x="123" y="99"/>
                  </a:lnTo>
                  <a:lnTo>
                    <a:pt x="147" y="67"/>
                  </a:lnTo>
                  <a:lnTo>
                    <a:pt x="177" y="41"/>
                  </a:lnTo>
                  <a:lnTo>
                    <a:pt x="211" y="20"/>
                  </a:lnTo>
                  <a:lnTo>
                    <a:pt x="248" y="7"/>
                  </a:lnTo>
                  <a:lnTo>
                    <a:pt x="285" y="0"/>
                  </a:lnTo>
                  <a:close/>
                </a:path>
              </a:pathLst>
            </a:custGeom>
            <a:solidFill>
              <a:schemeClr val="accent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71" name="Group 170"/>
          <p:cNvGrpSpPr/>
          <p:nvPr/>
        </p:nvGrpSpPr>
        <p:grpSpPr>
          <a:xfrm>
            <a:off x="9189023" y="5764887"/>
            <a:ext cx="249060" cy="249060"/>
            <a:chOff x="2989716" y="3091657"/>
            <a:chExt cx="4876800" cy="4876800"/>
          </a:xfrm>
        </p:grpSpPr>
        <p:sp>
          <p:nvSpPr>
            <p:cNvPr id="172" name="Freeform 18"/>
            <p:cNvSpPr>
              <a:spLocks noEditPoints="1"/>
            </p:cNvSpPr>
            <p:nvPr/>
          </p:nvSpPr>
          <p:spPr bwMode="auto">
            <a:xfrm>
              <a:off x="2989716" y="3091657"/>
              <a:ext cx="4876800" cy="4876800"/>
            </a:xfrm>
            <a:custGeom>
              <a:avLst/>
              <a:gdLst>
                <a:gd name="T0" fmla="*/ 2575 w 6144"/>
                <a:gd name="T1" fmla="*/ 1657 h 6144"/>
                <a:gd name="T2" fmla="*/ 2055 w 6144"/>
                <a:gd name="T3" fmla="*/ 1970 h 6144"/>
                <a:gd name="T4" fmla="*/ 1702 w 6144"/>
                <a:gd name="T5" fmla="*/ 2461 h 6144"/>
                <a:gd name="T6" fmla="*/ 1571 w 6144"/>
                <a:gd name="T7" fmla="*/ 3072 h 6144"/>
                <a:gd name="T8" fmla="*/ 1702 w 6144"/>
                <a:gd name="T9" fmla="*/ 3683 h 6144"/>
                <a:gd name="T10" fmla="*/ 2055 w 6144"/>
                <a:gd name="T11" fmla="*/ 4174 h 6144"/>
                <a:gd name="T12" fmla="*/ 2575 w 6144"/>
                <a:gd name="T13" fmla="*/ 4487 h 6144"/>
                <a:gd name="T14" fmla="*/ 3200 w 6144"/>
                <a:gd name="T15" fmla="*/ 4567 h 6144"/>
                <a:gd name="T16" fmla="*/ 3793 w 6144"/>
                <a:gd name="T17" fmla="*/ 4386 h 6144"/>
                <a:gd name="T18" fmla="*/ 4252 w 6144"/>
                <a:gd name="T19" fmla="*/ 3995 h 6144"/>
                <a:gd name="T20" fmla="*/ 4524 w 6144"/>
                <a:gd name="T21" fmla="*/ 3450 h 6144"/>
                <a:gd name="T22" fmla="*/ 4550 w 6144"/>
                <a:gd name="T23" fmla="*/ 2817 h 6144"/>
                <a:gd name="T24" fmla="*/ 4323 w 6144"/>
                <a:gd name="T25" fmla="*/ 2247 h 6144"/>
                <a:gd name="T26" fmla="*/ 3897 w 6144"/>
                <a:gd name="T27" fmla="*/ 1821 h 6144"/>
                <a:gd name="T28" fmla="*/ 3327 w 6144"/>
                <a:gd name="T29" fmla="*/ 1594 h 6144"/>
                <a:gd name="T30" fmla="*/ 3463 w 6144"/>
                <a:gd name="T31" fmla="*/ 357 h 6144"/>
                <a:gd name="T32" fmla="*/ 3606 w 6144"/>
                <a:gd name="T33" fmla="*/ 585 h 6144"/>
                <a:gd name="T34" fmla="*/ 3856 w 6144"/>
                <a:gd name="T35" fmla="*/ 650 h 6144"/>
                <a:gd name="T36" fmla="*/ 4092 w 6144"/>
                <a:gd name="T37" fmla="*/ 525 h 6144"/>
                <a:gd name="T38" fmla="*/ 4744 w 6144"/>
                <a:gd name="T39" fmla="*/ 1046 h 6144"/>
                <a:gd name="T40" fmla="*/ 4874 w 6144"/>
                <a:gd name="T41" fmla="*/ 1313 h 6144"/>
                <a:gd name="T42" fmla="*/ 5161 w 6144"/>
                <a:gd name="T43" fmla="*/ 1395 h 6144"/>
                <a:gd name="T44" fmla="*/ 5576 w 6144"/>
                <a:gd name="T45" fmla="*/ 2093 h 6144"/>
                <a:gd name="T46" fmla="*/ 5492 w 6144"/>
                <a:gd name="T47" fmla="*/ 2342 h 6144"/>
                <a:gd name="T48" fmla="*/ 5593 w 6144"/>
                <a:gd name="T49" fmla="*/ 2580 h 6144"/>
                <a:gd name="T50" fmla="*/ 6144 w 6144"/>
                <a:gd name="T51" fmla="*/ 2739 h 6144"/>
                <a:gd name="T52" fmla="*/ 5634 w 6144"/>
                <a:gd name="T53" fmla="*/ 3528 h 6144"/>
                <a:gd name="T54" fmla="*/ 5500 w 6144"/>
                <a:gd name="T55" fmla="*/ 3750 h 6144"/>
                <a:gd name="T56" fmla="*/ 5543 w 6144"/>
                <a:gd name="T57" fmla="*/ 4007 h 6144"/>
                <a:gd name="T58" fmla="*/ 5224 w 6144"/>
                <a:gd name="T59" fmla="*/ 4766 h 6144"/>
                <a:gd name="T60" fmla="*/ 4923 w 6144"/>
                <a:gd name="T61" fmla="*/ 4796 h 6144"/>
                <a:gd name="T62" fmla="*/ 4751 w 6144"/>
                <a:gd name="T63" fmla="*/ 5036 h 6144"/>
                <a:gd name="T64" fmla="*/ 4314 w 6144"/>
                <a:gd name="T65" fmla="*/ 5889 h 6144"/>
                <a:gd name="T66" fmla="*/ 3906 w 6144"/>
                <a:gd name="T67" fmla="*/ 5502 h 6144"/>
                <a:gd name="T68" fmla="*/ 3651 w 6144"/>
                <a:gd name="T69" fmla="*/ 5533 h 6144"/>
                <a:gd name="T70" fmla="*/ 3476 w 6144"/>
                <a:gd name="T71" fmla="*/ 5731 h 6144"/>
                <a:gd name="T72" fmla="*/ 2668 w 6144"/>
                <a:gd name="T73" fmla="*/ 5729 h 6144"/>
                <a:gd name="T74" fmla="*/ 2493 w 6144"/>
                <a:gd name="T75" fmla="*/ 5533 h 6144"/>
                <a:gd name="T76" fmla="*/ 2236 w 6144"/>
                <a:gd name="T77" fmla="*/ 5502 h 6144"/>
                <a:gd name="T78" fmla="*/ 1830 w 6144"/>
                <a:gd name="T79" fmla="*/ 5889 h 6144"/>
                <a:gd name="T80" fmla="*/ 1393 w 6144"/>
                <a:gd name="T81" fmla="*/ 5034 h 6144"/>
                <a:gd name="T82" fmla="*/ 1221 w 6144"/>
                <a:gd name="T83" fmla="*/ 4794 h 6144"/>
                <a:gd name="T84" fmla="*/ 920 w 6144"/>
                <a:gd name="T85" fmla="*/ 4766 h 6144"/>
                <a:gd name="T86" fmla="*/ 601 w 6144"/>
                <a:gd name="T87" fmla="*/ 4007 h 6144"/>
                <a:gd name="T88" fmla="*/ 644 w 6144"/>
                <a:gd name="T89" fmla="*/ 3750 h 6144"/>
                <a:gd name="T90" fmla="*/ 510 w 6144"/>
                <a:gd name="T91" fmla="*/ 3528 h 6144"/>
                <a:gd name="T92" fmla="*/ 0 w 6144"/>
                <a:gd name="T93" fmla="*/ 2739 h 6144"/>
                <a:gd name="T94" fmla="*/ 551 w 6144"/>
                <a:gd name="T95" fmla="*/ 2579 h 6144"/>
                <a:gd name="T96" fmla="*/ 652 w 6144"/>
                <a:gd name="T97" fmla="*/ 2342 h 6144"/>
                <a:gd name="T98" fmla="*/ 568 w 6144"/>
                <a:gd name="T99" fmla="*/ 2093 h 6144"/>
                <a:gd name="T100" fmla="*/ 983 w 6144"/>
                <a:gd name="T101" fmla="*/ 1396 h 6144"/>
                <a:gd name="T102" fmla="*/ 1270 w 6144"/>
                <a:gd name="T103" fmla="*/ 1313 h 6144"/>
                <a:gd name="T104" fmla="*/ 1400 w 6144"/>
                <a:gd name="T105" fmla="*/ 1046 h 6144"/>
                <a:gd name="T106" fmla="*/ 2052 w 6144"/>
                <a:gd name="T107" fmla="*/ 525 h 6144"/>
                <a:gd name="T108" fmla="*/ 2288 w 6144"/>
                <a:gd name="T109" fmla="*/ 650 h 6144"/>
                <a:gd name="T110" fmla="*/ 2538 w 6144"/>
                <a:gd name="T111" fmla="*/ 585 h 6144"/>
                <a:gd name="T112" fmla="*/ 2681 w 6144"/>
                <a:gd name="T113" fmla="*/ 35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4" h="6144">
                  <a:moveTo>
                    <a:pt x="3072" y="1571"/>
                  </a:moveTo>
                  <a:lnTo>
                    <a:pt x="2944" y="1577"/>
                  </a:lnTo>
                  <a:lnTo>
                    <a:pt x="2817" y="1594"/>
                  </a:lnTo>
                  <a:lnTo>
                    <a:pt x="2694" y="1620"/>
                  </a:lnTo>
                  <a:lnTo>
                    <a:pt x="2575" y="1657"/>
                  </a:lnTo>
                  <a:lnTo>
                    <a:pt x="2461" y="1702"/>
                  </a:lnTo>
                  <a:lnTo>
                    <a:pt x="2351" y="1758"/>
                  </a:lnTo>
                  <a:lnTo>
                    <a:pt x="2247" y="1821"/>
                  </a:lnTo>
                  <a:lnTo>
                    <a:pt x="2149" y="1892"/>
                  </a:lnTo>
                  <a:lnTo>
                    <a:pt x="2055" y="1970"/>
                  </a:lnTo>
                  <a:lnTo>
                    <a:pt x="1970" y="2055"/>
                  </a:lnTo>
                  <a:lnTo>
                    <a:pt x="1892" y="2149"/>
                  </a:lnTo>
                  <a:lnTo>
                    <a:pt x="1821" y="2247"/>
                  </a:lnTo>
                  <a:lnTo>
                    <a:pt x="1758" y="2351"/>
                  </a:lnTo>
                  <a:lnTo>
                    <a:pt x="1702" y="2461"/>
                  </a:lnTo>
                  <a:lnTo>
                    <a:pt x="1657" y="2575"/>
                  </a:lnTo>
                  <a:lnTo>
                    <a:pt x="1620" y="2694"/>
                  </a:lnTo>
                  <a:lnTo>
                    <a:pt x="1594" y="2817"/>
                  </a:lnTo>
                  <a:lnTo>
                    <a:pt x="1577" y="2944"/>
                  </a:lnTo>
                  <a:lnTo>
                    <a:pt x="1571" y="3072"/>
                  </a:lnTo>
                  <a:lnTo>
                    <a:pt x="1577" y="3200"/>
                  </a:lnTo>
                  <a:lnTo>
                    <a:pt x="1594" y="3327"/>
                  </a:lnTo>
                  <a:lnTo>
                    <a:pt x="1620" y="3450"/>
                  </a:lnTo>
                  <a:lnTo>
                    <a:pt x="1657" y="3569"/>
                  </a:lnTo>
                  <a:lnTo>
                    <a:pt x="1702" y="3683"/>
                  </a:lnTo>
                  <a:lnTo>
                    <a:pt x="1758" y="3793"/>
                  </a:lnTo>
                  <a:lnTo>
                    <a:pt x="1821" y="3897"/>
                  </a:lnTo>
                  <a:lnTo>
                    <a:pt x="1892" y="3995"/>
                  </a:lnTo>
                  <a:lnTo>
                    <a:pt x="1970" y="4089"/>
                  </a:lnTo>
                  <a:lnTo>
                    <a:pt x="2055" y="4174"/>
                  </a:lnTo>
                  <a:lnTo>
                    <a:pt x="2149" y="4252"/>
                  </a:lnTo>
                  <a:lnTo>
                    <a:pt x="2247" y="4323"/>
                  </a:lnTo>
                  <a:lnTo>
                    <a:pt x="2351" y="4386"/>
                  </a:lnTo>
                  <a:lnTo>
                    <a:pt x="2461" y="4442"/>
                  </a:lnTo>
                  <a:lnTo>
                    <a:pt x="2575" y="4487"/>
                  </a:lnTo>
                  <a:lnTo>
                    <a:pt x="2694" y="4524"/>
                  </a:lnTo>
                  <a:lnTo>
                    <a:pt x="2817" y="4550"/>
                  </a:lnTo>
                  <a:lnTo>
                    <a:pt x="2944" y="4567"/>
                  </a:lnTo>
                  <a:lnTo>
                    <a:pt x="3072" y="4573"/>
                  </a:lnTo>
                  <a:lnTo>
                    <a:pt x="3200" y="4567"/>
                  </a:lnTo>
                  <a:lnTo>
                    <a:pt x="3327" y="4550"/>
                  </a:lnTo>
                  <a:lnTo>
                    <a:pt x="3450" y="4524"/>
                  </a:lnTo>
                  <a:lnTo>
                    <a:pt x="3569" y="4487"/>
                  </a:lnTo>
                  <a:lnTo>
                    <a:pt x="3683" y="4442"/>
                  </a:lnTo>
                  <a:lnTo>
                    <a:pt x="3793" y="4386"/>
                  </a:lnTo>
                  <a:lnTo>
                    <a:pt x="3897" y="4323"/>
                  </a:lnTo>
                  <a:lnTo>
                    <a:pt x="3995" y="4252"/>
                  </a:lnTo>
                  <a:lnTo>
                    <a:pt x="4089" y="4174"/>
                  </a:lnTo>
                  <a:lnTo>
                    <a:pt x="4174" y="4089"/>
                  </a:lnTo>
                  <a:lnTo>
                    <a:pt x="4252" y="3995"/>
                  </a:lnTo>
                  <a:lnTo>
                    <a:pt x="4323" y="3897"/>
                  </a:lnTo>
                  <a:lnTo>
                    <a:pt x="4386" y="3793"/>
                  </a:lnTo>
                  <a:lnTo>
                    <a:pt x="4442" y="3683"/>
                  </a:lnTo>
                  <a:lnTo>
                    <a:pt x="4487" y="3569"/>
                  </a:lnTo>
                  <a:lnTo>
                    <a:pt x="4524" y="3450"/>
                  </a:lnTo>
                  <a:lnTo>
                    <a:pt x="4550" y="3327"/>
                  </a:lnTo>
                  <a:lnTo>
                    <a:pt x="4567" y="3200"/>
                  </a:lnTo>
                  <a:lnTo>
                    <a:pt x="4573" y="3072"/>
                  </a:lnTo>
                  <a:lnTo>
                    <a:pt x="4567" y="2944"/>
                  </a:lnTo>
                  <a:lnTo>
                    <a:pt x="4550" y="2817"/>
                  </a:lnTo>
                  <a:lnTo>
                    <a:pt x="4524" y="2694"/>
                  </a:lnTo>
                  <a:lnTo>
                    <a:pt x="4487" y="2575"/>
                  </a:lnTo>
                  <a:lnTo>
                    <a:pt x="4442" y="2461"/>
                  </a:lnTo>
                  <a:lnTo>
                    <a:pt x="4386" y="2351"/>
                  </a:lnTo>
                  <a:lnTo>
                    <a:pt x="4323" y="2247"/>
                  </a:lnTo>
                  <a:lnTo>
                    <a:pt x="4252" y="2149"/>
                  </a:lnTo>
                  <a:lnTo>
                    <a:pt x="4174" y="2055"/>
                  </a:lnTo>
                  <a:lnTo>
                    <a:pt x="4089" y="1970"/>
                  </a:lnTo>
                  <a:lnTo>
                    <a:pt x="3995" y="1892"/>
                  </a:lnTo>
                  <a:lnTo>
                    <a:pt x="3897" y="1821"/>
                  </a:lnTo>
                  <a:lnTo>
                    <a:pt x="3793" y="1758"/>
                  </a:lnTo>
                  <a:lnTo>
                    <a:pt x="3683" y="1702"/>
                  </a:lnTo>
                  <a:lnTo>
                    <a:pt x="3569" y="1657"/>
                  </a:lnTo>
                  <a:lnTo>
                    <a:pt x="3450" y="1620"/>
                  </a:lnTo>
                  <a:lnTo>
                    <a:pt x="3327" y="1594"/>
                  </a:lnTo>
                  <a:lnTo>
                    <a:pt x="3200" y="1577"/>
                  </a:lnTo>
                  <a:lnTo>
                    <a:pt x="3072" y="1571"/>
                  </a:lnTo>
                  <a:close/>
                  <a:moveTo>
                    <a:pt x="2739" y="0"/>
                  </a:moveTo>
                  <a:lnTo>
                    <a:pt x="3405" y="0"/>
                  </a:lnTo>
                  <a:lnTo>
                    <a:pt x="3463" y="357"/>
                  </a:lnTo>
                  <a:lnTo>
                    <a:pt x="3476" y="415"/>
                  </a:lnTo>
                  <a:lnTo>
                    <a:pt x="3498" y="465"/>
                  </a:lnTo>
                  <a:lnTo>
                    <a:pt x="3528" y="510"/>
                  </a:lnTo>
                  <a:lnTo>
                    <a:pt x="3564" y="551"/>
                  </a:lnTo>
                  <a:lnTo>
                    <a:pt x="3606" y="585"/>
                  </a:lnTo>
                  <a:lnTo>
                    <a:pt x="3651" y="611"/>
                  </a:lnTo>
                  <a:lnTo>
                    <a:pt x="3699" y="631"/>
                  </a:lnTo>
                  <a:lnTo>
                    <a:pt x="3750" y="644"/>
                  </a:lnTo>
                  <a:lnTo>
                    <a:pt x="3802" y="652"/>
                  </a:lnTo>
                  <a:lnTo>
                    <a:pt x="3856" y="650"/>
                  </a:lnTo>
                  <a:lnTo>
                    <a:pt x="3908" y="642"/>
                  </a:lnTo>
                  <a:lnTo>
                    <a:pt x="3958" y="626"/>
                  </a:lnTo>
                  <a:lnTo>
                    <a:pt x="4007" y="601"/>
                  </a:lnTo>
                  <a:lnTo>
                    <a:pt x="4051" y="568"/>
                  </a:lnTo>
                  <a:lnTo>
                    <a:pt x="4092" y="525"/>
                  </a:lnTo>
                  <a:lnTo>
                    <a:pt x="4314" y="255"/>
                  </a:lnTo>
                  <a:lnTo>
                    <a:pt x="4889" y="588"/>
                  </a:lnTo>
                  <a:lnTo>
                    <a:pt x="4766" y="920"/>
                  </a:lnTo>
                  <a:lnTo>
                    <a:pt x="4748" y="983"/>
                  </a:lnTo>
                  <a:lnTo>
                    <a:pt x="4744" y="1046"/>
                  </a:lnTo>
                  <a:lnTo>
                    <a:pt x="4751" y="1108"/>
                  </a:lnTo>
                  <a:lnTo>
                    <a:pt x="4768" y="1167"/>
                  </a:lnTo>
                  <a:lnTo>
                    <a:pt x="4796" y="1221"/>
                  </a:lnTo>
                  <a:lnTo>
                    <a:pt x="4831" y="1270"/>
                  </a:lnTo>
                  <a:lnTo>
                    <a:pt x="4874" y="1313"/>
                  </a:lnTo>
                  <a:lnTo>
                    <a:pt x="4923" y="1348"/>
                  </a:lnTo>
                  <a:lnTo>
                    <a:pt x="4977" y="1376"/>
                  </a:lnTo>
                  <a:lnTo>
                    <a:pt x="5036" y="1393"/>
                  </a:lnTo>
                  <a:lnTo>
                    <a:pt x="5098" y="1400"/>
                  </a:lnTo>
                  <a:lnTo>
                    <a:pt x="5161" y="1395"/>
                  </a:lnTo>
                  <a:lnTo>
                    <a:pt x="5224" y="1378"/>
                  </a:lnTo>
                  <a:lnTo>
                    <a:pt x="5556" y="1255"/>
                  </a:lnTo>
                  <a:lnTo>
                    <a:pt x="5889" y="1830"/>
                  </a:lnTo>
                  <a:lnTo>
                    <a:pt x="5619" y="2052"/>
                  </a:lnTo>
                  <a:lnTo>
                    <a:pt x="5576" y="2093"/>
                  </a:lnTo>
                  <a:lnTo>
                    <a:pt x="5543" y="2137"/>
                  </a:lnTo>
                  <a:lnTo>
                    <a:pt x="5518" y="2186"/>
                  </a:lnTo>
                  <a:lnTo>
                    <a:pt x="5502" y="2236"/>
                  </a:lnTo>
                  <a:lnTo>
                    <a:pt x="5494" y="2288"/>
                  </a:lnTo>
                  <a:lnTo>
                    <a:pt x="5492" y="2342"/>
                  </a:lnTo>
                  <a:lnTo>
                    <a:pt x="5500" y="2394"/>
                  </a:lnTo>
                  <a:lnTo>
                    <a:pt x="5513" y="2445"/>
                  </a:lnTo>
                  <a:lnTo>
                    <a:pt x="5533" y="2493"/>
                  </a:lnTo>
                  <a:lnTo>
                    <a:pt x="5559" y="2540"/>
                  </a:lnTo>
                  <a:lnTo>
                    <a:pt x="5593" y="2580"/>
                  </a:lnTo>
                  <a:lnTo>
                    <a:pt x="5634" y="2616"/>
                  </a:lnTo>
                  <a:lnTo>
                    <a:pt x="5679" y="2646"/>
                  </a:lnTo>
                  <a:lnTo>
                    <a:pt x="5729" y="2668"/>
                  </a:lnTo>
                  <a:lnTo>
                    <a:pt x="5787" y="2681"/>
                  </a:lnTo>
                  <a:lnTo>
                    <a:pt x="6144" y="2739"/>
                  </a:lnTo>
                  <a:lnTo>
                    <a:pt x="6144" y="3405"/>
                  </a:lnTo>
                  <a:lnTo>
                    <a:pt x="5787" y="3463"/>
                  </a:lnTo>
                  <a:lnTo>
                    <a:pt x="5729" y="3476"/>
                  </a:lnTo>
                  <a:lnTo>
                    <a:pt x="5679" y="3498"/>
                  </a:lnTo>
                  <a:lnTo>
                    <a:pt x="5634" y="3528"/>
                  </a:lnTo>
                  <a:lnTo>
                    <a:pt x="5593" y="3565"/>
                  </a:lnTo>
                  <a:lnTo>
                    <a:pt x="5559" y="3606"/>
                  </a:lnTo>
                  <a:lnTo>
                    <a:pt x="5533" y="3651"/>
                  </a:lnTo>
                  <a:lnTo>
                    <a:pt x="5513" y="3699"/>
                  </a:lnTo>
                  <a:lnTo>
                    <a:pt x="5500" y="3750"/>
                  </a:lnTo>
                  <a:lnTo>
                    <a:pt x="5492" y="3802"/>
                  </a:lnTo>
                  <a:lnTo>
                    <a:pt x="5494" y="3856"/>
                  </a:lnTo>
                  <a:lnTo>
                    <a:pt x="5502" y="3908"/>
                  </a:lnTo>
                  <a:lnTo>
                    <a:pt x="5518" y="3958"/>
                  </a:lnTo>
                  <a:lnTo>
                    <a:pt x="5543" y="4007"/>
                  </a:lnTo>
                  <a:lnTo>
                    <a:pt x="5576" y="4051"/>
                  </a:lnTo>
                  <a:lnTo>
                    <a:pt x="5619" y="4092"/>
                  </a:lnTo>
                  <a:lnTo>
                    <a:pt x="5889" y="4314"/>
                  </a:lnTo>
                  <a:lnTo>
                    <a:pt x="5556" y="4889"/>
                  </a:lnTo>
                  <a:lnTo>
                    <a:pt x="5224" y="4766"/>
                  </a:lnTo>
                  <a:lnTo>
                    <a:pt x="5161" y="4748"/>
                  </a:lnTo>
                  <a:lnTo>
                    <a:pt x="5096" y="4744"/>
                  </a:lnTo>
                  <a:lnTo>
                    <a:pt x="5034" y="4751"/>
                  </a:lnTo>
                  <a:lnTo>
                    <a:pt x="4977" y="4768"/>
                  </a:lnTo>
                  <a:lnTo>
                    <a:pt x="4923" y="4796"/>
                  </a:lnTo>
                  <a:lnTo>
                    <a:pt x="4872" y="4831"/>
                  </a:lnTo>
                  <a:lnTo>
                    <a:pt x="4830" y="4874"/>
                  </a:lnTo>
                  <a:lnTo>
                    <a:pt x="4794" y="4923"/>
                  </a:lnTo>
                  <a:lnTo>
                    <a:pt x="4768" y="4977"/>
                  </a:lnTo>
                  <a:lnTo>
                    <a:pt x="4751" y="5036"/>
                  </a:lnTo>
                  <a:lnTo>
                    <a:pt x="4744" y="5098"/>
                  </a:lnTo>
                  <a:lnTo>
                    <a:pt x="4749" y="5161"/>
                  </a:lnTo>
                  <a:lnTo>
                    <a:pt x="4766" y="5224"/>
                  </a:lnTo>
                  <a:lnTo>
                    <a:pt x="4889" y="5556"/>
                  </a:lnTo>
                  <a:lnTo>
                    <a:pt x="4314" y="5889"/>
                  </a:lnTo>
                  <a:lnTo>
                    <a:pt x="4092" y="5619"/>
                  </a:lnTo>
                  <a:lnTo>
                    <a:pt x="4051" y="5576"/>
                  </a:lnTo>
                  <a:lnTo>
                    <a:pt x="4007" y="5543"/>
                  </a:lnTo>
                  <a:lnTo>
                    <a:pt x="3958" y="5518"/>
                  </a:lnTo>
                  <a:lnTo>
                    <a:pt x="3906" y="5502"/>
                  </a:lnTo>
                  <a:lnTo>
                    <a:pt x="3854" y="5494"/>
                  </a:lnTo>
                  <a:lnTo>
                    <a:pt x="3802" y="5492"/>
                  </a:lnTo>
                  <a:lnTo>
                    <a:pt x="3750" y="5500"/>
                  </a:lnTo>
                  <a:lnTo>
                    <a:pt x="3699" y="5513"/>
                  </a:lnTo>
                  <a:lnTo>
                    <a:pt x="3651" y="5533"/>
                  </a:lnTo>
                  <a:lnTo>
                    <a:pt x="3604" y="5561"/>
                  </a:lnTo>
                  <a:lnTo>
                    <a:pt x="3564" y="5595"/>
                  </a:lnTo>
                  <a:lnTo>
                    <a:pt x="3528" y="5634"/>
                  </a:lnTo>
                  <a:lnTo>
                    <a:pt x="3498" y="5679"/>
                  </a:lnTo>
                  <a:lnTo>
                    <a:pt x="3476" y="5731"/>
                  </a:lnTo>
                  <a:lnTo>
                    <a:pt x="3463" y="5787"/>
                  </a:lnTo>
                  <a:lnTo>
                    <a:pt x="3405" y="6144"/>
                  </a:lnTo>
                  <a:lnTo>
                    <a:pt x="2739" y="6144"/>
                  </a:lnTo>
                  <a:lnTo>
                    <a:pt x="2681" y="5787"/>
                  </a:lnTo>
                  <a:lnTo>
                    <a:pt x="2668" y="5729"/>
                  </a:lnTo>
                  <a:lnTo>
                    <a:pt x="2646" y="5679"/>
                  </a:lnTo>
                  <a:lnTo>
                    <a:pt x="2616" y="5632"/>
                  </a:lnTo>
                  <a:lnTo>
                    <a:pt x="2579" y="5593"/>
                  </a:lnTo>
                  <a:lnTo>
                    <a:pt x="2538" y="5559"/>
                  </a:lnTo>
                  <a:lnTo>
                    <a:pt x="2493" y="5533"/>
                  </a:lnTo>
                  <a:lnTo>
                    <a:pt x="2445" y="5513"/>
                  </a:lnTo>
                  <a:lnTo>
                    <a:pt x="2394" y="5500"/>
                  </a:lnTo>
                  <a:lnTo>
                    <a:pt x="2340" y="5492"/>
                  </a:lnTo>
                  <a:lnTo>
                    <a:pt x="2288" y="5494"/>
                  </a:lnTo>
                  <a:lnTo>
                    <a:pt x="2236" y="5502"/>
                  </a:lnTo>
                  <a:lnTo>
                    <a:pt x="2186" y="5518"/>
                  </a:lnTo>
                  <a:lnTo>
                    <a:pt x="2137" y="5544"/>
                  </a:lnTo>
                  <a:lnTo>
                    <a:pt x="2093" y="5576"/>
                  </a:lnTo>
                  <a:lnTo>
                    <a:pt x="2052" y="5619"/>
                  </a:lnTo>
                  <a:lnTo>
                    <a:pt x="1830" y="5889"/>
                  </a:lnTo>
                  <a:lnTo>
                    <a:pt x="1255" y="5556"/>
                  </a:lnTo>
                  <a:lnTo>
                    <a:pt x="1378" y="5224"/>
                  </a:lnTo>
                  <a:lnTo>
                    <a:pt x="1396" y="5161"/>
                  </a:lnTo>
                  <a:lnTo>
                    <a:pt x="1400" y="5096"/>
                  </a:lnTo>
                  <a:lnTo>
                    <a:pt x="1393" y="5034"/>
                  </a:lnTo>
                  <a:lnTo>
                    <a:pt x="1376" y="4977"/>
                  </a:lnTo>
                  <a:lnTo>
                    <a:pt x="1348" y="4923"/>
                  </a:lnTo>
                  <a:lnTo>
                    <a:pt x="1313" y="4872"/>
                  </a:lnTo>
                  <a:lnTo>
                    <a:pt x="1270" y="4830"/>
                  </a:lnTo>
                  <a:lnTo>
                    <a:pt x="1221" y="4794"/>
                  </a:lnTo>
                  <a:lnTo>
                    <a:pt x="1167" y="4768"/>
                  </a:lnTo>
                  <a:lnTo>
                    <a:pt x="1108" y="4751"/>
                  </a:lnTo>
                  <a:lnTo>
                    <a:pt x="1046" y="4744"/>
                  </a:lnTo>
                  <a:lnTo>
                    <a:pt x="983" y="4749"/>
                  </a:lnTo>
                  <a:lnTo>
                    <a:pt x="920" y="4766"/>
                  </a:lnTo>
                  <a:lnTo>
                    <a:pt x="588" y="4889"/>
                  </a:lnTo>
                  <a:lnTo>
                    <a:pt x="255" y="4314"/>
                  </a:lnTo>
                  <a:lnTo>
                    <a:pt x="525" y="4092"/>
                  </a:lnTo>
                  <a:lnTo>
                    <a:pt x="568" y="4051"/>
                  </a:lnTo>
                  <a:lnTo>
                    <a:pt x="601" y="4007"/>
                  </a:lnTo>
                  <a:lnTo>
                    <a:pt x="626" y="3958"/>
                  </a:lnTo>
                  <a:lnTo>
                    <a:pt x="642" y="3906"/>
                  </a:lnTo>
                  <a:lnTo>
                    <a:pt x="650" y="3854"/>
                  </a:lnTo>
                  <a:lnTo>
                    <a:pt x="652" y="3802"/>
                  </a:lnTo>
                  <a:lnTo>
                    <a:pt x="644" y="3750"/>
                  </a:lnTo>
                  <a:lnTo>
                    <a:pt x="631" y="3699"/>
                  </a:lnTo>
                  <a:lnTo>
                    <a:pt x="611" y="3651"/>
                  </a:lnTo>
                  <a:lnTo>
                    <a:pt x="583" y="3604"/>
                  </a:lnTo>
                  <a:lnTo>
                    <a:pt x="549" y="3564"/>
                  </a:lnTo>
                  <a:lnTo>
                    <a:pt x="510" y="3528"/>
                  </a:lnTo>
                  <a:lnTo>
                    <a:pt x="465" y="3498"/>
                  </a:lnTo>
                  <a:lnTo>
                    <a:pt x="413" y="3476"/>
                  </a:lnTo>
                  <a:lnTo>
                    <a:pt x="357" y="3463"/>
                  </a:lnTo>
                  <a:lnTo>
                    <a:pt x="0" y="3405"/>
                  </a:lnTo>
                  <a:lnTo>
                    <a:pt x="0" y="2739"/>
                  </a:lnTo>
                  <a:lnTo>
                    <a:pt x="357" y="2681"/>
                  </a:lnTo>
                  <a:lnTo>
                    <a:pt x="415" y="2668"/>
                  </a:lnTo>
                  <a:lnTo>
                    <a:pt x="465" y="2646"/>
                  </a:lnTo>
                  <a:lnTo>
                    <a:pt x="512" y="2616"/>
                  </a:lnTo>
                  <a:lnTo>
                    <a:pt x="551" y="2579"/>
                  </a:lnTo>
                  <a:lnTo>
                    <a:pt x="585" y="2538"/>
                  </a:lnTo>
                  <a:lnTo>
                    <a:pt x="611" y="2493"/>
                  </a:lnTo>
                  <a:lnTo>
                    <a:pt x="631" y="2445"/>
                  </a:lnTo>
                  <a:lnTo>
                    <a:pt x="644" y="2394"/>
                  </a:lnTo>
                  <a:lnTo>
                    <a:pt x="652" y="2342"/>
                  </a:lnTo>
                  <a:lnTo>
                    <a:pt x="650" y="2288"/>
                  </a:lnTo>
                  <a:lnTo>
                    <a:pt x="642" y="2236"/>
                  </a:lnTo>
                  <a:lnTo>
                    <a:pt x="626" y="2186"/>
                  </a:lnTo>
                  <a:lnTo>
                    <a:pt x="600" y="2137"/>
                  </a:lnTo>
                  <a:lnTo>
                    <a:pt x="568" y="2093"/>
                  </a:lnTo>
                  <a:lnTo>
                    <a:pt x="525" y="2052"/>
                  </a:lnTo>
                  <a:lnTo>
                    <a:pt x="255" y="1830"/>
                  </a:lnTo>
                  <a:lnTo>
                    <a:pt x="588" y="1255"/>
                  </a:lnTo>
                  <a:lnTo>
                    <a:pt x="920" y="1378"/>
                  </a:lnTo>
                  <a:lnTo>
                    <a:pt x="983" y="1396"/>
                  </a:lnTo>
                  <a:lnTo>
                    <a:pt x="1046" y="1400"/>
                  </a:lnTo>
                  <a:lnTo>
                    <a:pt x="1108" y="1393"/>
                  </a:lnTo>
                  <a:lnTo>
                    <a:pt x="1167" y="1376"/>
                  </a:lnTo>
                  <a:lnTo>
                    <a:pt x="1221" y="1348"/>
                  </a:lnTo>
                  <a:lnTo>
                    <a:pt x="1270" y="1313"/>
                  </a:lnTo>
                  <a:lnTo>
                    <a:pt x="1313" y="1270"/>
                  </a:lnTo>
                  <a:lnTo>
                    <a:pt x="1348" y="1221"/>
                  </a:lnTo>
                  <a:lnTo>
                    <a:pt x="1376" y="1167"/>
                  </a:lnTo>
                  <a:lnTo>
                    <a:pt x="1393" y="1108"/>
                  </a:lnTo>
                  <a:lnTo>
                    <a:pt x="1400" y="1046"/>
                  </a:lnTo>
                  <a:lnTo>
                    <a:pt x="1395" y="983"/>
                  </a:lnTo>
                  <a:lnTo>
                    <a:pt x="1378" y="920"/>
                  </a:lnTo>
                  <a:lnTo>
                    <a:pt x="1255" y="588"/>
                  </a:lnTo>
                  <a:lnTo>
                    <a:pt x="1830" y="255"/>
                  </a:lnTo>
                  <a:lnTo>
                    <a:pt x="2052" y="525"/>
                  </a:lnTo>
                  <a:lnTo>
                    <a:pt x="2093" y="568"/>
                  </a:lnTo>
                  <a:lnTo>
                    <a:pt x="2137" y="601"/>
                  </a:lnTo>
                  <a:lnTo>
                    <a:pt x="2186" y="626"/>
                  </a:lnTo>
                  <a:lnTo>
                    <a:pt x="2236" y="642"/>
                  </a:lnTo>
                  <a:lnTo>
                    <a:pt x="2288" y="650"/>
                  </a:lnTo>
                  <a:lnTo>
                    <a:pt x="2342" y="652"/>
                  </a:lnTo>
                  <a:lnTo>
                    <a:pt x="2394" y="644"/>
                  </a:lnTo>
                  <a:lnTo>
                    <a:pt x="2445" y="631"/>
                  </a:lnTo>
                  <a:lnTo>
                    <a:pt x="2493" y="611"/>
                  </a:lnTo>
                  <a:lnTo>
                    <a:pt x="2538" y="585"/>
                  </a:lnTo>
                  <a:lnTo>
                    <a:pt x="2580" y="551"/>
                  </a:lnTo>
                  <a:lnTo>
                    <a:pt x="2616" y="510"/>
                  </a:lnTo>
                  <a:lnTo>
                    <a:pt x="2646" y="465"/>
                  </a:lnTo>
                  <a:lnTo>
                    <a:pt x="2668" y="415"/>
                  </a:lnTo>
                  <a:lnTo>
                    <a:pt x="2681" y="357"/>
                  </a:lnTo>
                  <a:lnTo>
                    <a:pt x="2739"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73" name="Freeform 19"/>
            <p:cNvSpPr>
              <a:spLocks/>
            </p:cNvSpPr>
            <p:nvPr/>
          </p:nvSpPr>
          <p:spPr bwMode="auto">
            <a:xfrm>
              <a:off x="5428116" y="3091657"/>
              <a:ext cx="2438400" cy="4876800"/>
            </a:xfrm>
            <a:custGeom>
              <a:avLst/>
              <a:gdLst>
                <a:gd name="T0" fmla="*/ 391 w 3072"/>
                <a:gd name="T1" fmla="*/ 357 h 6144"/>
                <a:gd name="T2" fmla="*/ 456 w 3072"/>
                <a:gd name="T3" fmla="*/ 510 h 6144"/>
                <a:gd name="T4" fmla="*/ 579 w 3072"/>
                <a:gd name="T5" fmla="*/ 611 h 6144"/>
                <a:gd name="T6" fmla="*/ 730 w 3072"/>
                <a:gd name="T7" fmla="*/ 652 h 6144"/>
                <a:gd name="T8" fmla="*/ 886 w 3072"/>
                <a:gd name="T9" fmla="*/ 626 h 6144"/>
                <a:gd name="T10" fmla="*/ 1020 w 3072"/>
                <a:gd name="T11" fmla="*/ 525 h 6144"/>
                <a:gd name="T12" fmla="*/ 1694 w 3072"/>
                <a:gd name="T13" fmla="*/ 920 h 6144"/>
                <a:gd name="T14" fmla="*/ 1679 w 3072"/>
                <a:gd name="T15" fmla="*/ 1108 h 6144"/>
                <a:gd name="T16" fmla="*/ 1759 w 3072"/>
                <a:gd name="T17" fmla="*/ 1270 h 6144"/>
                <a:gd name="T18" fmla="*/ 1905 w 3072"/>
                <a:gd name="T19" fmla="*/ 1376 h 6144"/>
                <a:gd name="T20" fmla="*/ 2089 w 3072"/>
                <a:gd name="T21" fmla="*/ 1395 h 6144"/>
                <a:gd name="T22" fmla="*/ 2817 w 3072"/>
                <a:gd name="T23" fmla="*/ 1830 h 6144"/>
                <a:gd name="T24" fmla="*/ 2471 w 3072"/>
                <a:gd name="T25" fmla="*/ 2137 h 6144"/>
                <a:gd name="T26" fmla="*/ 2422 w 3072"/>
                <a:gd name="T27" fmla="*/ 2288 h 6144"/>
                <a:gd name="T28" fmla="*/ 2441 w 3072"/>
                <a:gd name="T29" fmla="*/ 2445 h 6144"/>
                <a:gd name="T30" fmla="*/ 2521 w 3072"/>
                <a:gd name="T31" fmla="*/ 2580 h 6144"/>
                <a:gd name="T32" fmla="*/ 2657 w 3072"/>
                <a:gd name="T33" fmla="*/ 2668 h 6144"/>
                <a:gd name="T34" fmla="*/ 3072 w 3072"/>
                <a:gd name="T35" fmla="*/ 3405 h 6144"/>
                <a:gd name="T36" fmla="*/ 2607 w 3072"/>
                <a:gd name="T37" fmla="*/ 3498 h 6144"/>
                <a:gd name="T38" fmla="*/ 2487 w 3072"/>
                <a:gd name="T39" fmla="*/ 3606 h 6144"/>
                <a:gd name="T40" fmla="*/ 2428 w 3072"/>
                <a:gd name="T41" fmla="*/ 3750 h 6144"/>
                <a:gd name="T42" fmla="*/ 2430 w 3072"/>
                <a:gd name="T43" fmla="*/ 3908 h 6144"/>
                <a:gd name="T44" fmla="*/ 2504 w 3072"/>
                <a:gd name="T45" fmla="*/ 4051 h 6144"/>
                <a:gd name="T46" fmla="*/ 2484 w 3072"/>
                <a:gd name="T47" fmla="*/ 4889 h 6144"/>
                <a:gd name="T48" fmla="*/ 2024 w 3072"/>
                <a:gd name="T49" fmla="*/ 4744 h 6144"/>
                <a:gd name="T50" fmla="*/ 1851 w 3072"/>
                <a:gd name="T51" fmla="*/ 4796 h 6144"/>
                <a:gd name="T52" fmla="*/ 1722 w 3072"/>
                <a:gd name="T53" fmla="*/ 4923 h 6144"/>
                <a:gd name="T54" fmla="*/ 1672 w 3072"/>
                <a:gd name="T55" fmla="*/ 5098 h 6144"/>
                <a:gd name="T56" fmla="*/ 1817 w 3072"/>
                <a:gd name="T57" fmla="*/ 5556 h 6144"/>
                <a:gd name="T58" fmla="*/ 979 w 3072"/>
                <a:gd name="T59" fmla="*/ 5576 h 6144"/>
                <a:gd name="T60" fmla="*/ 834 w 3072"/>
                <a:gd name="T61" fmla="*/ 5502 h 6144"/>
                <a:gd name="T62" fmla="*/ 678 w 3072"/>
                <a:gd name="T63" fmla="*/ 5500 h 6144"/>
                <a:gd name="T64" fmla="*/ 532 w 3072"/>
                <a:gd name="T65" fmla="*/ 5561 h 6144"/>
                <a:gd name="T66" fmla="*/ 426 w 3072"/>
                <a:gd name="T67" fmla="*/ 5679 h 6144"/>
                <a:gd name="T68" fmla="*/ 333 w 3072"/>
                <a:gd name="T69" fmla="*/ 6144 h 6144"/>
                <a:gd name="T70" fmla="*/ 128 w 3072"/>
                <a:gd name="T71" fmla="*/ 4567 h 6144"/>
                <a:gd name="T72" fmla="*/ 497 w 3072"/>
                <a:gd name="T73" fmla="*/ 4487 h 6144"/>
                <a:gd name="T74" fmla="*/ 825 w 3072"/>
                <a:gd name="T75" fmla="*/ 4323 h 6144"/>
                <a:gd name="T76" fmla="*/ 1102 w 3072"/>
                <a:gd name="T77" fmla="*/ 4089 h 6144"/>
                <a:gd name="T78" fmla="*/ 1314 w 3072"/>
                <a:gd name="T79" fmla="*/ 3793 h 6144"/>
                <a:gd name="T80" fmla="*/ 1452 w 3072"/>
                <a:gd name="T81" fmla="*/ 3450 h 6144"/>
                <a:gd name="T82" fmla="*/ 1501 w 3072"/>
                <a:gd name="T83" fmla="*/ 3072 h 6144"/>
                <a:gd name="T84" fmla="*/ 1452 w 3072"/>
                <a:gd name="T85" fmla="*/ 2694 h 6144"/>
                <a:gd name="T86" fmla="*/ 1314 w 3072"/>
                <a:gd name="T87" fmla="*/ 2351 h 6144"/>
                <a:gd name="T88" fmla="*/ 1102 w 3072"/>
                <a:gd name="T89" fmla="*/ 2055 h 6144"/>
                <a:gd name="T90" fmla="*/ 825 w 3072"/>
                <a:gd name="T91" fmla="*/ 1821 h 6144"/>
                <a:gd name="T92" fmla="*/ 497 w 3072"/>
                <a:gd name="T93" fmla="*/ 1657 h 6144"/>
                <a:gd name="T94" fmla="*/ 128 w 3072"/>
                <a:gd name="T95" fmla="*/ 1577 h 6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2" h="6144">
                  <a:moveTo>
                    <a:pt x="0" y="0"/>
                  </a:moveTo>
                  <a:lnTo>
                    <a:pt x="333" y="0"/>
                  </a:lnTo>
                  <a:lnTo>
                    <a:pt x="391" y="357"/>
                  </a:lnTo>
                  <a:lnTo>
                    <a:pt x="404" y="415"/>
                  </a:lnTo>
                  <a:lnTo>
                    <a:pt x="426" y="465"/>
                  </a:lnTo>
                  <a:lnTo>
                    <a:pt x="456" y="510"/>
                  </a:lnTo>
                  <a:lnTo>
                    <a:pt x="492" y="551"/>
                  </a:lnTo>
                  <a:lnTo>
                    <a:pt x="534" y="585"/>
                  </a:lnTo>
                  <a:lnTo>
                    <a:pt x="579" y="611"/>
                  </a:lnTo>
                  <a:lnTo>
                    <a:pt x="627" y="631"/>
                  </a:lnTo>
                  <a:lnTo>
                    <a:pt x="678" y="644"/>
                  </a:lnTo>
                  <a:lnTo>
                    <a:pt x="730" y="652"/>
                  </a:lnTo>
                  <a:lnTo>
                    <a:pt x="784" y="650"/>
                  </a:lnTo>
                  <a:lnTo>
                    <a:pt x="836" y="642"/>
                  </a:lnTo>
                  <a:lnTo>
                    <a:pt x="886" y="626"/>
                  </a:lnTo>
                  <a:lnTo>
                    <a:pt x="935" y="601"/>
                  </a:lnTo>
                  <a:lnTo>
                    <a:pt x="979" y="568"/>
                  </a:lnTo>
                  <a:lnTo>
                    <a:pt x="1020" y="525"/>
                  </a:lnTo>
                  <a:lnTo>
                    <a:pt x="1242" y="255"/>
                  </a:lnTo>
                  <a:lnTo>
                    <a:pt x="1817" y="588"/>
                  </a:lnTo>
                  <a:lnTo>
                    <a:pt x="1694" y="920"/>
                  </a:lnTo>
                  <a:lnTo>
                    <a:pt x="1676" y="983"/>
                  </a:lnTo>
                  <a:lnTo>
                    <a:pt x="1672" y="1046"/>
                  </a:lnTo>
                  <a:lnTo>
                    <a:pt x="1679" y="1108"/>
                  </a:lnTo>
                  <a:lnTo>
                    <a:pt x="1696" y="1167"/>
                  </a:lnTo>
                  <a:lnTo>
                    <a:pt x="1724" y="1221"/>
                  </a:lnTo>
                  <a:lnTo>
                    <a:pt x="1759" y="1270"/>
                  </a:lnTo>
                  <a:lnTo>
                    <a:pt x="1802" y="1313"/>
                  </a:lnTo>
                  <a:lnTo>
                    <a:pt x="1851" y="1348"/>
                  </a:lnTo>
                  <a:lnTo>
                    <a:pt x="1905" y="1376"/>
                  </a:lnTo>
                  <a:lnTo>
                    <a:pt x="1964" y="1393"/>
                  </a:lnTo>
                  <a:lnTo>
                    <a:pt x="2026" y="1400"/>
                  </a:lnTo>
                  <a:lnTo>
                    <a:pt x="2089" y="1395"/>
                  </a:lnTo>
                  <a:lnTo>
                    <a:pt x="2152" y="1378"/>
                  </a:lnTo>
                  <a:lnTo>
                    <a:pt x="2484" y="1255"/>
                  </a:lnTo>
                  <a:lnTo>
                    <a:pt x="2817" y="1830"/>
                  </a:lnTo>
                  <a:lnTo>
                    <a:pt x="2547" y="2052"/>
                  </a:lnTo>
                  <a:lnTo>
                    <a:pt x="2504" y="2093"/>
                  </a:lnTo>
                  <a:lnTo>
                    <a:pt x="2471" y="2137"/>
                  </a:lnTo>
                  <a:lnTo>
                    <a:pt x="2446" y="2186"/>
                  </a:lnTo>
                  <a:lnTo>
                    <a:pt x="2430" y="2236"/>
                  </a:lnTo>
                  <a:lnTo>
                    <a:pt x="2422" y="2288"/>
                  </a:lnTo>
                  <a:lnTo>
                    <a:pt x="2420" y="2342"/>
                  </a:lnTo>
                  <a:lnTo>
                    <a:pt x="2428" y="2394"/>
                  </a:lnTo>
                  <a:lnTo>
                    <a:pt x="2441" y="2445"/>
                  </a:lnTo>
                  <a:lnTo>
                    <a:pt x="2461" y="2493"/>
                  </a:lnTo>
                  <a:lnTo>
                    <a:pt x="2487" y="2540"/>
                  </a:lnTo>
                  <a:lnTo>
                    <a:pt x="2521" y="2580"/>
                  </a:lnTo>
                  <a:lnTo>
                    <a:pt x="2562" y="2616"/>
                  </a:lnTo>
                  <a:lnTo>
                    <a:pt x="2607" y="2646"/>
                  </a:lnTo>
                  <a:lnTo>
                    <a:pt x="2657" y="2668"/>
                  </a:lnTo>
                  <a:lnTo>
                    <a:pt x="2715" y="2681"/>
                  </a:lnTo>
                  <a:lnTo>
                    <a:pt x="3072" y="2739"/>
                  </a:lnTo>
                  <a:lnTo>
                    <a:pt x="3072" y="3405"/>
                  </a:lnTo>
                  <a:lnTo>
                    <a:pt x="2715" y="3463"/>
                  </a:lnTo>
                  <a:lnTo>
                    <a:pt x="2657" y="3476"/>
                  </a:lnTo>
                  <a:lnTo>
                    <a:pt x="2607" y="3498"/>
                  </a:lnTo>
                  <a:lnTo>
                    <a:pt x="2562" y="3528"/>
                  </a:lnTo>
                  <a:lnTo>
                    <a:pt x="2521" y="3565"/>
                  </a:lnTo>
                  <a:lnTo>
                    <a:pt x="2487" y="3606"/>
                  </a:lnTo>
                  <a:lnTo>
                    <a:pt x="2461" y="3651"/>
                  </a:lnTo>
                  <a:lnTo>
                    <a:pt x="2441" y="3699"/>
                  </a:lnTo>
                  <a:lnTo>
                    <a:pt x="2428" y="3750"/>
                  </a:lnTo>
                  <a:lnTo>
                    <a:pt x="2420" y="3802"/>
                  </a:lnTo>
                  <a:lnTo>
                    <a:pt x="2422" y="3856"/>
                  </a:lnTo>
                  <a:lnTo>
                    <a:pt x="2430" y="3908"/>
                  </a:lnTo>
                  <a:lnTo>
                    <a:pt x="2446" y="3958"/>
                  </a:lnTo>
                  <a:lnTo>
                    <a:pt x="2471" y="4007"/>
                  </a:lnTo>
                  <a:lnTo>
                    <a:pt x="2504" y="4051"/>
                  </a:lnTo>
                  <a:lnTo>
                    <a:pt x="2547" y="4092"/>
                  </a:lnTo>
                  <a:lnTo>
                    <a:pt x="2817" y="4314"/>
                  </a:lnTo>
                  <a:lnTo>
                    <a:pt x="2484" y="4889"/>
                  </a:lnTo>
                  <a:lnTo>
                    <a:pt x="2152" y="4766"/>
                  </a:lnTo>
                  <a:lnTo>
                    <a:pt x="2089" y="4748"/>
                  </a:lnTo>
                  <a:lnTo>
                    <a:pt x="2024" y="4744"/>
                  </a:lnTo>
                  <a:lnTo>
                    <a:pt x="1962" y="4751"/>
                  </a:lnTo>
                  <a:lnTo>
                    <a:pt x="1905" y="4768"/>
                  </a:lnTo>
                  <a:lnTo>
                    <a:pt x="1851" y="4796"/>
                  </a:lnTo>
                  <a:lnTo>
                    <a:pt x="1800" y="4831"/>
                  </a:lnTo>
                  <a:lnTo>
                    <a:pt x="1758" y="4874"/>
                  </a:lnTo>
                  <a:lnTo>
                    <a:pt x="1722" y="4923"/>
                  </a:lnTo>
                  <a:lnTo>
                    <a:pt x="1696" y="4977"/>
                  </a:lnTo>
                  <a:lnTo>
                    <a:pt x="1679" y="5036"/>
                  </a:lnTo>
                  <a:lnTo>
                    <a:pt x="1672" y="5098"/>
                  </a:lnTo>
                  <a:lnTo>
                    <a:pt x="1677" y="5161"/>
                  </a:lnTo>
                  <a:lnTo>
                    <a:pt x="1694" y="5224"/>
                  </a:lnTo>
                  <a:lnTo>
                    <a:pt x="1817" y="5556"/>
                  </a:lnTo>
                  <a:lnTo>
                    <a:pt x="1242" y="5889"/>
                  </a:lnTo>
                  <a:lnTo>
                    <a:pt x="1020" y="5619"/>
                  </a:lnTo>
                  <a:lnTo>
                    <a:pt x="979" y="5576"/>
                  </a:lnTo>
                  <a:lnTo>
                    <a:pt x="935" y="5543"/>
                  </a:lnTo>
                  <a:lnTo>
                    <a:pt x="886" y="5518"/>
                  </a:lnTo>
                  <a:lnTo>
                    <a:pt x="834" y="5502"/>
                  </a:lnTo>
                  <a:lnTo>
                    <a:pt x="782" y="5494"/>
                  </a:lnTo>
                  <a:lnTo>
                    <a:pt x="730" y="5492"/>
                  </a:lnTo>
                  <a:lnTo>
                    <a:pt x="678" y="5500"/>
                  </a:lnTo>
                  <a:lnTo>
                    <a:pt x="627" y="5513"/>
                  </a:lnTo>
                  <a:lnTo>
                    <a:pt x="579" y="5533"/>
                  </a:lnTo>
                  <a:lnTo>
                    <a:pt x="532" y="5561"/>
                  </a:lnTo>
                  <a:lnTo>
                    <a:pt x="492" y="5595"/>
                  </a:lnTo>
                  <a:lnTo>
                    <a:pt x="456" y="5634"/>
                  </a:lnTo>
                  <a:lnTo>
                    <a:pt x="426" y="5679"/>
                  </a:lnTo>
                  <a:lnTo>
                    <a:pt x="404" y="5731"/>
                  </a:lnTo>
                  <a:lnTo>
                    <a:pt x="391" y="5787"/>
                  </a:lnTo>
                  <a:lnTo>
                    <a:pt x="333" y="6144"/>
                  </a:lnTo>
                  <a:lnTo>
                    <a:pt x="0" y="6144"/>
                  </a:lnTo>
                  <a:lnTo>
                    <a:pt x="0" y="4573"/>
                  </a:lnTo>
                  <a:lnTo>
                    <a:pt x="128" y="4567"/>
                  </a:lnTo>
                  <a:lnTo>
                    <a:pt x="255" y="4550"/>
                  </a:lnTo>
                  <a:lnTo>
                    <a:pt x="378" y="4524"/>
                  </a:lnTo>
                  <a:lnTo>
                    <a:pt x="497" y="4487"/>
                  </a:lnTo>
                  <a:lnTo>
                    <a:pt x="611" y="4442"/>
                  </a:lnTo>
                  <a:lnTo>
                    <a:pt x="721" y="4386"/>
                  </a:lnTo>
                  <a:lnTo>
                    <a:pt x="825" y="4323"/>
                  </a:lnTo>
                  <a:lnTo>
                    <a:pt x="923" y="4252"/>
                  </a:lnTo>
                  <a:lnTo>
                    <a:pt x="1017" y="4174"/>
                  </a:lnTo>
                  <a:lnTo>
                    <a:pt x="1102" y="4089"/>
                  </a:lnTo>
                  <a:lnTo>
                    <a:pt x="1180" y="3995"/>
                  </a:lnTo>
                  <a:lnTo>
                    <a:pt x="1251" y="3897"/>
                  </a:lnTo>
                  <a:lnTo>
                    <a:pt x="1314" y="3793"/>
                  </a:lnTo>
                  <a:lnTo>
                    <a:pt x="1370" y="3683"/>
                  </a:lnTo>
                  <a:lnTo>
                    <a:pt x="1415" y="3569"/>
                  </a:lnTo>
                  <a:lnTo>
                    <a:pt x="1452" y="3450"/>
                  </a:lnTo>
                  <a:lnTo>
                    <a:pt x="1478" y="3327"/>
                  </a:lnTo>
                  <a:lnTo>
                    <a:pt x="1495" y="3200"/>
                  </a:lnTo>
                  <a:lnTo>
                    <a:pt x="1501" y="3072"/>
                  </a:lnTo>
                  <a:lnTo>
                    <a:pt x="1495" y="2944"/>
                  </a:lnTo>
                  <a:lnTo>
                    <a:pt x="1478" y="2817"/>
                  </a:lnTo>
                  <a:lnTo>
                    <a:pt x="1452" y="2694"/>
                  </a:lnTo>
                  <a:lnTo>
                    <a:pt x="1415" y="2575"/>
                  </a:lnTo>
                  <a:lnTo>
                    <a:pt x="1370" y="2461"/>
                  </a:lnTo>
                  <a:lnTo>
                    <a:pt x="1314" y="2351"/>
                  </a:lnTo>
                  <a:lnTo>
                    <a:pt x="1251" y="2247"/>
                  </a:lnTo>
                  <a:lnTo>
                    <a:pt x="1180" y="2149"/>
                  </a:lnTo>
                  <a:lnTo>
                    <a:pt x="1102" y="2055"/>
                  </a:lnTo>
                  <a:lnTo>
                    <a:pt x="1017" y="1970"/>
                  </a:lnTo>
                  <a:lnTo>
                    <a:pt x="923" y="1892"/>
                  </a:lnTo>
                  <a:lnTo>
                    <a:pt x="825" y="1821"/>
                  </a:lnTo>
                  <a:lnTo>
                    <a:pt x="721" y="1758"/>
                  </a:lnTo>
                  <a:lnTo>
                    <a:pt x="611" y="1702"/>
                  </a:lnTo>
                  <a:lnTo>
                    <a:pt x="497" y="1657"/>
                  </a:lnTo>
                  <a:lnTo>
                    <a:pt x="378" y="1620"/>
                  </a:lnTo>
                  <a:lnTo>
                    <a:pt x="255" y="1594"/>
                  </a:lnTo>
                  <a:lnTo>
                    <a:pt x="128" y="1577"/>
                  </a:lnTo>
                  <a:lnTo>
                    <a:pt x="0" y="1571"/>
                  </a:lnTo>
                  <a:lnTo>
                    <a:pt x="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74" name="Freeform 20"/>
            <p:cNvSpPr>
              <a:spLocks noEditPoints="1"/>
            </p:cNvSpPr>
            <p:nvPr/>
          </p:nvSpPr>
          <p:spPr bwMode="auto">
            <a:xfrm>
              <a:off x="4142241" y="4244182"/>
              <a:ext cx="2571750" cy="2571750"/>
            </a:xfrm>
            <a:custGeom>
              <a:avLst/>
              <a:gdLst>
                <a:gd name="T0" fmla="*/ 1426 w 3240"/>
                <a:gd name="T1" fmla="*/ 741 h 3240"/>
                <a:gd name="T2" fmla="*/ 1166 w 3240"/>
                <a:gd name="T3" fmla="*/ 844 h 3240"/>
                <a:gd name="T4" fmla="*/ 952 w 3240"/>
                <a:gd name="T5" fmla="*/ 1017 h 3240"/>
                <a:gd name="T6" fmla="*/ 801 w 3240"/>
                <a:gd name="T7" fmla="*/ 1249 h 3240"/>
                <a:gd name="T8" fmla="*/ 724 w 3240"/>
                <a:gd name="T9" fmla="*/ 1521 h 3240"/>
                <a:gd name="T10" fmla="*/ 741 w 3240"/>
                <a:gd name="T11" fmla="*/ 1814 h 3240"/>
                <a:gd name="T12" fmla="*/ 844 w 3240"/>
                <a:gd name="T13" fmla="*/ 2074 h 3240"/>
                <a:gd name="T14" fmla="*/ 1017 w 3240"/>
                <a:gd name="T15" fmla="*/ 2288 h 3240"/>
                <a:gd name="T16" fmla="*/ 1249 w 3240"/>
                <a:gd name="T17" fmla="*/ 2439 h 3240"/>
                <a:gd name="T18" fmla="*/ 1521 w 3240"/>
                <a:gd name="T19" fmla="*/ 2516 h 3240"/>
                <a:gd name="T20" fmla="*/ 1814 w 3240"/>
                <a:gd name="T21" fmla="*/ 2499 h 3240"/>
                <a:gd name="T22" fmla="*/ 2074 w 3240"/>
                <a:gd name="T23" fmla="*/ 2396 h 3240"/>
                <a:gd name="T24" fmla="*/ 2288 w 3240"/>
                <a:gd name="T25" fmla="*/ 2223 h 3240"/>
                <a:gd name="T26" fmla="*/ 2439 w 3240"/>
                <a:gd name="T27" fmla="*/ 1991 h 3240"/>
                <a:gd name="T28" fmla="*/ 2516 w 3240"/>
                <a:gd name="T29" fmla="*/ 1719 h 3240"/>
                <a:gd name="T30" fmla="*/ 2499 w 3240"/>
                <a:gd name="T31" fmla="*/ 1426 h 3240"/>
                <a:gd name="T32" fmla="*/ 2396 w 3240"/>
                <a:gd name="T33" fmla="*/ 1166 h 3240"/>
                <a:gd name="T34" fmla="*/ 2223 w 3240"/>
                <a:gd name="T35" fmla="*/ 952 h 3240"/>
                <a:gd name="T36" fmla="*/ 1991 w 3240"/>
                <a:gd name="T37" fmla="*/ 801 h 3240"/>
                <a:gd name="T38" fmla="*/ 1719 w 3240"/>
                <a:gd name="T39" fmla="*/ 724 h 3240"/>
                <a:gd name="T40" fmla="*/ 1760 w 3240"/>
                <a:gd name="T41" fmla="*/ 6 h 3240"/>
                <a:gd name="T42" fmla="*/ 2156 w 3240"/>
                <a:gd name="T43" fmla="*/ 91 h 3240"/>
                <a:gd name="T44" fmla="*/ 2512 w 3240"/>
                <a:gd name="T45" fmla="*/ 268 h 3240"/>
                <a:gd name="T46" fmla="*/ 2810 w 3240"/>
                <a:gd name="T47" fmla="*/ 522 h 3240"/>
                <a:gd name="T48" fmla="*/ 3041 w 3240"/>
                <a:gd name="T49" fmla="*/ 842 h 3240"/>
                <a:gd name="T50" fmla="*/ 3188 w 3240"/>
                <a:gd name="T51" fmla="*/ 1212 h 3240"/>
                <a:gd name="T52" fmla="*/ 3240 w 3240"/>
                <a:gd name="T53" fmla="*/ 1620 h 3240"/>
                <a:gd name="T54" fmla="*/ 3188 w 3240"/>
                <a:gd name="T55" fmla="*/ 2028 h 3240"/>
                <a:gd name="T56" fmla="*/ 3041 w 3240"/>
                <a:gd name="T57" fmla="*/ 2398 h 3240"/>
                <a:gd name="T58" fmla="*/ 2810 w 3240"/>
                <a:gd name="T59" fmla="*/ 2718 h 3240"/>
                <a:gd name="T60" fmla="*/ 2512 w 3240"/>
                <a:gd name="T61" fmla="*/ 2972 h 3240"/>
                <a:gd name="T62" fmla="*/ 2156 w 3240"/>
                <a:gd name="T63" fmla="*/ 3149 h 3240"/>
                <a:gd name="T64" fmla="*/ 1760 w 3240"/>
                <a:gd name="T65" fmla="*/ 3234 h 3240"/>
                <a:gd name="T66" fmla="*/ 1344 w 3240"/>
                <a:gd name="T67" fmla="*/ 3216 h 3240"/>
                <a:gd name="T68" fmla="*/ 959 w 3240"/>
                <a:gd name="T69" fmla="*/ 3100 h 3240"/>
                <a:gd name="T70" fmla="*/ 622 w 3240"/>
                <a:gd name="T71" fmla="*/ 2895 h 3240"/>
                <a:gd name="T72" fmla="*/ 345 w 3240"/>
                <a:gd name="T73" fmla="*/ 2618 h 3240"/>
                <a:gd name="T74" fmla="*/ 140 w 3240"/>
                <a:gd name="T75" fmla="*/ 2281 h 3240"/>
                <a:gd name="T76" fmla="*/ 24 w 3240"/>
                <a:gd name="T77" fmla="*/ 1896 h 3240"/>
                <a:gd name="T78" fmla="*/ 6 w 3240"/>
                <a:gd name="T79" fmla="*/ 1480 h 3240"/>
                <a:gd name="T80" fmla="*/ 91 w 3240"/>
                <a:gd name="T81" fmla="*/ 1084 h 3240"/>
                <a:gd name="T82" fmla="*/ 268 w 3240"/>
                <a:gd name="T83" fmla="*/ 728 h 3240"/>
                <a:gd name="T84" fmla="*/ 522 w 3240"/>
                <a:gd name="T85" fmla="*/ 430 h 3240"/>
                <a:gd name="T86" fmla="*/ 842 w 3240"/>
                <a:gd name="T87" fmla="*/ 199 h 3240"/>
                <a:gd name="T88" fmla="*/ 1212 w 3240"/>
                <a:gd name="T89" fmla="*/ 52 h 3240"/>
                <a:gd name="T90" fmla="*/ 1620 w 3240"/>
                <a:gd name="T91"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240">
                  <a:moveTo>
                    <a:pt x="1620" y="721"/>
                  </a:moveTo>
                  <a:lnTo>
                    <a:pt x="1521" y="724"/>
                  </a:lnTo>
                  <a:lnTo>
                    <a:pt x="1426" y="741"/>
                  </a:lnTo>
                  <a:lnTo>
                    <a:pt x="1335" y="765"/>
                  </a:lnTo>
                  <a:lnTo>
                    <a:pt x="1249" y="801"/>
                  </a:lnTo>
                  <a:lnTo>
                    <a:pt x="1166" y="844"/>
                  </a:lnTo>
                  <a:lnTo>
                    <a:pt x="1089" y="894"/>
                  </a:lnTo>
                  <a:lnTo>
                    <a:pt x="1017" y="952"/>
                  </a:lnTo>
                  <a:lnTo>
                    <a:pt x="952" y="1017"/>
                  </a:lnTo>
                  <a:lnTo>
                    <a:pt x="894" y="1089"/>
                  </a:lnTo>
                  <a:lnTo>
                    <a:pt x="844" y="1166"/>
                  </a:lnTo>
                  <a:lnTo>
                    <a:pt x="801" y="1249"/>
                  </a:lnTo>
                  <a:lnTo>
                    <a:pt x="765" y="1335"/>
                  </a:lnTo>
                  <a:lnTo>
                    <a:pt x="741" y="1426"/>
                  </a:lnTo>
                  <a:lnTo>
                    <a:pt x="724" y="1521"/>
                  </a:lnTo>
                  <a:lnTo>
                    <a:pt x="721" y="1620"/>
                  </a:lnTo>
                  <a:lnTo>
                    <a:pt x="724" y="1719"/>
                  </a:lnTo>
                  <a:lnTo>
                    <a:pt x="741" y="1814"/>
                  </a:lnTo>
                  <a:lnTo>
                    <a:pt x="765" y="1905"/>
                  </a:lnTo>
                  <a:lnTo>
                    <a:pt x="801" y="1991"/>
                  </a:lnTo>
                  <a:lnTo>
                    <a:pt x="844" y="2074"/>
                  </a:lnTo>
                  <a:lnTo>
                    <a:pt x="894" y="2151"/>
                  </a:lnTo>
                  <a:lnTo>
                    <a:pt x="952" y="2223"/>
                  </a:lnTo>
                  <a:lnTo>
                    <a:pt x="1017" y="2288"/>
                  </a:lnTo>
                  <a:lnTo>
                    <a:pt x="1089" y="2346"/>
                  </a:lnTo>
                  <a:lnTo>
                    <a:pt x="1166" y="2396"/>
                  </a:lnTo>
                  <a:lnTo>
                    <a:pt x="1249" y="2439"/>
                  </a:lnTo>
                  <a:lnTo>
                    <a:pt x="1335" y="2475"/>
                  </a:lnTo>
                  <a:lnTo>
                    <a:pt x="1426" y="2499"/>
                  </a:lnTo>
                  <a:lnTo>
                    <a:pt x="1521" y="2516"/>
                  </a:lnTo>
                  <a:lnTo>
                    <a:pt x="1620" y="2519"/>
                  </a:lnTo>
                  <a:lnTo>
                    <a:pt x="1719" y="2516"/>
                  </a:lnTo>
                  <a:lnTo>
                    <a:pt x="1814" y="2499"/>
                  </a:lnTo>
                  <a:lnTo>
                    <a:pt x="1905" y="2475"/>
                  </a:lnTo>
                  <a:lnTo>
                    <a:pt x="1991" y="2439"/>
                  </a:lnTo>
                  <a:lnTo>
                    <a:pt x="2074" y="2396"/>
                  </a:lnTo>
                  <a:lnTo>
                    <a:pt x="2151" y="2346"/>
                  </a:lnTo>
                  <a:lnTo>
                    <a:pt x="2223" y="2288"/>
                  </a:lnTo>
                  <a:lnTo>
                    <a:pt x="2288" y="2223"/>
                  </a:lnTo>
                  <a:lnTo>
                    <a:pt x="2346" y="2151"/>
                  </a:lnTo>
                  <a:lnTo>
                    <a:pt x="2396" y="2074"/>
                  </a:lnTo>
                  <a:lnTo>
                    <a:pt x="2439" y="1991"/>
                  </a:lnTo>
                  <a:lnTo>
                    <a:pt x="2475" y="1905"/>
                  </a:lnTo>
                  <a:lnTo>
                    <a:pt x="2499" y="1814"/>
                  </a:lnTo>
                  <a:lnTo>
                    <a:pt x="2516" y="1719"/>
                  </a:lnTo>
                  <a:lnTo>
                    <a:pt x="2519" y="1620"/>
                  </a:lnTo>
                  <a:lnTo>
                    <a:pt x="2516" y="1521"/>
                  </a:lnTo>
                  <a:lnTo>
                    <a:pt x="2499" y="1426"/>
                  </a:lnTo>
                  <a:lnTo>
                    <a:pt x="2475" y="1335"/>
                  </a:lnTo>
                  <a:lnTo>
                    <a:pt x="2439" y="1249"/>
                  </a:lnTo>
                  <a:lnTo>
                    <a:pt x="2396" y="1166"/>
                  </a:lnTo>
                  <a:lnTo>
                    <a:pt x="2346" y="1089"/>
                  </a:lnTo>
                  <a:lnTo>
                    <a:pt x="2288" y="1017"/>
                  </a:lnTo>
                  <a:lnTo>
                    <a:pt x="2223" y="952"/>
                  </a:lnTo>
                  <a:lnTo>
                    <a:pt x="2151" y="894"/>
                  </a:lnTo>
                  <a:lnTo>
                    <a:pt x="2074" y="844"/>
                  </a:lnTo>
                  <a:lnTo>
                    <a:pt x="1991" y="801"/>
                  </a:lnTo>
                  <a:lnTo>
                    <a:pt x="1905" y="765"/>
                  </a:lnTo>
                  <a:lnTo>
                    <a:pt x="1814" y="741"/>
                  </a:lnTo>
                  <a:lnTo>
                    <a:pt x="1719" y="724"/>
                  </a:lnTo>
                  <a:lnTo>
                    <a:pt x="1620" y="721"/>
                  </a:lnTo>
                  <a:close/>
                  <a:moveTo>
                    <a:pt x="1620" y="0"/>
                  </a:moveTo>
                  <a:lnTo>
                    <a:pt x="1760" y="6"/>
                  </a:lnTo>
                  <a:lnTo>
                    <a:pt x="1896" y="24"/>
                  </a:lnTo>
                  <a:lnTo>
                    <a:pt x="2028" y="52"/>
                  </a:lnTo>
                  <a:lnTo>
                    <a:pt x="2156" y="91"/>
                  </a:lnTo>
                  <a:lnTo>
                    <a:pt x="2281" y="140"/>
                  </a:lnTo>
                  <a:lnTo>
                    <a:pt x="2398" y="199"/>
                  </a:lnTo>
                  <a:lnTo>
                    <a:pt x="2512" y="268"/>
                  </a:lnTo>
                  <a:lnTo>
                    <a:pt x="2618" y="345"/>
                  </a:lnTo>
                  <a:lnTo>
                    <a:pt x="2718" y="430"/>
                  </a:lnTo>
                  <a:lnTo>
                    <a:pt x="2810" y="522"/>
                  </a:lnTo>
                  <a:lnTo>
                    <a:pt x="2895" y="622"/>
                  </a:lnTo>
                  <a:lnTo>
                    <a:pt x="2972" y="728"/>
                  </a:lnTo>
                  <a:lnTo>
                    <a:pt x="3041" y="842"/>
                  </a:lnTo>
                  <a:lnTo>
                    <a:pt x="3100" y="959"/>
                  </a:lnTo>
                  <a:lnTo>
                    <a:pt x="3149" y="1084"/>
                  </a:lnTo>
                  <a:lnTo>
                    <a:pt x="3188" y="1212"/>
                  </a:lnTo>
                  <a:lnTo>
                    <a:pt x="3216" y="1344"/>
                  </a:lnTo>
                  <a:lnTo>
                    <a:pt x="3234" y="1480"/>
                  </a:lnTo>
                  <a:lnTo>
                    <a:pt x="3240" y="1620"/>
                  </a:lnTo>
                  <a:lnTo>
                    <a:pt x="3234" y="1760"/>
                  </a:lnTo>
                  <a:lnTo>
                    <a:pt x="3216" y="1896"/>
                  </a:lnTo>
                  <a:lnTo>
                    <a:pt x="3188" y="2028"/>
                  </a:lnTo>
                  <a:lnTo>
                    <a:pt x="3149" y="2156"/>
                  </a:lnTo>
                  <a:lnTo>
                    <a:pt x="3100" y="2281"/>
                  </a:lnTo>
                  <a:lnTo>
                    <a:pt x="3041" y="2398"/>
                  </a:lnTo>
                  <a:lnTo>
                    <a:pt x="2972" y="2512"/>
                  </a:lnTo>
                  <a:lnTo>
                    <a:pt x="2895" y="2618"/>
                  </a:lnTo>
                  <a:lnTo>
                    <a:pt x="2810" y="2718"/>
                  </a:lnTo>
                  <a:lnTo>
                    <a:pt x="2718" y="2810"/>
                  </a:lnTo>
                  <a:lnTo>
                    <a:pt x="2618" y="2895"/>
                  </a:lnTo>
                  <a:lnTo>
                    <a:pt x="2512" y="2972"/>
                  </a:lnTo>
                  <a:lnTo>
                    <a:pt x="2398" y="3041"/>
                  </a:lnTo>
                  <a:lnTo>
                    <a:pt x="2281" y="3100"/>
                  </a:lnTo>
                  <a:lnTo>
                    <a:pt x="2156" y="3149"/>
                  </a:lnTo>
                  <a:lnTo>
                    <a:pt x="2028" y="3188"/>
                  </a:lnTo>
                  <a:lnTo>
                    <a:pt x="1896" y="3216"/>
                  </a:lnTo>
                  <a:lnTo>
                    <a:pt x="1760" y="3234"/>
                  </a:lnTo>
                  <a:lnTo>
                    <a:pt x="1620" y="3240"/>
                  </a:lnTo>
                  <a:lnTo>
                    <a:pt x="1480" y="3234"/>
                  </a:lnTo>
                  <a:lnTo>
                    <a:pt x="1344" y="3216"/>
                  </a:lnTo>
                  <a:lnTo>
                    <a:pt x="1212" y="3188"/>
                  </a:lnTo>
                  <a:lnTo>
                    <a:pt x="1084" y="3149"/>
                  </a:lnTo>
                  <a:lnTo>
                    <a:pt x="959" y="3100"/>
                  </a:lnTo>
                  <a:lnTo>
                    <a:pt x="842" y="3041"/>
                  </a:lnTo>
                  <a:lnTo>
                    <a:pt x="728" y="2972"/>
                  </a:lnTo>
                  <a:lnTo>
                    <a:pt x="622" y="2895"/>
                  </a:lnTo>
                  <a:lnTo>
                    <a:pt x="522" y="2810"/>
                  </a:lnTo>
                  <a:lnTo>
                    <a:pt x="430" y="2718"/>
                  </a:lnTo>
                  <a:lnTo>
                    <a:pt x="345" y="2618"/>
                  </a:lnTo>
                  <a:lnTo>
                    <a:pt x="268" y="2512"/>
                  </a:lnTo>
                  <a:lnTo>
                    <a:pt x="199" y="2398"/>
                  </a:lnTo>
                  <a:lnTo>
                    <a:pt x="140" y="2281"/>
                  </a:lnTo>
                  <a:lnTo>
                    <a:pt x="91" y="2156"/>
                  </a:lnTo>
                  <a:lnTo>
                    <a:pt x="52" y="2028"/>
                  </a:lnTo>
                  <a:lnTo>
                    <a:pt x="24" y="1896"/>
                  </a:lnTo>
                  <a:lnTo>
                    <a:pt x="6" y="1760"/>
                  </a:lnTo>
                  <a:lnTo>
                    <a:pt x="0" y="1620"/>
                  </a:lnTo>
                  <a:lnTo>
                    <a:pt x="6" y="1480"/>
                  </a:lnTo>
                  <a:lnTo>
                    <a:pt x="24" y="1344"/>
                  </a:lnTo>
                  <a:lnTo>
                    <a:pt x="52" y="1212"/>
                  </a:lnTo>
                  <a:lnTo>
                    <a:pt x="91" y="1084"/>
                  </a:lnTo>
                  <a:lnTo>
                    <a:pt x="140" y="959"/>
                  </a:lnTo>
                  <a:lnTo>
                    <a:pt x="199" y="842"/>
                  </a:lnTo>
                  <a:lnTo>
                    <a:pt x="268" y="728"/>
                  </a:lnTo>
                  <a:lnTo>
                    <a:pt x="345" y="622"/>
                  </a:lnTo>
                  <a:lnTo>
                    <a:pt x="430" y="522"/>
                  </a:lnTo>
                  <a:lnTo>
                    <a:pt x="522" y="430"/>
                  </a:lnTo>
                  <a:lnTo>
                    <a:pt x="622" y="345"/>
                  </a:lnTo>
                  <a:lnTo>
                    <a:pt x="728" y="268"/>
                  </a:lnTo>
                  <a:lnTo>
                    <a:pt x="842" y="199"/>
                  </a:lnTo>
                  <a:lnTo>
                    <a:pt x="959" y="140"/>
                  </a:lnTo>
                  <a:lnTo>
                    <a:pt x="1084" y="91"/>
                  </a:lnTo>
                  <a:lnTo>
                    <a:pt x="1212" y="52"/>
                  </a:lnTo>
                  <a:lnTo>
                    <a:pt x="1344" y="24"/>
                  </a:lnTo>
                  <a:lnTo>
                    <a:pt x="1480" y="6"/>
                  </a:lnTo>
                  <a:lnTo>
                    <a:pt x="1620" y="0"/>
                  </a:lnTo>
                  <a:close/>
                </a:path>
              </a:pathLst>
            </a:custGeom>
            <a:solidFill>
              <a:schemeClr val="bg2">
                <a:lumMod val="65000"/>
              </a:schemeClr>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175" name="Freeform 21"/>
            <p:cNvSpPr>
              <a:spLocks/>
            </p:cNvSpPr>
            <p:nvPr/>
          </p:nvSpPr>
          <p:spPr bwMode="auto">
            <a:xfrm>
              <a:off x="5428116" y="4244182"/>
              <a:ext cx="1285875" cy="2571750"/>
            </a:xfrm>
            <a:custGeom>
              <a:avLst/>
              <a:gdLst>
                <a:gd name="T0" fmla="*/ 140 w 1620"/>
                <a:gd name="T1" fmla="*/ 6 h 3240"/>
                <a:gd name="T2" fmla="*/ 408 w 1620"/>
                <a:gd name="T3" fmla="*/ 52 h 3240"/>
                <a:gd name="T4" fmla="*/ 661 w 1620"/>
                <a:gd name="T5" fmla="*/ 140 h 3240"/>
                <a:gd name="T6" fmla="*/ 892 w 1620"/>
                <a:gd name="T7" fmla="*/ 268 h 3240"/>
                <a:gd name="T8" fmla="*/ 1098 w 1620"/>
                <a:gd name="T9" fmla="*/ 430 h 3240"/>
                <a:gd name="T10" fmla="*/ 1275 w 1620"/>
                <a:gd name="T11" fmla="*/ 622 h 3240"/>
                <a:gd name="T12" fmla="*/ 1421 w 1620"/>
                <a:gd name="T13" fmla="*/ 842 h 3240"/>
                <a:gd name="T14" fmla="*/ 1529 w 1620"/>
                <a:gd name="T15" fmla="*/ 1084 h 3240"/>
                <a:gd name="T16" fmla="*/ 1596 w 1620"/>
                <a:gd name="T17" fmla="*/ 1344 h 3240"/>
                <a:gd name="T18" fmla="*/ 1620 w 1620"/>
                <a:gd name="T19" fmla="*/ 1620 h 3240"/>
                <a:gd name="T20" fmla="*/ 1596 w 1620"/>
                <a:gd name="T21" fmla="*/ 1896 h 3240"/>
                <a:gd name="T22" fmla="*/ 1529 w 1620"/>
                <a:gd name="T23" fmla="*/ 2156 h 3240"/>
                <a:gd name="T24" fmla="*/ 1421 w 1620"/>
                <a:gd name="T25" fmla="*/ 2398 h 3240"/>
                <a:gd name="T26" fmla="*/ 1275 w 1620"/>
                <a:gd name="T27" fmla="*/ 2618 h 3240"/>
                <a:gd name="T28" fmla="*/ 1098 w 1620"/>
                <a:gd name="T29" fmla="*/ 2810 h 3240"/>
                <a:gd name="T30" fmla="*/ 892 w 1620"/>
                <a:gd name="T31" fmla="*/ 2972 h 3240"/>
                <a:gd name="T32" fmla="*/ 661 w 1620"/>
                <a:gd name="T33" fmla="*/ 3100 h 3240"/>
                <a:gd name="T34" fmla="*/ 408 w 1620"/>
                <a:gd name="T35" fmla="*/ 3188 h 3240"/>
                <a:gd name="T36" fmla="*/ 140 w 1620"/>
                <a:gd name="T37" fmla="*/ 3234 h 3240"/>
                <a:gd name="T38" fmla="*/ 0 w 1620"/>
                <a:gd name="T39" fmla="*/ 2519 h 3240"/>
                <a:gd name="T40" fmla="*/ 194 w 1620"/>
                <a:gd name="T41" fmla="*/ 2499 h 3240"/>
                <a:gd name="T42" fmla="*/ 371 w 1620"/>
                <a:gd name="T43" fmla="*/ 2439 h 3240"/>
                <a:gd name="T44" fmla="*/ 531 w 1620"/>
                <a:gd name="T45" fmla="*/ 2346 h 3240"/>
                <a:gd name="T46" fmla="*/ 668 w 1620"/>
                <a:gd name="T47" fmla="*/ 2223 h 3240"/>
                <a:gd name="T48" fmla="*/ 776 w 1620"/>
                <a:gd name="T49" fmla="*/ 2074 h 3240"/>
                <a:gd name="T50" fmla="*/ 855 w 1620"/>
                <a:gd name="T51" fmla="*/ 1905 h 3240"/>
                <a:gd name="T52" fmla="*/ 896 w 1620"/>
                <a:gd name="T53" fmla="*/ 1719 h 3240"/>
                <a:gd name="T54" fmla="*/ 896 w 1620"/>
                <a:gd name="T55" fmla="*/ 1521 h 3240"/>
                <a:gd name="T56" fmla="*/ 855 w 1620"/>
                <a:gd name="T57" fmla="*/ 1335 h 3240"/>
                <a:gd name="T58" fmla="*/ 776 w 1620"/>
                <a:gd name="T59" fmla="*/ 1166 h 3240"/>
                <a:gd name="T60" fmla="*/ 668 w 1620"/>
                <a:gd name="T61" fmla="*/ 1017 h 3240"/>
                <a:gd name="T62" fmla="*/ 531 w 1620"/>
                <a:gd name="T63" fmla="*/ 894 h 3240"/>
                <a:gd name="T64" fmla="*/ 371 w 1620"/>
                <a:gd name="T65" fmla="*/ 801 h 3240"/>
                <a:gd name="T66" fmla="*/ 194 w 1620"/>
                <a:gd name="T67" fmla="*/ 741 h 3240"/>
                <a:gd name="T68" fmla="*/ 0 w 1620"/>
                <a:gd name="T69" fmla="*/ 721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0" h="3240">
                  <a:moveTo>
                    <a:pt x="0" y="0"/>
                  </a:moveTo>
                  <a:lnTo>
                    <a:pt x="140" y="6"/>
                  </a:lnTo>
                  <a:lnTo>
                    <a:pt x="276" y="24"/>
                  </a:lnTo>
                  <a:lnTo>
                    <a:pt x="408" y="52"/>
                  </a:lnTo>
                  <a:lnTo>
                    <a:pt x="536" y="91"/>
                  </a:lnTo>
                  <a:lnTo>
                    <a:pt x="661" y="140"/>
                  </a:lnTo>
                  <a:lnTo>
                    <a:pt x="778" y="199"/>
                  </a:lnTo>
                  <a:lnTo>
                    <a:pt x="892" y="268"/>
                  </a:lnTo>
                  <a:lnTo>
                    <a:pt x="998" y="345"/>
                  </a:lnTo>
                  <a:lnTo>
                    <a:pt x="1098" y="430"/>
                  </a:lnTo>
                  <a:lnTo>
                    <a:pt x="1190" y="522"/>
                  </a:lnTo>
                  <a:lnTo>
                    <a:pt x="1275" y="622"/>
                  </a:lnTo>
                  <a:lnTo>
                    <a:pt x="1352" y="728"/>
                  </a:lnTo>
                  <a:lnTo>
                    <a:pt x="1421" y="842"/>
                  </a:lnTo>
                  <a:lnTo>
                    <a:pt x="1480" y="959"/>
                  </a:lnTo>
                  <a:lnTo>
                    <a:pt x="1529" y="1084"/>
                  </a:lnTo>
                  <a:lnTo>
                    <a:pt x="1568" y="1212"/>
                  </a:lnTo>
                  <a:lnTo>
                    <a:pt x="1596" y="1344"/>
                  </a:lnTo>
                  <a:lnTo>
                    <a:pt x="1614" y="1480"/>
                  </a:lnTo>
                  <a:lnTo>
                    <a:pt x="1620" y="1620"/>
                  </a:lnTo>
                  <a:lnTo>
                    <a:pt x="1614" y="1760"/>
                  </a:lnTo>
                  <a:lnTo>
                    <a:pt x="1596" y="1896"/>
                  </a:lnTo>
                  <a:lnTo>
                    <a:pt x="1568" y="2028"/>
                  </a:lnTo>
                  <a:lnTo>
                    <a:pt x="1529" y="2156"/>
                  </a:lnTo>
                  <a:lnTo>
                    <a:pt x="1480" y="2281"/>
                  </a:lnTo>
                  <a:lnTo>
                    <a:pt x="1421" y="2398"/>
                  </a:lnTo>
                  <a:lnTo>
                    <a:pt x="1352" y="2512"/>
                  </a:lnTo>
                  <a:lnTo>
                    <a:pt x="1275" y="2618"/>
                  </a:lnTo>
                  <a:lnTo>
                    <a:pt x="1190" y="2718"/>
                  </a:lnTo>
                  <a:lnTo>
                    <a:pt x="1098" y="2810"/>
                  </a:lnTo>
                  <a:lnTo>
                    <a:pt x="998" y="2895"/>
                  </a:lnTo>
                  <a:lnTo>
                    <a:pt x="892" y="2972"/>
                  </a:lnTo>
                  <a:lnTo>
                    <a:pt x="778" y="3041"/>
                  </a:lnTo>
                  <a:lnTo>
                    <a:pt x="661" y="3100"/>
                  </a:lnTo>
                  <a:lnTo>
                    <a:pt x="536" y="3149"/>
                  </a:lnTo>
                  <a:lnTo>
                    <a:pt x="408" y="3188"/>
                  </a:lnTo>
                  <a:lnTo>
                    <a:pt x="276" y="3216"/>
                  </a:lnTo>
                  <a:lnTo>
                    <a:pt x="140" y="3234"/>
                  </a:lnTo>
                  <a:lnTo>
                    <a:pt x="0" y="3240"/>
                  </a:lnTo>
                  <a:lnTo>
                    <a:pt x="0" y="2519"/>
                  </a:lnTo>
                  <a:lnTo>
                    <a:pt x="99" y="2516"/>
                  </a:lnTo>
                  <a:lnTo>
                    <a:pt x="194" y="2499"/>
                  </a:lnTo>
                  <a:lnTo>
                    <a:pt x="285" y="2475"/>
                  </a:lnTo>
                  <a:lnTo>
                    <a:pt x="371" y="2439"/>
                  </a:lnTo>
                  <a:lnTo>
                    <a:pt x="454" y="2396"/>
                  </a:lnTo>
                  <a:lnTo>
                    <a:pt x="531" y="2346"/>
                  </a:lnTo>
                  <a:lnTo>
                    <a:pt x="603" y="2288"/>
                  </a:lnTo>
                  <a:lnTo>
                    <a:pt x="668" y="2223"/>
                  </a:lnTo>
                  <a:lnTo>
                    <a:pt x="726" y="2151"/>
                  </a:lnTo>
                  <a:lnTo>
                    <a:pt x="776" y="2074"/>
                  </a:lnTo>
                  <a:lnTo>
                    <a:pt x="819" y="1991"/>
                  </a:lnTo>
                  <a:lnTo>
                    <a:pt x="855" y="1905"/>
                  </a:lnTo>
                  <a:lnTo>
                    <a:pt x="879" y="1814"/>
                  </a:lnTo>
                  <a:lnTo>
                    <a:pt x="896" y="1719"/>
                  </a:lnTo>
                  <a:lnTo>
                    <a:pt x="899" y="1620"/>
                  </a:lnTo>
                  <a:lnTo>
                    <a:pt x="896" y="1521"/>
                  </a:lnTo>
                  <a:lnTo>
                    <a:pt x="879" y="1426"/>
                  </a:lnTo>
                  <a:lnTo>
                    <a:pt x="855" y="1335"/>
                  </a:lnTo>
                  <a:lnTo>
                    <a:pt x="819" y="1249"/>
                  </a:lnTo>
                  <a:lnTo>
                    <a:pt x="776" y="1166"/>
                  </a:lnTo>
                  <a:lnTo>
                    <a:pt x="726" y="1089"/>
                  </a:lnTo>
                  <a:lnTo>
                    <a:pt x="668" y="1017"/>
                  </a:lnTo>
                  <a:lnTo>
                    <a:pt x="603" y="952"/>
                  </a:lnTo>
                  <a:lnTo>
                    <a:pt x="531" y="894"/>
                  </a:lnTo>
                  <a:lnTo>
                    <a:pt x="454" y="844"/>
                  </a:lnTo>
                  <a:lnTo>
                    <a:pt x="371" y="801"/>
                  </a:lnTo>
                  <a:lnTo>
                    <a:pt x="285" y="765"/>
                  </a:lnTo>
                  <a:lnTo>
                    <a:pt x="194" y="741"/>
                  </a:lnTo>
                  <a:lnTo>
                    <a:pt x="99" y="724"/>
                  </a:lnTo>
                  <a:lnTo>
                    <a:pt x="0" y="721"/>
                  </a:lnTo>
                  <a:lnTo>
                    <a:pt x="0" y="0"/>
                  </a:lnTo>
                  <a:close/>
                </a:path>
              </a:pathLst>
            </a:custGeom>
            <a:solidFill>
              <a:schemeClr val="tx2"/>
            </a:solidFill>
            <a:ln w="0">
              <a:no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nvGrpSpPr>
          <p:cNvPr id="196" name="Google Shape;8785;p72"/>
          <p:cNvGrpSpPr/>
          <p:nvPr/>
        </p:nvGrpSpPr>
        <p:grpSpPr>
          <a:xfrm>
            <a:off x="1335748" y="2970223"/>
            <a:ext cx="371109" cy="369114"/>
            <a:chOff x="-5635200" y="2037975"/>
            <a:chExt cx="293025" cy="291450"/>
          </a:xfrm>
          <a:solidFill>
            <a:schemeClr val="accent3"/>
          </a:solidFill>
        </p:grpSpPr>
        <p:sp>
          <p:nvSpPr>
            <p:cNvPr id="197" name="Google Shape;8786;p72"/>
            <p:cNvSpPr/>
            <p:nvPr/>
          </p:nvSpPr>
          <p:spPr>
            <a:xfrm>
              <a:off x="-5635200" y="2037975"/>
              <a:ext cx="293025" cy="291450"/>
            </a:xfrm>
            <a:custGeom>
              <a:avLst/>
              <a:gdLst/>
              <a:ahLst/>
              <a:cxnLst/>
              <a:rect l="l" t="t" r="r" b="b"/>
              <a:pathLst>
                <a:path w="11721" h="11658" extrusionOk="0">
                  <a:moveTo>
                    <a:pt x="2395" y="725"/>
                  </a:moveTo>
                  <a:cubicBezTo>
                    <a:pt x="2930" y="725"/>
                    <a:pt x="3403" y="1197"/>
                    <a:pt x="3403" y="1733"/>
                  </a:cubicBezTo>
                  <a:cubicBezTo>
                    <a:pt x="3403" y="2300"/>
                    <a:pt x="2930" y="2773"/>
                    <a:pt x="2395" y="2773"/>
                  </a:cubicBezTo>
                  <a:cubicBezTo>
                    <a:pt x="1828" y="2773"/>
                    <a:pt x="1355" y="2300"/>
                    <a:pt x="1355" y="1733"/>
                  </a:cubicBezTo>
                  <a:cubicBezTo>
                    <a:pt x="1355" y="1197"/>
                    <a:pt x="1828" y="725"/>
                    <a:pt x="2395" y="725"/>
                  </a:cubicBezTo>
                  <a:close/>
                  <a:moveTo>
                    <a:pt x="10303" y="725"/>
                  </a:moveTo>
                  <a:lnTo>
                    <a:pt x="10303" y="6585"/>
                  </a:lnTo>
                  <a:lnTo>
                    <a:pt x="10334" y="6585"/>
                  </a:lnTo>
                  <a:cubicBezTo>
                    <a:pt x="10334" y="6774"/>
                    <a:pt x="10177" y="6931"/>
                    <a:pt x="9988" y="6931"/>
                  </a:cubicBezTo>
                  <a:lnTo>
                    <a:pt x="4789" y="6931"/>
                  </a:lnTo>
                  <a:lnTo>
                    <a:pt x="4789" y="5167"/>
                  </a:lnTo>
                  <a:cubicBezTo>
                    <a:pt x="4789" y="4253"/>
                    <a:pt x="4285" y="3434"/>
                    <a:pt x="3498" y="3025"/>
                  </a:cubicBezTo>
                  <a:cubicBezTo>
                    <a:pt x="3844" y="2710"/>
                    <a:pt x="4096" y="2237"/>
                    <a:pt x="4096" y="1733"/>
                  </a:cubicBezTo>
                  <a:cubicBezTo>
                    <a:pt x="4096" y="1355"/>
                    <a:pt x="3970" y="977"/>
                    <a:pt x="3718" y="725"/>
                  </a:cubicBezTo>
                  <a:close/>
                  <a:moveTo>
                    <a:pt x="2710" y="3466"/>
                  </a:moveTo>
                  <a:cubicBezTo>
                    <a:pt x="3498" y="3623"/>
                    <a:pt x="4096" y="4316"/>
                    <a:pt x="4096" y="5167"/>
                  </a:cubicBezTo>
                  <a:lnTo>
                    <a:pt x="4096" y="7246"/>
                  </a:lnTo>
                  <a:cubicBezTo>
                    <a:pt x="4128" y="7435"/>
                    <a:pt x="3970" y="7593"/>
                    <a:pt x="3750" y="7593"/>
                  </a:cubicBezTo>
                  <a:cubicBezTo>
                    <a:pt x="3561" y="7593"/>
                    <a:pt x="3403" y="7750"/>
                    <a:pt x="3403" y="7971"/>
                  </a:cubicBezTo>
                  <a:lnTo>
                    <a:pt x="3403" y="10712"/>
                  </a:lnTo>
                  <a:cubicBezTo>
                    <a:pt x="3403" y="10901"/>
                    <a:pt x="3246" y="11058"/>
                    <a:pt x="3056" y="11058"/>
                  </a:cubicBezTo>
                  <a:lnTo>
                    <a:pt x="1670" y="11058"/>
                  </a:lnTo>
                  <a:cubicBezTo>
                    <a:pt x="1481" y="11058"/>
                    <a:pt x="1324" y="10901"/>
                    <a:pt x="1324" y="10712"/>
                  </a:cubicBezTo>
                  <a:lnTo>
                    <a:pt x="1324" y="7971"/>
                  </a:lnTo>
                  <a:cubicBezTo>
                    <a:pt x="1324" y="7750"/>
                    <a:pt x="1166" y="7593"/>
                    <a:pt x="977" y="7593"/>
                  </a:cubicBezTo>
                  <a:cubicBezTo>
                    <a:pt x="788" y="7593"/>
                    <a:pt x="631" y="7435"/>
                    <a:pt x="631" y="7246"/>
                  </a:cubicBezTo>
                  <a:lnTo>
                    <a:pt x="631" y="5167"/>
                  </a:lnTo>
                  <a:cubicBezTo>
                    <a:pt x="631" y="4316"/>
                    <a:pt x="1198" y="3623"/>
                    <a:pt x="1985" y="3466"/>
                  </a:cubicBezTo>
                  <a:lnTo>
                    <a:pt x="1985" y="5829"/>
                  </a:lnTo>
                  <a:cubicBezTo>
                    <a:pt x="1985" y="6018"/>
                    <a:pt x="2143" y="6175"/>
                    <a:pt x="2363" y="6175"/>
                  </a:cubicBezTo>
                  <a:cubicBezTo>
                    <a:pt x="2552" y="6175"/>
                    <a:pt x="2710" y="6018"/>
                    <a:pt x="2710" y="5829"/>
                  </a:cubicBezTo>
                  <a:lnTo>
                    <a:pt x="2710" y="3466"/>
                  </a:lnTo>
                  <a:close/>
                  <a:moveTo>
                    <a:pt x="2395" y="0"/>
                  </a:moveTo>
                  <a:cubicBezTo>
                    <a:pt x="1450" y="0"/>
                    <a:pt x="694" y="756"/>
                    <a:pt x="694" y="1702"/>
                  </a:cubicBezTo>
                  <a:cubicBezTo>
                    <a:pt x="694" y="2206"/>
                    <a:pt x="946" y="2678"/>
                    <a:pt x="1292" y="2993"/>
                  </a:cubicBezTo>
                  <a:cubicBezTo>
                    <a:pt x="536" y="3403"/>
                    <a:pt x="1" y="4222"/>
                    <a:pt x="1" y="5136"/>
                  </a:cubicBezTo>
                  <a:lnTo>
                    <a:pt x="1" y="7215"/>
                  </a:lnTo>
                  <a:cubicBezTo>
                    <a:pt x="1" y="7656"/>
                    <a:pt x="253" y="8034"/>
                    <a:pt x="662" y="8192"/>
                  </a:cubicBezTo>
                  <a:lnTo>
                    <a:pt x="662" y="10649"/>
                  </a:lnTo>
                  <a:cubicBezTo>
                    <a:pt x="662" y="11184"/>
                    <a:pt x="1135" y="11657"/>
                    <a:pt x="1670" y="11657"/>
                  </a:cubicBezTo>
                  <a:lnTo>
                    <a:pt x="3056" y="11657"/>
                  </a:lnTo>
                  <a:cubicBezTo>
                    <a:pt x="3624" y="11657"/>
                    <a:pt x="4096" y="11184"/>
                    <a:pt x="4096" y="10649"/>
                  </a:cubicBezTo>
                  <a:lnTo>
                    <a:pt x="4096" y="8192"/>
                  </a:lnTo>
                  <a:cubicBezTo>
                    <a:pt x="4348" y="8065"/>
                    <a:pt x="4600" y="7876"/>
                    <a:pt x="4726" y="7561"/>
                  </a:cubicBezTo>
                  <a:lnTo>
                    <a:pt x="9988" y="7561"/>
                  </a:lnTo>
                  <a:cubicBezTo>
                    <a:pt x="10555" y="7561"/>
                    <a:pt x="11027" y="7089"/>
                    <a:pt x="11027" y="6553"/>
                  </a:cubicBezTo>
                  <a:lnTo>
                    <a:pt x="11027" y="662"/>
                  </a:lnTo>
                  <a:lnTo>
                    <a:pt x="11374" y="662"/>
                  </a:lnTo>
                  <a:cubicBezTo>
                    <a:pt x="11563" y="662"/>
                    <a:pt x="11720" y="504"/>
                    <a:pt x="11720" y="315"/>
                  </a:cubicBezTo>
                  <a:cubicBezTo>
                    <a:pt x="11720" y="158"/>
                    <a:pt x="11563" y="0"/>
                    <a:pt x="11374" y="0"/>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198" name="Google Shape;8787;p72"/>
            <p:cNvSpPr/>
            <p:nvPr/>
          </p:nvSpPr>
          <p:spPr>
            <a:xfrm>
              <a:off x="-5496575" y="2072625"/>
              <a:ext cx="102425" cy="102425"/>
            </a:xfrm>
            <a:custGeom>
              <a:avLst/>
              <a:gdLst/>
              <a:ahLst/>
              <a:cxnLst/>
              <a:rect l="l" t="t" r="r" b="b"/>
              <a:pathLst>
                <a:path w="4097" h="4097" extrusionOk="0">
                  <a:moveTo>
                    <a:pt x="2395" y="725"/>
                  </a:moveTo>
                  <a:cubicBezTo>
                    <a:pt x="2867" y="851"/>
                    <a:pt x="3245" y="1229"/>
                    <a:pt x="3371" y="1733"/>
                  </a:cubicBezTo>
                  <a:lnTo>
                    <a:pt x="2395" y="1733"/>
                  </a:lnTo>
                  <a:lnTo>
                    <a:pt x="2395" y="725"/>
                  </a:lnTo>
                  <a:close/>
                  <a:moveTo>
                    <a:pt x="1733" y="757"/>
                  </a:moveTo>
                  <a:lnTo>
                    <a:pt x="1733" y="2080"/>
                  </a:lnTo>
                  <a:cubicBezTo>
                    <a:pt x="1733" y="2269"/>
                    <a:pt x="1891" y="2426"/>
                    <a:pt x="2080" y="2426"/>
                  </a:cubicBezTo>
                  <a:lnTo>
                    <a:pt x="3403" y="2426"/>
                  </a:lnTo>
                  <a:cubicBezTo>
                    <a:pt x="3245" y="3025"/>
                    <a:pt x="2741" y="3466"/>
                    <a:pt x="2080" y="3466"/>
                  </a:cubicBezTo>
                  <a:cubicBezTo>
                    <a:pt x="1324" y="3466"/>
                    <a:pt x="693" y="2836"/>
                    <a:pt x="693" y="2080"/>
                  </a:cubicBezTo>
                  <a:cubicBezTo>
                    <a:pt x="693" y="1418"/>
                    <a:pt x="1135" y="851"/>
                    <a:pt x="1733" y="757"/>
                  </a:cubicBezTo>
                  <a:close/>
                  <a:moveTo>
                    <a:pt x="2048" y="0"/>
                  </a:moveTo>
                  <a:cubicBezTo>
                    <a:pt x="883" y="0"/>
                    <a:pt x="0" y="914"/>
                    <a:pt x="0" y="2048"/>
                  </a:cubicBezTo>
                  <a:cubicBezTo>
                    <a:pt x="0" y="3182"/>
                    <a:pt x="946" y="4096"/>
                    <a:pt x="2048" y="4096"/>
                  </a:cubicBezTo>
                  <a:cubicBezTo>
                    <a:pt x="3182" y="4096"/>
                    <a:pt x="4096" y="3182"/>
                    <a:pt x="4096" y="2048"/>
                  </a:cubicBezTo>
                  <a:cubicBezTo>
                    <a:pt x="4096" y="914"/>
                    <a:pt x="3182" y="0"/>
                    <a:pt x="2048" y="0"/>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grpSp>
      <p:sp>
        <p:nvSpPr>
          <p:cNvPr id="199" name="Google Shape;9136;p73"/>
          <p:cNvSpPr/>
          <p:nvPr/>
        </p:nvSpPr>
        <p:spPr>
          <a:xfrm>
            <a:off x="6201515" y="4631508"/>
            <a:ext cx="371473" cy="369539"/>
          </a:xfrm>
          <a:custGeom>
            <a:avLst/>
            <a:gdLst/>
            <a:ahLst/>
            <a:cxnLst/>
            <a:rect l="l" t="t" r="r" b="b"/>
            <a:pathLst>
              <a:path w="11909" h="11847" extrusionOk="0">
                <a:moveTo>
                  <a:pt x="3560" y="2647"/>
                </a:moveTo>
                <a:lnTo>
                  <a:pt x="3560" y="3561"/>
                </a:lnTo>
                <a:lnTo>
                  <a:pt x="2615" y="3561"/>
                </a:lnTo>
                <a:lnTo>
                  <a:pt x="3560" y="2647"/>
                </a:lnTo>
                <a:close/>
                <a:moveTo>
                  <a:pt x="6616" y="4222"/>
                </a:moveTo>
                <a:cubicBezTo>
                  <a:pt x="7971" y="4285"/>
                  <a:pt x="9074" y="5325"/>
                  <a:pt x="9074" y="6680"/>
                </a:cubicBezTo>
                <a:cubicBezTo>
                  <a:pt x="9074" y="8003"/>
                  <a:pt x="7971" y="9106"/>
                  <a:pt x="6616" y="9106"/>
                </a:cubicBezTo>
                <a:cubicBezTo>
                  <a:pt x="5293" y="9106"/>
                  <a:pt x="4190" y="8003"/>
                  <a:pt x="4190" y="6680"/>
                </a:cubicBezTo>
                <a:cubicBezTo>
                  <a:pt x="4190" y="5325"/>
                  <a:pt x="5293" y="4222"/>
                  <a:pt x="6616" y="4222"/>
                </a:cubicBezTo>
                <a:close/>
                <a:moveTo>
                  <a:pt x="7687" y="757"/>
                </a:moveTo>
                <a:lnTo>
                  <a:pt x="7687" y="1513"/>
                </a:lnTo>
                <a:lnTo>
                  <a:pt x="3875" y="1513"/>
                </a:lnTo>
                <a:cubicBezTo>
                  <a:pt x="3781" y="1513"/>
                  <a:pt x="3655" y="1544"/>
                  <a:pt x="3623" y="1639"/>
                </a:cubicBezTo>
                <a:lnTo>
                  <a:pt x="1512" y="3718"/>
                </a:lnTo>
                <a:cubicBezTo>
                  <a:pt x="1418" y="3813"/>
                  <a:pt x="1386" y="3876"/>
                  <a:pt x="1386" y="3939"/>
                </a:cubicBezTo>
                <a:lnTo>
                  <a:pt x="1386" y="9862"/>
                </a:lnTo>
                <a:lnTo>
                  <a:pt x="662" y="9862"/>
                </a:lnTo>
                <a:lnTo>
                  <a:pt x="662" y="757"/>
                </a:lnTo>
                <a:close/>
                <a:moveTo>
                  <a:pt x="8380" y="2175"/>
                </a:moveTo>
                <a:lnTo>
                  <a:pt x="8380" y="4128"/>
                </a:lnTo>
                <a:cubicBezTo>
                  <a:pt x="7876" y="3813"/>
                  <a:pt x="7278" y="3592"/>
                  <a:pt x="6648" y="3592"/>
                </a:cubicBezTo>
                <a:cubicBezTo>
                  <a:pt x="4915" y="3592"/>
                  <a:pt x="3560" y="5010"/>
                  <a:pt x="3560" y="6711"/>
                </a:cubicBezTo>
                <a:cubicBezTo>
                  <a:pt x="3560" y="8444"/>
                  <a:pt x="4946" y="9830"/>
                  <a:pt x="6648" y="9830"/>
                </a:cubicBezTo>
                <a:cubicBezTo>
                  <a:pt x="7120" y="9830"/>
                  <a:pt x="7593" y="9704"/>
                  <a:pt x="8002" y="9515"/>
                </a:cubicBezTo>
                <a:lnTo>
                  <a:pt x="8380" y="9893"/>
                </a:lnTo>
                <a:lnTo>
                  <a:pt x="8380" y="10492"/>
                </a:lnTo>
                <a:lnTo>
                  <a:pt x="2079" y="10492"/>
                </a:lnTo>
                <a:lnTo>
                  <a:pt x="2079" y="4285"/>
                </a:lnTo>
                <a:lnTo>
                  <a:pt x="3875" y="4285"/>
                </a:lnTo>
                <a:cubicBezTo>
                  <a:pt x="4064" y="4285"/>
                  <a:pt x="4222" y="4128"/>
                  <a:pt x="4222" y="3907"/>
                </a:cubicBezTo>
                <a:lnTo>
                  <a:pt x="4222" y="2175"/>
                </a:lnTo>
                <a:close/>
                <a:moveTo>
                  <a:pt x="9074" y="8633"/>
                </a:moveTo>
                <a:lnTo>
                  <a:pt x="11027" y="10618"/>
                </a:lnTo>
                <a:cubicBezTo>
                  <a:pt x="11153" y="10744"/>
                  <a:pt x="11153" y="10964"/>
                  <a:pt x="11027" y="11090"/>
                </a:cubicBezTo>
                <a:cubicBezTo>
                  <a:pt x="10964" y="11153"/>
                  <a:pt x="10877" y="11185"/>
                  <a:pt x="10791" y="11185"/>
                </a:cubicBezTo>
                <a:cubicBezTo>
                  <a:pt x="10704" y="11185"/>
                  <a:pt x="10617" y="11153"/>
                  <a:pt x="10554" y="11090"/>
                </a:cubicBezTo>
                <a:lnTo>
                  <a:pt x="8601" y="9106"/>
                </a:lnTo>
                <a:cubicBezTo>
                  <a:pt x="8790" y="9011"/>
                  <a:pt x="8948" y="8791"/>
                  <a:pt x="9074" y="8633"/>
                </a:cubicBezTo>
                <a:close/>
                <a:moveTo>
                  <a:pt x="347" y="1"/>
                </a:moveTo>
                <a:cubicBezTo>
                  <a:pt x="158" y="1"/>
                  <a:pt x="0" y="190"/>
                  <a:pt x="0" y="379"/>
                </a:cubicBezTo>
                <a:lnTo>
                  <a:pt x="0" y="10145"/>
                </a:lnTo>
                <a:cubicBezTo>
                  <a:pt x="0" y="10334"/>
                  <a:pt x="158" y="10492"/>
                  <a:pt x="347" y="10492"/>
                </a:cubicBezTo>
                <a:lnTo>
                  <a:pt x="1386" y="10492"/>
                </a:lnTo>
                <a:lnTo>
                  <a:pt x="1386" y="10838"/>
                </a:lnTo>
                <a:cubicBezTo>
                  <a:pt x="1386" y="11059"/>
                  <a:pt x="1544" y="11216"/>
                  <a:pt x="1733" y="11216"/>
                </a:cubicBezTo>
                <a:lnTo>
                  <a:pt x="8695" y="11216"/>
                </a:lnTo>
                <a:cubicBezTo>
                  <a:pt x="8916" y="11216"/>
                  <a:pt x="9074" y="11059"/>
                  <a:pt x="9074" y="10838"/>
                </a:cubicBezTo>
                <a:lnTo>
                  <a:pt x="9074" y="10586"/>
                </a:lnTo>
                <a:lnTo>
                  <a:pt x="10050" y="11563"/>
                </a:lnTo>
                <a:cubicBezTo>
                  <a:pt x="10239" y="11752"/>
                  <a:pt x="10507" y="11847"/>
                  <a:pt x="10775" y="11847"/>
                </a:cubicBezTo>
                <a:cubicBezTo>
                  <a:pt x="11043" y="11847"/>
                  <a:pt x="11310" y="11752"/>
                  <a:pt x="11499" y="11563"/>
                </a:cubicBezTo>
                <a:cubicBezTo>
                  <a:pt x="11909" y="11153"/>
                  <a:pt x="11909" y="10492"/>
                  <a:pt x="11499" y="10114"/>
                </a:cubicBezTo>
                <a:lnTo>
                  <a:pt x="9420" y="8003"/>
                </a:lnTo>
                <a:cubicBezTo>
                  <a:pt x="9609" y="7625"/>
                  <a:pt x="9735" y="7152"/>
                  <a:pt x="9735" y="6680"/>
                </a:cubicBezTo>
                <a:cubicBezTo>
                  <a:pt x="9735" y="5924"/>
                  <a:pt x="9452" y="5262"/>
                  <a:pt x="9011" y="4695"/>
                </a:cubicBezTo>
                <a:lnTo>
                  <a:pt x="9011" y="1828"/>
                </a:lnTo>
                <a:cubicBezTo>
                  <a:pt x="9011" y="1639"/>
                  <a:pt x="8853" y="1481"/>
                  <a:pt x="8664" y="1481"/>
                </a:cubicBezTo>
                <a:lnTo>
                  <a:pt x="8317" y="1481"/>
                </a:lnTo>
                <a:lnTo>
                  <a:pt x="8317" y="379"/>
                </a:lnTo>
                <a:cubicBezTo>
                  <a:pt x="8317" y="190"/>
                  <a:pt x="8160" y="1"/>
                  <a:pt x="7971" y="1"/>
                </a:cubicBezTo>
                <a:close/>
              </a:path>
            </a:pathLst>
          </a:custGeom>
          <a:solidFill>
            <a:schemeClr val="accent3"/>
          </a:solid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grpSp>
        <p:nvGrpSpPr>
          <p:cNvPr id="200" name="Google Shape;9137;p73"/>
          <p:cNvGrpSpPr/>
          <p:nvPr/>
        </p:nvGrpSpPr>
        <p:grpSpPr>
          <a:xfrm>
            <a:off x="7441464" y="2006932"/>
            <a:ext cx="358068" cy="354321"/>
            <a:chOff x="1049375" y="2318350"/>
            <a:chExt cx="298525" cy="295400"/>
          </a:xfrm>
          <a:solidFill>
            <a:schemeClr val="accent2"/>
          </a:solidFill>
        </p:grpSpPr>
        <p:sp>
          <p:nvSpPr>
            <p:cNvPr id="201" name="Google Shape;9138;p73"/>
            <p:cNvSpPr/>
            <p:nvPr/>
          </p:nvSpPr>
          <p:spPr>
            <a:xfrm>
              <a:off x="1101350" y="2492325"/>
              <a:ext cx="70125" cy="50525"/>
            </a:xfrm>
            <a:custGeom>
              <a:avLst/>
              <a:gdLst/>
              <a:ahLst/>
              <a:cxnLst/>
              <a:rect l="l" t="t" r="r" b="b"/>
              <a:pathLst>
                <a:path w="2805" h="2021" extrusionOk="0">
                  <a:moveTo>
                    <a:pt x="2473" y="0"/>
                  </a:moveTo>
                  <a:cubicBezTo>
                    <a:pt x="2377" y="0"/>
                    <a:pt x="2273" y="32"/>
                    <a:pt x="2206" y="99"/>
                  </a:cubicBezTo>
                  <a:lnTo>
                    <a:pt x="1072" y="1233"/>
                  </a:lnTo>
                  <a:lnTo>
                    <a:pt x="599" y="761"/>
                  </a:lnTo>
                  <a:cubicBezTo>
                    <a:pt x="536" y="713"/>
                    <a:pt x="449" y="690"/>
                    <a:pt x="363" y="690"/>
                  </a:cubicBezTo>
                  <a:cubicBezTo>
                    <a:pt x="276" y="690"/>
                    <a:pt x="189" y="713"/>
                    <a:pt x="126" y="761"/>
                  </a:cubicBezTo>
                  <a:cubicBezTo>
                    <a:pt x="0" y="887"/>
                    <a:pt x="0" y="1139"/>
                    <a:pt x="126" y="1233"/>
                  </a:cubicBezTo>
                  <a:lnTo>
                    <a:pt x="820" y="1958"/>
                  </a:lnTo>
                  <a:cubicBezTo>
                    <a:pt x="914" y="2021"/>
                    <a:pt x="977" y="2021"/>
                    <a:pt x="1072" y="2021"/>
                  </a:cubicBezTo>
                  <a:cubicBezTo>
                    <a:pt x="1135" y="2021"/>
                    <a:pt x="1261" y="1989"/>
                    <a:pt x="1292" y="1926"/>
                  </a:cubicBezTo>
                  <a:lnTo>
                    <a:pt x="2678" y="540"/>
                  </a:lnTo>
                  <a:cubicBezTo>
                    <a:pt x="2804" y="414"/>
                    <a:pt x="2804" y="162"/>
                    <a:pt x="2678" y="68"/>
                  </a:cubicBezTo>
                  <a:cubicBezTo>
                    <a:pt x="2634" y="24"/>
                    <a:pt x="2557" y="0"/>
                    <a:pt x="2473" y="0"/>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02" name="Google Shape;9139;p73"/>
            <p:cNvSpPr/>
            <p:nvPr/>
          </p:nvSpPr>
          <p:spPr>
            <a:xfrm>
              <a:off x="1101350" y="2440525"/>
              <a:ext cx="70125" cy="51150"/>
            </a:xfrm>
            <a:custGeom>
              <a:avLst/>
              <a:gdLst/>
              <a:ahLst/>
              <a:cxnLst/>
              <a:rect l="l" t="t" r="r" b="b"/>
              <a:pathLst>
                <a:path w="2805" h="2046" extrusionOk="0">
                  <a:moveTo>
                    <a:pt x="2469" y="1"/>
                  </a:moveTo>
                  <a:cubicBezTo>
                    <a:pt x="2374" y="1"/>
                    <a:pt x="2272" y="40"/>
                    <a:pt x="2206" y="123"/>
                  </a:cubicBezTo>
                  <a:lnTo>
                    <a:pt x="1072" y="1257"/>
                  </a:lnTo>
                  <a:lnTo>
                    <a:pt x="599" y="785"/>
                  </a:lnTo>
                  <a:cubicBezTo>
                    <a:pt x="536" y="738"/>
                    <a:pt x="449" y="714"/>
                    <a:pt x="363" y="714"/>
                  </a:cubicBezTo>
                  <a:cubicBezTo>
                    <a:pt x="276" y="714"/>
                    <a:pt x="189" y="738"/>
                    <a:pt x="126" y="785"/>
                  </a:cubicBezTo>
                  <a:cubicBezTo>
                    <a:pt x="0" y="911"/>
                    <a:pt x="0" y="1163"/>
                    <a:pt x="126" y="1257"/>
                  </a:cubicBezTo>
                  <a:lnTo>
                    <a:pt x="820" y="1982"/>
                  </a:lnTo>
                  <a:cubicBezTo>
                    <a:pt x="914" y="2045"/>
                    <a:pt x="977" y="2045"/>
                    <a:pt x="1072" y="2045"/>
                  </a:cubicBezTo>
                  <a:cubicBezTo>
                    <a:pt x="1135" y="2045"/>
                    <a:pt x="1261" y="2014"/>
                    <a:pt x="1292" y="1951"/>
                  </a:cubicBezTo>
                  <a:lnTo>
                    <a:pt x="2678" y="564"/>
                  </a:lnTo>
                  <a:cubicBezTo>
                    <a:pt x="2804" y="438"/>
                    <a:pt x="2804" y="186"/>
                    <a:pt x="2678" y="92"/>
                  </a:cubicBezTo>
                  <a:cubicBezTo>
                    <a:pt x="2634" y="32"/>
                    <a:pt x="2554" y="1"/>
                    <a:pt x="2469"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03" name="Google Shape;9140;p73"/>
            <p:cNvSpPr/>
            <p:nvPr/>
          </p:nvSpPr>
          <p:spPr>
            <a:xfrm>
              <a:off x="1101350" y="2388550"/>
              <a:ext cx="70125" cy="51125"/>
            </a:xfrm>
            <a:custGeom>
              <a:avLst/>
              <a:gdLst/>
              <a:ahLst/>
              <a:cxnLst/>
              <a:rect l="l" t="t" r="r" b="b"/>
              <a:pathLst>
                <a:path w="2805" h="2045" extrusionOk="0">
                  <a:moveTo>
                    <a:pt x="2469" y="1"/>
                  </a:moveTo>
                  <a:cubicBezTo>
                    <a:pt x="2374" y="1"/>
                    <a:pt x="2272" y="40"/>
                    <a:pt x="2206" y="123"/>
                  </a:cubicBezTo>
                  <a:lnTo>
                    <a:pt x="1072" y="1257"/>
                  </a:lnTo>
                  <a:lnTo>
                    <a:pt x="599" y="785"/>
                  </a:lnTo>
                  <a:cubicBezTo>
                    <a:pt x="536" y="722"/>
                    <a:pt x="449" y="690"/>
                    <a:pt x="363" y="690"/>
                  </a:cubicBezTo>
                  <a:cubicBezTo>
                    <a:pt x="276" y="690"/>
                    <a:pt x="189" y="722"/>
                    <a:pt x="126" y="785"/>
                  </a:cubicBezTo>
                  <a:cubicBezTo>
                    <a:pt x="0" y="911"/>
                    <a:pt x="0" y="1131"/>
                    <a:pt x="126" y="1257"/>
                  </a:cubicBezTo>
                  <a:lnTo>
                    <a:pt x="820" y="1982"/>
                  </a:lnTo>
                  <a:cubicBezTo>
                    <a:pt x="914" y="2045"/>
                    <a:pt x="977" y="2045"/>
                    <a:pt x="1072" y="2045"/>
                  </a:cubicBezTo>
                  <a:cubicBezTo>
                    <a:pt x="1135" y="2045"/>
                    <a:pt x="1261" y="2013"/>
                    <a:pt x="1292" y="1919"/>
                  </a:cubicBezTo>
                  <a:lnTo>
                    <a:pt x="2678" y="532"/>
                  </a:lnTo>
                  <a:cubicBezTo>
                    <a:pt x="2804" y="438"/>
                    <a:pt x="2804" y="186"/>
                    <a:pt x="2678" y="91"/>
                  </a:cubicBezTo>
                  <a:cubicBezTo>
                    <a:pt x="2634" y="32"/>
                    <a:pt x="2554" y="1"/>
                    <a:pt x="2469"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04" name="Google Shape;9141;p73"/>
            <p:cNvSpPr/>
            <p:nvPr/>
          </p:nvSpPr>
          <p:spPr>
            <a:xfrm>
              <a:off x="1049375" y="2318350"/>
              <a:ext cx="298525" cy="295400"/>
            </a:xfrm>
            <a:custGeom>
              <a:avLst/>
              <a:gdLst/>
              <a:ahLst/>
              <a:cxnLst/>
              <a:rect l="l" t="t" r="r" b="b"/>
              <a:pathLst>
                <a:path w="11941" h="11816" extrusionOk="0">
                  <a:moveTo>
                    <a:pt x="6963" y="1198"/>
                  </a:moveTo>
                  <a:lnTo>
                    <a:pt x="7876" y="2143"/>
                  </a:lnTo>
                  <a:lnTo>
                    <a:pt x="6963" y="2143"/>
                  </a:lnTo>
                  <a:lnTo>
                    <a:pt x="6963" y="1198"/>
                  </a:lnTo>
                  <a:close/>
                  <a:moveTo>
                    <a:pt x="10286" y="3498"/>
                  </a:moveTo>
                  <a:cubicBezTo>
                    <a:pt x="10373" y="3498"/>
                    <a:pt x="10460" y="3530"/>
                    <a:pt x="10523" y="3593"/>
                  </a:cubicBezTo>
                  <a:lnTo>
                    <a:pt x="10995" y="4065"/>
                  </a:lnTo>
                  <a:cubicBezTo>
                    <a:pt x="11184" y="4223"/>
                    <a:pt x="11184" y="4475"/>
                    <a:pt x="11027" y="4569"/>
                  </a:cubicBezTo>
                  <a:lnTo>
                    <a:pt x="10806" y="4821"/>
                  </a:lnTo>
                  <a:lnTo>
                    <a:pt x="9798" y="3845"/>
                  </a:lnTo>
                  <a:lnTo>
                    <a:pt x="10050" y="3593"/>
                  </a:lnTo>
                  <a:cubicBezTo>
                    <a:pt x="10113" y="3530"/>
                    <a:pt x="10200" y="3498"/>
                    <a:pt x="10286" y="3498"/>
                  </a:cubicBezTo>
                  <a:close/>
                  <a:moveTo>
                    <a:pt x="9294" y="4349"/>
                  </a:moveTo>
                  <a:lnTo>
                    <a:pt x="10271" y="5325"/>
                  </a:lnTo>
                  <a:lnTo>
                    <a:pt x="7845" y="7783"/>
                  </a:lnTo>
                  <a:lnTo>
                    <a:pt x="6868" y="6774"/>
                  </a:lnTo>
                  <a:lnTo>
                    <a:pt x="9294" y="4349"/>
                  </a:lnTo>
                  <a:close/>
                  <a:moveTo>
                    <a:pt x="6585" y="7499"/>
                  </a:moveTo>
                  <a:lnTo>
                    <a:pt x="7183" y="8098"/>
                  </a:lnTo>
                  <a:lnTo>
                    <a:pt x="6427" y="8255"/>
                  </a:lnTo>
                  <a:lnTo>
                    <a:pt x="6585" y="7499"/>
                  </a:lnTo>
                  <a:close/>
                  <a:moveTo>
                    <a:pt x="6994" y="10398"/>
                  </a:moveTo>
                  <a:lnTo>
                    <a:pt x="6994" y="10776"/>
                  </a:lnTo>
                  <a:cubicBezTo>
                    <a:pt x="6994" y="10870"/>
                    <a:pt x="7057" y="10996"/>
                    <a:pt x="7089" y="11122"/>
                  </a:cubicBezTo>
                  <a:lnTo>
                    <a:pt x="1071" y="11122"/>
                  </a:lnTo>
                  <a:cubicBezTo>
                    <a:pt x="882" y="11122"/>
                    <a:pt x="693" y="10965"/>
                    <a:pt x="693" y="10776"/>
                  </a:cubicBezTo>
                  <a:lnTo>
                    <a:pt x="693" y="10398"/>
                  </a:lnTo>
                  <a:close/>
                  <a:moveTo>
                    <a:pt x="6270" y="663"/>
                  </a:moveTo>
                  <a:lnTo>
                    <a:pt x="6270" y="2458"/>
                  </a:lnTo>
                  <a:cubicBezTo>
                    <a:pt x="6270" y="2647"/>
                    <a:pt x="6427" y="2805"/>
                    <a:pt x="6616" y="2805"/>
                  </a:cubicBezTo>
                  <a:lnTo>
                    <a:pt x="8349" y="2805"/>
                  </a:lnTo>
                  <a:lnTo>
                    <a:pt x="8349" y="4286"/>
                  </a:lnTo>
                  <a:lnTo>
                    <a:pt x="6112" y="6554"/>
                  </a:lnTo>
                  <a:cubicBezTo>
                    <a:pt x="6081" y="6585"/>
                    <a:pt x="6018" y="6680"/>
                    <a:pt x="6018" y="6711"/>
                  </a:cubicBezTo>
                  <a:lnTo>
                    <a:pt x="5608" y="8633"/>
                  </a:lnTo>
                  <a:cubicBezTo>
                    <a:pt x="5545" y="8759"/>
                    <a:pt x="5608" y="8885"/>
                    <a:pt x="5671" y="8948"/>
                  </a:cubicBezTo>
                  <a:cubicBezTo>
                    <a:pt x="5742" y="9019"/>
                    <a:pt x="5813" y="9055"/>
                    <a:pt x="5897" y="9055"/>
                  </a:cubicBezTo>
                  <a:cubicBezTo>
                    <a:pt x="5925" y="9055"/>
                    <a:pt x="5955" y="9051"/>
                    <a:pt x="5986" y="9043"/>
                  </a:cubicBezTo>
                  <a:lnTo>
                    <a:pt x="7908" y="8602"/>
                  </a:lnTo>
                  <a:cubicBezTo>
                    <a:pt x="8002" y="8602"/>
                    <a:pt x="8034" y="8570"/>
                    <a:pt x="8065" y="8507"/>
                  </a:cubicBezTo>
                  <a:lnTo>
                    <a:pt x="8349" y="8255"/>
                  </a:lnTo>
                  <a:lnTo>
                    <a:pt x="8349" y="10807"/>
                  </a:lnTo>
                  <a:lnTo>
                    <a:pt x="8380" y="10807"/>
                  </a:lnTo>
                  <a:cubicBezTo>
                    <a:pt x="8380" y="10996"/>
                    <a:pt x="8223" y="11154"/>
                    <a:pt x="8034" y="11154"/>
                  </a:cubicBezTo>
                  <a:cubicBezTo>
                    <a:pt x="7845" y="11154"/>
                    <a:pt x="7687" y="10996"/>
                    <a:pt x="7687" y="10807"/>
                  </a:cubicBezTo>
                  <a:lnTo>
                    <a:pt x="7687" y="10083"/>
                  </a:lnTo>
                  <a:cubicBezTo>
                    <a:pt x="7687" y="9893"/>
                    <a:pt x="7530" y="9736"/>
                    <a:pt x="7309" y="9736"/>
                  </a:cubicBezTo>
                  <a:lnTo>
                    <a:pt x="1386" y="9736"/>
                  </a:lnTo>
                  <a:lnTo>
                    <a:pt x="1386" y="663"/>
                  </a:lnTo>
                  <a:close/>
                  <a:moveTo>
                    <a:pt x="1071" y="1"/>
                  </a:moveTo>
                  <a:cubicBezTo>
                    <a:pt x="882" y="1"/>
                    <a:pt x="693" y="158"/>
                    <a:pt x="693" y="379"/>
                  </a:cubicBezTo>
                  <a:lnTo>
                    <a:pt x="693" y="9736"/>
                  </a:lnTo>
                  <a:lnTo>
                    <a:pt x="347" y="9736"/>
                  </a:lnTo>
                  <a:cubicBezTo>
                    <a:pt x="158" y="9736"/>
                    <a:pt x="0" y="9893"/>
                    <a:pt x="0" y="10083"/>
                  </a:cubicBezTo>
                  <a:lnTo>
                    <a:pt x="0" y="10807"/>
                  </a:lnTo>
                  <a:cubicBezTo>
                    <a:pt x="0" y="11406"/>
                    <a:pt x="473" y="11815"/>
                    <a:pt x="1008" y="11815"/>
                  </a:cubicBezTo>
                  <a:lnTo>
                    <a:pt x="8002" y="11815"/>
                  </a:lnTo>
                  <a:cubicBezTo>
                    <a:pt x="8569" y="11815"/>
                    <a:pt x="9011" y="11343"/>
                    <a:pt x="9011" y="10807"/>
                  </a:cubicBezTo>
                  <a:lnTo>
                    <a:pt x="9011" y="7562"/>
                  </a:lnTo>
                  <a:lnTo>
                    <a:pt x="11499" y="5105"/>
                  </a:lnTo>
                  <a:cubicBezTo>
                    <a:pt x="11940" y="4664"/>
                    <a:pt x="11940" y="4034"/>
                    <a:pt x="11531" y="3593"/>
                  </a:cubicBezTo>
                  <a:lnTo>
                    <a:pt x="11058" y="3120"/>
                  </a:lnTo>
                  <a:cubicBezTo>
                    <a:pt x="10869" y="2931"/>
                    <a:pt x="10609" y="2836"/>
                    <a:pt x="10346" y="2836"/>
                  </a:cubicBezTo>
                  <a:cubicBezTo>
                    <a:pt x="10082" y="2836"/>
                    <a:pt x="9814" y="2931"/>
                    <a:pt x="9609" y="3120"/>
                  </a:cubicBezTo>
                  <a:lnTo>
                    <a:pt x="9105" y="3624"/>
                  </a:lnTo>
                  <a:lnTo>
                    <a:pt x="9105" y="2490"/>
                  </a:lnTo>
                  <a:cubicBezTo>
                    <a:pt x="9105" y="2427"/>
                    <a:pt x="9074" y="2332"/>
                    <a:pt x="8979" y="2269"/>
                  </a:cubicBezTo>
                  <a:lnTo>
                    <a:pt x="6900" y="127"/>
                  </a:lnTo>
                  <a:cubicBezTo>
                    <a:pt x="6805" y="64"/>
                    <a:pt x="6742" y="1"/>
                    <a:pt x="6648"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grpSp>
      <p:grpSp>
        <p:nvGrpSpPr>
          <p:cNvPr id="205" name="Google Shape;6194;p66"/>
          <p:cNvGrpSpPr/>
          <p:nvPr/>
        </p:nvGrpSpPr>
        <p:grpSpPr>
          <a:xfrm>
            <a:off x="6844354" y="3197563"/>
            <a:ext cx="346349" cy="343686"/>
            <a:chOff x="-48266125" y="1973375"/>
            <a:chExt cx="302450" cy="300125"/>
          </a:xfrm>
          <a:solidFill>
            <a:schemeClr val="accent3"/>
          </a:solidFill>
        </p:grpSpPr>
        <p:sp>
          <p:nvSpPr>
            <p:cNvPr id="206" name="Google Shape;6195;p66"/>
            <p:cNvSpPr/>
            <p:nvPr/>
          </p:nvSpPr>
          <p:spPr>
            <a:xfrm>
              <a:off x="-48212575" y="2045050"/>
              <a:ext cx="122900" cy="123700"/>
            </a:xfrm>
            <a:custGeom>
              <a:avLst/>
              <a:gdLst/>
              <a:ahLst/>
              <a:cxnLst/>
              <a:rect l="l" t="t" r="r" b="b"/>
              <a:pathLst>
                <a:path w="4916" h="4948" extrusionOk="0">
                  <a:moveTo>
                    <a:pt x="1765" y="662"/>
                  </a:moveTo>
                  <a:cubicBezTo>
                    <a:pt x="2237" y="662"/>
                    <a:pt x="2647" y="946"/>
                    <a:pt x="2741" y="1387"/>
                  </a:cubicBezTo>
                  <a:lnTo>
                    <a:pt x="1765" y="1387"/>
                  </a:lnTo>
                  <a:cubicBezTo>
                    <a:pt x="1576" y="1387"/>
                    <a:pt x="1418" y="1545"/>
                    <a:pt x="1418" y="1734"/>
                  </a:cubicBezTo>
                  <a:lnTo>
                    <a:pt x="1418" y="2710"/>
                  </a:lnTo>
                  <a:cubicBezTo>
                    <a:pt x="1009" y="2584"/>
                    <a:pt x="725" y="2206"/>
                    <a:pt x="725" y="1734"/>
                  </a:cubicBezTo>
                  <a:cubicBezTo>
                    <a:pt x="725" y="1135"/>
                    <a:pt x="1166" y="662"/>
                    <a:pt x="1765" y="662"/>
                  </a:cubicBezTo>
                  <a:close/>
                  <a:moveTo>
                    <a:pt x="2741" y="2080"/>
                  </a:moveTo>
                  <a:cubicBezTo>
                    <a:pt x="2647" y="2395"/>
                    <a:pt x="2395" y="2616"/>
                    <a:pt x="2111" y="2710"/>
                  </a:cubicBezTo>
                  <a:lnTo>
                    <a:pt x="2111" y="2080"/>
                  </a:lnTo>
                  <a:close/>
                  <a:moveTo>
                    <a:pt x="4254" y="2080"/>
                  </a:moveTo>
                  <a:lnTo>
                    <a:pt x="4254" y="4191"/>
                  </a:lnTo>
                  <a:lnTo>
                    <a:pt x="2143" y="4191"/>
                  </a:lnTo>
                  <a:lnTo>
                    <a:pt x="2143" y="3466"/>
                  </a:lnTo>
                  <a:cubicBezTo>
                    <a:pt x="2804" y="3309"/>
                    <a:pt x="3340" y="2805"/>
                    <a:pt x="3497" y="2080"/>
                  </a:cubicBezTo>
                  <a:close/>
                  <a:moveTo>
                    <a:pt x="1765" y="1"/>
                  </a:moveTo>
                  <a:cubicBezTo>
                    <a:pt x="788" y="1"/>
                    <a:pt x="0" y="788"/>
                    <a:pt x="0" y="1765"/>
                  </a:cubicBezTo>
                  <a:cubicBezTo>
                    <a:pt x="0" y="2616"/>
                    <a:pt x="599" y="3340"/>
                    <a:pt x="1418" y="3498"/>
                  </a:cubicBezTo>
                  <a:lnTo>
                    <a:pt x="1418" y="4601"/>
                  </a:lnTo>
                  <a:cubicBezTo>
                    <a:pt x="1418" y="4790"/>
                    <a:pt x="1576" y="4947"/>
                    <a:pt x="1765" y="4947"/>
                  </a:cubicBezTo>
                  <a:lnTo>
                    <a:pt x="4569" y="4947"/>
                  </a:lnTo>
                  <a:cubicBezTo>
                    <a:pt x="4758" y="4947"/>
                    <a:pt x="4915" y="4790"/>
                    <a:pt x="4915" y="4601"/>
                  </a:cubicBezTo>
                  <a:lnTo>
                    <a:pt x="4915" y="1797"/>
                  </a:lnTo>
                  <a:cubicBezTo>
                    <a:pt x="4915" y="1576"/>
                    <a:pt x="4758" y="1419"/>
                    <a:pt x="4600" y="1419"/>
                  </a:cubicBezTo>
                  <a:lnTo>
                    <a:pt x="3497" y="1419"/>
                  </a:lnTo>
                  <a:cubicBezTo>
                    <a:pt x="3340" y="631"/>
                    <a:pt x="2647" y="1"/>
                    <a:pt x="1765"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07" name="Google Shape;6196;p66"/>
            <p:cNvSpPr/>
            <p:nvPr/>
          </p:nvSpPr>
          <p:spPr>
            <a:xfrm>
              <a:off x="-48266125" y="1973375"/>
              <a:ext cx="230000" cy="300125"/>
            </a:xfrm>
            <a:custGeom>
              <a:avLst/>
              <a:gdLst/>
              <a:ahLst/>
              <a:cxnLst/>
              <a:rect l="l" t="t" r="r" b="b"/>
              <a:pathLst>
                <a:path w="9200" h="12005" extrusionOk="0">
                  <a:moveTo>
                    <a:pt x="7057" y="1198"/>
                  </a:moveTo>
                  <a:lnTo>
                    <a:pt x="7971" y="2112"/>
                  </a:lnTo>
                  <a:lnTo>
                    <a:pt x="7057" y="2112"/>
                  </a:lnTo>
                  <a:lnTo>
                    <a:pt x="7057" y="1198"/>
                  </a:lnTo>
                  <a:close/>
                  <a:moveTo>
                    <a:pt x="6396" y="694"/>
                  </a:moveTo>
                  <a:lnTo>
                    <a:pt x="6396" y="2458"/>
                  </a:lnTo>
                  <a:cubicBezTo>
                    <a:pt x="6396" y="2679"/>
                    <a:pt x="6553" y="2836"/>
                    <a:pt x="6742" y="2836"/>
                  </a:cubicBezTo>
                  <a:lnTo>
                    <a:pt x="8506" y="2836"/>
                  </a:lnTo>
                  <a:lnTo>
                    <a:pt x="8506" y="11280"/>
                  </a:lnTo>
                  <a:lnTo>
                    <a:pt x="756" y="11280"/>
                  </a:lnTo>
                  <a:lnTo>
                    <a:pt x="756" y="694"/>
                  </a:lnTo>
                  <a:close/>
                  <a:moveTo>
                    <a:pt x="378" y="1"/>
                  </a:moveTo>
                  <a:cubicBezTo>
                    <a:pt x="158" y="1"/>
                    <a:pt x="0" y="158"/>
                    <a:pt x="0" y="347"/>
                  </a:cubicBezTo>
                  <a:lnTo>
                    <a:pt x="0" y="11658"/>
                  </a:lnTo>
                  <a:cubicBezTo>
                    <a:pt x="0" y="11847"/>
                    <a:pt x="158" y="12004"/>
                    <a:pt x="378" y="12004"/>
                  </a:cubicBezTo>
                  <a:lnTo>
                    <a:pt x="8790" y="12004"/>
                  </a:lnTo>
                  <a:cubicBezTo>
                    <a:pt x="8979" y="12004"/>
                    <a:pt x="9136" y="11847"/>
                    <a:pt x="9136" y="11658"/>
                  </a:cubicBezTo>
                  <a:lnTo>
                    <a:pt x="9136" y="2458"/>
                  </a:lnTo>
                  <a:cubicBezTo>
                    <a:pt x="9199" y="2395"/>
                    <a:pt x="9168" y="2301"/>
                    <a:pt x="9073" y="2238"/>
                  </a:cubicBezTo>
                  <a:lnTo>
                    <a:pt x="6931" y="95"/>
                  </a:lnTo>
                  <a:cubicBezTo>
                    <a:pt x="6868" y="32"/>
                    <a:pt x="6805" y="1"/>
                    <a:pt x="6711"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08" name="Google Shape;6197;p66"/>
            <p:cNvSpPr/>
            <p:nvPr/>
          </p:nvSpPr>
          <p:spPr>
            <a:xfrm>
              <a:off x="-48018025" y="1991500"/>
              <a:ext cx="54350" cy="282000"/>
            </a:xfrm>
            <a:custGeom>
              <a:avLst/>
              <a:gdLst/>
              <a:ahLst/>
              <a:cxnLst/>
              <a:rect l="l" t="t" r="r" b="b"/>
              <a:pathLst>
                <a:path w="2174" h="11280" extrusionOk="0">
                  <a:moveTo>
                    <a:pt x="1071" y="1481"/>
                  </a:moveTo>
                  <a:lnTo>
                    <a:pt x="1260" y="2111"/>
                  </a:lnTo>
                  <a:lnTo>
                    <a:pt x="851" y="2111"/>
                  </a:lnTo>
                  <a:lnTo>
                    <a:pt x="1071" y="1481"/>
                  </a:lnTo>
                  <a:close/>
                  <a:moveTo>
                    <a:pt x="1418" y="2836"/>
                  </a:moveTo>
                  <a:lnTo>
                    <a:pt x="1418" y="7247"/>
                  </a:lnTo>
                  <a:lnTo>
                    <a:pt x="725" y="7247"/>
                  </a:lnTo>
                  <a:lnTo>
                    <a:pt x="725" y="2836"/>
                  </a:lnTo>
                  <a:close/>
                  <a:moveTo>
                    <a:pt x="1418" y="7971"/>
                  </a:moveTo>
                  <a:lnTo>
                    <a:pt x="1418" y="8664"/>
                  </a:lnTo>
                  <a:lnTo>
                    <a:pt x="725" y="8664"/>
                  </a:lnTo>
                  <a:lnTo>
                    <a:pt x="725" y="7971"/>
                  </a:lnTo>
                  <a:close/>
                  <a:moveTo>
                    <a:pt x="1449" y="9357"/>
                  </a:moveTo>
                  <a:lnTo>
                    <a:pt x="1449" y="10208"/>
                  </a:lnTo>
                  <a:cubicBezTo>
                    <a:pt x="1418" y="10397"/>
                    <a:pt x="1260" y="10555"/>
                    <a:pt x="1071" y="10555"/>
                  </a:cubicBezTo>
                  <a:cubicBezTo>
                    <a:pt x="882" y="10555"/>
                    <a:pt x="725" y="10397"/>
                    <a:pt x="725" y="10208"/>
                  </a:cubicBezTo>
                  <a:lnTo>
                    <a:pt x="725" y="9357"/>
                  </a:lnTo>
                  <a:close/>
                  <a:moveTo>
                    <a:pt x="1071" y="0"/>
                  </a:moveTo>
                  <a:cubicBezTo>
                    <a:pt x="945" y="0"/>
                    <a:pt x="788" y="95"/>
                    <a:pt x="756" y="253"/>
                  </a:cubicBezTo>
                  <a:cubicBezTo>
                    <a:pt x="0" y="2489"/>
                    <a:pt x="63" y="2363"/>
                    <a:pt x="63" y="2458"/>
                  </a:cubicBezTo>
                  <a:lnTo>
                    <a:pt x="63" y="10208"/>
                  </a:lnTo>
                  <a:cubicBezTo>
                    <a:pt x="63" y="10807"/>
                    <a:pt x="536" y="11279"/>
                    <a:pt x="1103" y="11279"/>
                  </a:cubicBezTo>
                  <a:cubicBezTo>
                    <a:pt x="1701" y="11279"/>
                    <a:pt x="2174" y="10807"/>
                    <a:pt x="2174" y="10208"/>
                  </a:cubicBezTo>
                  <a:lnTo>
                    <a:pt x="2111" y="2458"/>
                  </a:lnTo>
                  <a:lnTo>
                    <a:pt x="2111" y="2458"/>
                  </a:lnTo>
                  <a:cubicBezTo>
                    <a:pt x="2121" y="2468"/>
                    <a:pt x="2128" y="2472"/>
                    <a:pt x="2132" y="2472"/>
                  </a:cubicBezTo>
                  <a:cubicBezTo>
                    <a:pt x="2139" y="2472"/>
                    <a:pt x="2132" y="2458"/>
                    <a:pt x="2111" y="2458"/>
                  </a:cubicBezTo>
                  <a:lnTo>
                    <a:pt x="2111" y="2458"/>
                  </a:lnTo>
                  <a:lnTo>
                    <a:pt x="2111" y="2458"/>
                  </a:lnTo>
                  <a:cubicBezTo>
                    <a:pt x="2111" y="2363"/>
                    <a:pt x="2142" y="2584"/>
                    <a:pt x="1386" y="253"/>
                  </a:cubicBezTo>
                  <a:cubicBezTo>
                    <a:pt x="1355" y="95"/>
                    <a:pt x="1197" y="0"/>
                    <a:pt x="1071" y="0"/>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09" name="Google Shape;6198;p66"/>
            <p:cNvSpPr/>
            <p:nvPr/>
          </p:nvSpPr>
          <p:spPr>
            <a:xfrm>
              <a:off x="-48211800" y="2221475"/>
              <a:ext cx="122900" cy="17350"/>
            </a:xfrm>
            <a:custGeom>
              <a:avLst/>
              <a:gdLst/>
              <a:ahLst/>
              <a:cxnLst/>
              <a:rect l="l" t="t" r="r" b="b"/>
              <a:pathLst>
                <a:path w="4916" h="694" extrusionOk="0">
                  <a:moveTo>
                    <a:pt x="347" y="1"/>
                  </a:moveTo>
                  <a:cubicBezTo>
                    <a:pt x="158" y="1"/>
                    <a:pt x="1" y="158"/>
                    <a:pt x="1" y="347"/>
                  </a:cubicBezTo>
                  <a:cubicBezTo>
                    <a:pt x="1" y="536"/>
                    <a:pt x="158" y="694"/>
                    <a:pt x="347" y="694"/>
                  </a:cubicBezTo>
                  <a:lnTo>
                    <a:pt x="4569" y="694"/>
                  </a:lnTo>
                  <a:cubicBezTo>
                    <a:pt x="4758" y="694"/>
                    <a:pt x="4916" y="536"/>
                    <a:pt x="4916" y="347"/>
                  </a:cubicBezTo>
                  <a:cubicBezTo>
                    <a:pt x="4884" y="158"/>
                    <a:pt x="4727" y="1"/>
                    <a:pt x="4569"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10" name="Google Shape;6199;p66"/>
            <p:cNvSpPr/>
            <p:nvPr/>
          </p:nvSpPr>
          <p:spPr>
            <a:xfrm>
              <a:off x="-48211800" y="2185250"/>
              <a:ext cx="87450" cy="18150"/>
            </a:xfrm>
            <a:custGeom>
              <a:avLst/>
              <a:gdLst/>
              <a:ahLst/>
              <a:cxnLst/>
              <a:rect l="l" t="t" r="r" b="b"/>
              <a:pathLst>
                <a:path w="3498" h="726" extrusionOk="0">
                  <a:moveTo>
                    <a:pt x="347" y="1"/>
                  </a:moveTo>
                  <a:cubicBezTo>
                    <a:pt x="158" y="1"/>
                    <a:pt x="1" y="158"/>
                    <a:pt x="1" y="379"/>
                  </a:cubicBezTo>
                  <a:cubicBezTo>
                    <a:pt x="1" y="568"/>
                    <a:pt x="158" y="725"/>
                    <a:pt x="347" y="725"/>
                  </a:cubicBezTo>
                  <a:lnTo>
                    <a:pt x="3151" y="725"/>
                  </a:lnTo>
                  <a:cubicBezTo>
                    <a:pt x="3372" y="725"/>
                    <a:pt x="3498" y="568"/>
                    <a:pt x="3498" y="379"/>
                  </a:cubicBezTo>
                  <a:cubicBezTo>
                    <a:pt x="3498" y="158"/>
                    <a:pt x="3372" y="1"/>
                    <a:pt x="3151"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sp>
          <p:nvSpPr>
            <p:cNvPr id="211" name="Google Shape;6200;p66"/>
            <p:cNvSpPr/>
            <p:nvPr/>
          </p:nvSpPr>
          <p:spPr>
            <a:xfrm>
              <a:off x="-48106250" y="2185250"/>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grp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grpSp>
      <p:grpSp>
        <p:nvGrpSpPr>
          <p:cNvPr id="4" name="Group 3"/>
          <p:cNvGrpSpPr/>
          <p:nvPr/>
        </p:nvGrpSpPr>
        <p:grpSpPr>
          <a:xfrm>
            <a:off x="9631960" y="3280155"/>
            <a:ext cx="360680" cy="361639"/>
            <a:chOff x="12103743" y="6125992"/>
            <a:chExt cx="673604" cy="675395"/>
          </a:xfrm>
        </p:grpSpPr>
        <p:sp>
          <p:nvSpPr>
            <p:cNvPr id="219" name="Google Shape;8784;p72"/>
            <p:cNvSpPr/>
            <p:nvPr/>
          </p:nvSpPr>
          <p:spPr>
            <a:xfrm>
              <a:off x="12103743" y="6125992"/>
              <a:ext cx="673604" cy="675395"/>
            </a:xfrm>
            <a:custGeom>
              <a:avLst/>
              <a:gdLst/>
              <a:ahLst/>
              <a:cxnLst/>
              <a:rect l="l" t="t" r="r" b="b"/>
              <a:pathLst>
                <a:path w="11658" h="11689" extrusionOk="0">
                  <a:moveTo>
                    <a:pt x="10586" y="725"/>
                  </a:moveTo>
                  <a:cubicBezTo>
                    <a:pt x="10807" y="725"/>
                    <a:pt x="10964" y="883"/>
                    <a:pt x="10964" y="1072"/>
                  </a:cubicBezTo>
                  <a:lnTo>
                    <a:pt x="10964" y="7593"/>
                  </a:lnTo>
                  <a:lnTo>
                    <a:pt x="631" y="7593"/>
                  </a:lnTo>
                  <a:lnTo>
                    <a:pt x="631" y="1072"/>
                  </a:lnTo>
                  <a:cubicBezTo>
                    <a:pt x="662" y="883"/>
                    <a:pt x="820" y="725"/>
                    <a:pt x="977" y="725"/>
                  </a:cubicBezTo>
                  <a:close/>
                  <a:moveTo>
                    <a:pt x="10996" y="8286"/>
                  </a:moveTo>
                  <a:lnTo>
                    <a:pt x="10996" y="8633"/>
                  </a:lnTo>
                  <a:cubicBezTo>
                    <a:pt x="10996" y="8822"/>
                    <a:pt x="10838" y="8980"/>
                    <a:pt x="10618" y="8980"/>
                  </a:cubicBezTo>
                  <a:lnTo>
                    <a:pt x="1009" y="8980"/>
                  </a:lnTo>
                  <a:cubicBezTo>
                    <a:pt x="820" y="8980"/>
                    <a:pt x="662" y="8822"/>
                    <a:pt x="662" y="8633"/>
                  </a:cubicBezTo>
                  <a:lnTo>
                    <a:pt x="662" y="8286"/>
                  </a:lnTo>
                  <a:close/>
                  <a:moveTo>
                    <a:pt x="6617" y="9641"/>
                  </a:moveTo>
                  <a:lnTo>
                    <a:pt x="6932" y="11027"/>
                  </a:lnTo>
                  <a:lnTo>
                    <a:pt x="4632" y="11027"/>
                  </a:lnTo>
                  <a:lnTo>
                    <a:pt x="4947" y="9641"/>
                  </a:lnTo>
                  <a:close/>
                  <a:moveTo>
                    <a:pt x="1009" y="1"/>
                  </a:moveTo>
                  <a:cubicBezTo>
                    <a:pt x="473" y="1"/>
                    <a:pt x="1" y="473"/>
                    <a:pt x="1" y="1040"/>
                  </a:cubicBezTo>
                  <a:lnTo>
                    <a:pt x="1" y="8570"/>
                  </a:lnTo>
                  <a:cubicBezTo>
                    <a:pt x="1" y="9137"/>
                    <a:pt x="473" y="9610"/>
                    <a:pt x="1009" y="9610"/>
                  </a:cubicBezTo>
                  <a:lnTo>
                    <a:pt x="4285" y="9610"/>
                  </a:lnTo>
                  <a:lnTo>
                    <a:pt x="3970" y="10996"/>
                  </a:lnTo>
                  <a:lnTo>
                    <a:pt x="3057" y="10996"/>
                  </a:lnTo>
                  <a:cubicBezTo>
                    <a:pt x="2868" y="10996"/>
                    <a:pt x="2710" y="11153"/>
                    <a:pt x="2710" y="11342"/>
                  </a:cubicBezTo>
                  <a:cubicBezTo>
                    <a:pt x="2710" y="11531"/>
                    <a:pt x="2868" y="11689"/>
                    <a:pt x="3057" y="11689"/>
                  </a:cubicBezTo>
                  <a:lnTo>
                    <a:pt x="8538" y="11689"/>
                  </a:lnTo>
                  <a:cubicBezTo>
                    <a:pt x="8727" y="11689"/>
                    <a:pt x="8885" y="11531"/>
                    <a:pt x="8885" y="11342"/>
                  </a:cubicBezTo>
                  <a:cubicBezTo>
                    <a:pt x="8885" y="11153"/>
                    <a:pt x="8727" y="10996"/>
                    <a:pt x="8538" y="10996"/>
                  </a:cubicBezTo>
                  <a:lnTo>
                    <a:pt x="7625" y="10996"/>
                  </a:lnTo>
                  <a:lnTo>
                    <a:pt x="7310" y="9610"/>
                  </a:lnTo>
                  <a:lnTo>
                    <a:pt x="10618" y="9610"/>
                  </a:lnTo>
                  <a:cubicBezTo>
                    <a:pt x="11185" y="9610"/>
                    <a:pt x="11657" y="9137"/>
                    <a:pt x="11657" y="8570"/>
                  </a:cubicBezTo>
                  <a:lnTo>
                    <a:pt x="11657" y="1040"/>
                  </a:lnTo>
                  <a:cubicBezTo>
                    <a:pt x="11657" y="473"/>
                    <a:pt x="11185" y="1"/>
                    <a:pt x="10618" y="1"/>
                  </a:cubicBezTo>
                  <a:close/>
                </a:path>
              </a:pathLst>
            </a:custGeom>
            <a:solidFill>
              <a:schemeClr val="accent2"/>
            </a:solid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grpSp>
          <p:nvGrpSpPr>
            <p:cNvPr id="220" name="Group 219"/>
            <p:cNvGrpSpPr/>
            <p:nvPr/>
          </p:nvGrpSpPr>
          <p:grpSpPr>
            <a:xfrm>
              <a:off x="12348449" y="6243236"/>
              <a:ext cx="184191" cy="255470"/>
              <a:chOff x="16667184" y="2316163"/>
              <a:chExt cx="4319595" cy="5991225"/>
            </a:xfrm>
          </p:grpSpPr>
          <p:sp>
            <p:nvSpPr>
              <p:cNvPr id="221" name="Freeform 23"/>
              <p:cNvSpPr>
                <a:spLocks noEditPoints="1"/>
              </p:cNvSpPr>
              <p:nvPr/>
            </p:nvSpPr>
            <p:spPr bwMode="auto">
              <a:xfrm>
                <a:off x="16667184" y="2316163"/>
                <a:ext cx="4319595" cy="5991225"/>
              </a:xfrm>
              <a:custGeom>
                <a:avLst/>
                <a:gdLst>
                  <a:gd name="T0" fmla="*/ 264 w 2721"/>
                  <a:gd name="T1" fmla="*/ 1815 h 3774"/>
                  <a:gd name="T2" fmla="*/ 164 w 2721"/>
                  <a:gd name="T3" fmla="*/ 1979 h 3774"/>
                  <a:gd name="T4" fmla="*/ 189 w 2721"/>
                  <a:gd name="T5" fmla="*/ 3476 h 3774"/>
                  <a:gd name="T6" fmla="*/ 333 w 2721"/>
                  <a:gd name="T7" fmla="*/ 3601 h 3774"/>
                  <a:gd name="T8" fmla="*/ 2395 w 2721"/>
                  <a:gd name="T9" fmla="*/ 3601 h 3774"/>
                  <a:gd name="T10" fmla="*/ 2539 w 2721"/>
                  <a:gd name="T11" fmla="*/ 3476 h 3774"/>
                  <a:gd name="T12" fmla="*/ 2564 w 2721"/>
                  <a:gd name="T13" fmla="*/ 1979 h 3774"/>
                  <a:gd name="T14" fmla="*/ 2464 w 2721"/>
                  <a:gd name="T15" fmla="*/ 1815 h 3774"/>
                  <a:gd name="T16" fmla="*/ 413 w 2721"/>
                  <a:gd name="T17" fmla="*/ 1766 h 3774"/>
                  <a:gd name="T18" fmla="*/ 1139 w 2721"/>
                  <a:gd name="T19" fmla="*/ 546 h 3774"/>
                  <a:gd name="T20" fmla="*/ 935 w 2721"/>
                  <a:gd name="T21" fmla="*/ 733 h 3774"/>
                  <a:gd name="T22" fmla="*/ 856 w 2721"/>
                  <a:gd name="T23" fmla="*/ 1007 h 3774"/>
                  <a:gd name="T24" fmla="*/ 1855 w 2721"/>
                  <a:gd name="T25" fmla="*/ 905 h 3774"/>
                  <a:gd name="T26" fmla="*/ 1747 w 2721"/>
                  <a:gd name="T27" fmla="*/ 677 h 3774"/>
                  <a:gd name="T28" fmla="*/ 1528 w 2721"/>
                  <a:gd name="T29" fmla="*/ 522 h 3774"/>
                  <a:gd name="T30" fmla="*/ 1361 w 2721"/>
                  <a:gd name="T31" fmla="*/ 158 h 3774"/>
                  <a:gd name="T32" fmla="*/ 1000 w 2721"/>
                  <a:gd name="T33" fmla="*/ 241 h 3774"/>
                  <a:gd name="T34" fmla="*/ 717 w 2721"/>
                  <a:gd name="T35" fmla="*/ 461 h 3774"/>
                  <a:gd name="T36" fmla="*/ 550 w 2721"/>
                  <a:gd name="T37" fmla="*/ 783 h 3774"/>
                  <a:gd name="T38" fmla="*/ 520 w 2721"/>
                  <a:gd name="T39" fmla="*/ 1606 h 3774"/>
                  <a:gd name="T40" fmla="*/ 725 w 2721"/>
                  <a:gd name="T41" fmla="*/ 807 h 3774"/>
                  <a:gd name="T42" fmla="*/ 890 w 2721"/>
                  <a:gd name="T43" fmla="*/ 531 h 3774"/>
                  <a:gd name="T44" fmla="*/ 1163 w 2721"/>
                  <a:gd name="T45" fmla="*/ 363 h 3774"/>
                  <a:gd name="T46" fmla="*/ 1429 w 2721"/>
                  <a:gd name="T47" fmla="*/ 337 h 3774"/>
                  <a:gd name="T48" fmla="*/ 1726 w 2721"/>
                  <a:gd name="T49" fmla="*/ 443 h 3774"/>
                  <a:gd name="T50" fmla="*/ 1933 w 2721"/>
                  <a:gd name="T51" fmla="*/ 665 h 3774"/>
                  <a:gd name="T52" fmla="*/ 2021 w 2721"/>
                  <a:gd name="T53" fmla="*/ 948 h 3774"/>
                  <a:gd name="T54" fmla="*/ 2197 w 2721"/>
                  <a:gd name="T55" fmla="*/ 940 h 3774"/>
                  <a:gd name="T56" fmla="*/ 2107 w 2721"/>
                  <a:gd name="T57" fmla="*/ 617 h 3774"/>
                  <a:gd name="T58" fmla="*/ 1894 w 2721"/>
                  <a:gd name="T59" fmla="*/ 350 h 3774"/>
                  <a:gd name="T60" fmla="*/ 1576 w 2721"/>
                  <a:gd name="T61" fmla="*/ 186 h 3774"/>
                  <a:gd name="T62" fmla="*/ 1359 w 2721"/>
                  <a:gd name="T63" fmla="*/ 0 h 3774"/>
                  <a:gd name="T64" fmla="*/ 1673 w 2721"/>
                  <a:gd name="T65" fmla="*/ 48 h 3774"/>
                  <a:gd name="T66" fmla="*/ 2004 w 2721"/>
                  <a:gd name="T67" fmla="*/ 235 h 3774"/>
                  <a:gd name="T68" fmla="*/ 2236 w 2721"/>
                  <a:gd name="T69" fmla="*/ 520 h 3774"/>
                  <a:gd name="T70" fmla="*/ 2350 w 2721"/>
                  <a:gd name="T71" fmla="*/ 862 h 3774"/>
                  <a:gd name="T72" fmla="*/ 2459 w 2721"/>
                  <a:gd name="T73" fmla="*/ 1630 h 3774"/>
                  <a:gd name="T74" fmla="*/ 2648 w 2721"/>
                  <a:gd name="T75" fmla="*/ 1780 h 3774"/>
                  <a:gd name="T76" fmla="*/ 2721 w 2721"/>
                  <a:gd name="T77" fmla="*/ 2015 h 3774"/>
                  <a:gd name="T78" fmla="*/ 2673 w 2721"/>
                  <a:gd name="T79" fmla="*/ 3553 h 3774"/>
                  <a:gd name="T80" fmla="*/ 2504 w 2721"/>
                  <a:gd name="T81" fmla="*/ 3725 h 3774"/>
                  <a:gd name="T82" fmla="*/ 411 w 2721"/>
                  <a:gd name="T83" fmla="*/ 3774 h 3774"/>
                  <a:gd name="T84" fmla="*/ 175 w 2721"/>
                  <a:gd name="T85" fmla="*/ 3698 h 3774"/>
                  <a:gd name="T86" fmla="*/ 27 w 2721"/>
                  <a:gd name="T87" fmla="*/ 3507 h 3774"/>
                  <a:gd name="T88" fmla="*/ 3 w 2721"/>
                  <a:gd name="T89" fmla="*/ 1964 h 3774"/>
                  <a:gd name="T90" fmla="*/ 102 w 2721"/>
                  <a:gd name="T91" fmla="*/ 1741 h 3774"/>
                  <a:gd name="T92" fmla="*/ 309 w 2721"/>
                  <a:gd name="T93" fmla="*/ 1615 h 3774"/>
                  <a:gd name="T94" fmla="*/ 389 w 2721"/>
                  <a:gd name="T95" fmla="*/ 766 h 3774"/>
                  <a:gd name="T96" fmla="*/ 553 w 2721"/>
                  <a:gd name="T97" fmla="*/ 413 h 3774"/>
                  <a:gd name="T98" fmla="*/ 833 w 2721"/>
                  <a:gd name="T99" fmla="*/ 152 h 3774"/>
                  <a:gd name="T100" fmla="*/ 1197 w 2721"/>
                  <a:gd name="T101" fmla="*/ 14 h 3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21" h="3774">
                    <a:moveTo>
                      <a:pt x="413" y="1766"/>
                    </a:moveTo>
                    <a:lnTo>
                      <a:pt x="372" y="1769"/>
                    </a:lnTo>
                    <a:lnTo>
                      <a:pt x="333" y="1778"/>
                    </a:lnTo>
                    <a:lnTo>
                      <a:pt x="298" y="1794"/>
                    </a:lnTo>
                    <a:lnTo>
                      <a:pt x="264" y="1815"/>
                    </a:lnTo>
                    <a:lnTo>
                      <a:pt x="235" y="1840"/>
                    </a:lnTo>
                    <a:lnTo>
                      <a:pt x="209" y="1870"/>
                    </a:lnTo>
                    <a:lnTo>
                      <a:pt x="189" y="1903"/>
                    </a:lnTo>
                    <a:lnTo>
                      <a:pt x="173" y="1940"/>
                    </a:lnTo>
                    <a:lnTo>
                      <a:pt x="164" y="1979"/>
                    </a:lnTo>
                    <a:lnTo>
                      <a:pt x="160" y="2020"/>
                    </a:lnTo>
                    <a:lnTo>
                      <a:pt x="160" y="3361"/>
                    </a:lnTo>
                    <a:lnTo>
                      <a:pt x="164" y="3401"/>
                    </a:lnTo>
                    <a:lnTo>
                      <a:pt x="173" y="3441"/>
                    </a:lnTo>
                    <a:lnTo>
                      <a:pt x="189" y="3476"/>
                    </a:lnTo>
                    <a:lnTo>
                      <a:pt x="209" y="3510"/>
                    </a:lnTo>
                    <a:lnTo>
                      <a:pt x="235" y="3539"/>
                    </a:lnTo>
                    <a:lnTo>
                      <a:pt x="264" y="3565"/>
                    </a:lnTo>
                    <a:lnTo>
                      <a:pt x="298" y="3585"/>
                    </a:lnTo>
                    <a:lnTo>
                      <a:pt x="333" y="3601"/>
                    </a:lnTo>
                    <a:lnTo>
                      <a:pt x="372" y="3610"/>
                    </a:lnTo>
                    <a:lnTo>
                      <a:pt x="413" y="3614"/>
                    </a:lnTo>
                    <a:lnTo>
                      <a:pt x="2315" y="3614"/>
                    </a:lnTo>
                    <a:lnTo>
                      <a:pt x="2356" y="3610"/>
                    </a:lnTo>
                    <a:lnTo>
                      <a:pt x="2395" y="3601"/>
                    </a:lnTo>
                    <a:lnTo>
                      <a:pt x="2430" y="3585"/>
                    </a:lnTo>
                    <a:lnTo>
                      <a:pt x="2464" y="3565"/>
                    </a:lnTo>
                    <a:lnTo>
                      <a:pt x="2493" y="3539"/>
                    </a:lnTo>
                    <a:lnTo>
                      <a:pt x="2519" y="3510"/>
                    </a:lnTo>
                    <a:lnTo>
                      <a:pt x="2539" y="3476"/>
                    </a:lnTo>
                    <a:lnTo>
                      <a:pt x="2555" y="3441"/>
                    </a:lnTo>
                    <a:lnTo>
                      <a:pt x="2564" y="3401"/>
                    </a:lnTo>
                    <a:lnTo>
                      <a:pt x="2568" y="3361"/>
                    </a:lnTo>
                    <a:lnTo>
                      <a:pt x="2568" y="2020"/>
                    </a:lnTo>
                    <a:lnTo>
                      <a:pt x="2564" y="1979"/>
                    </a:lnTo>
                    <a:lnTo>
                      <a:pt x="2555" y="1940"/>
                    </a:lnTo>
                    <a:lnTo>
                      <a:pt x="2539" y="1903"/>
                    </a:lnTo>
                    <a:lnTo>
                      <a:pt x="2519" y="1870"/>
                    </a:lnTo>
                    <a:lnTo>
                      <a:pt x="2493" y="1840"/>
                    </a:lnTo>
                    <a:lnTo>
                      <a:pt x="2464" y="1815"/>
                    </a:lnTo>
                    <a:lnTo>
                      <a:pt x="2430" y="1794"/>
                    </a:lnTo>
                    <a:lnTo>
                      <a:pt x="2395" y="1778"/>
                    </a:lnTo>
                    <a:lnTo>
                      <a:pt x="2356" y="1769"/>
                    </a:lnTo>
                    <a:lnTo>
                      <a:pt x="2315" y="1766"/>
                    </a:lnTo>
                    <a:lnTo>
                      <a:pt x="413" y="1766"/>
                    </a:lnTo>
                    <a:close/>
                    <a:moveTo>
                      <a:pt x="1362" y="493"/>
                    </a:moveTo>
                    <a:lnTo>
                      <a:pt x="1302" y="497"/>
                    </a:lnTo>
                    <a:lnTo>
                      <a:pt x="1245" y="507"/>
                    </a:lnTo>
                    <a:lnTo>
                      <a:pt x="1191" y="524"/>
                    </a:lnTo>
                    <a:lnTo>
                      <a:pt x="1139" y="546"/>
                    </a:lnTo>
                    <a:lnTo>
                      <a:pt x="1091" y="574"/>
                    </a:lnTo>
                    <a:lnTo>
                      <a:pt x="1045" y="607"/>
                    </a:lnTo>
                    <a:lnTo>
                      <a:pt x="1004" y="644"/>
                    </a:lnTo>
                    <a:lnTo>
                      <a:pt x="967" y="687"/>
                    </a:lnTo>
                    <a:lnTo>
                      <a:pt x="935" y="733"/>
                    </a:lnTo>
                    <a:lnTo>
                      <a:pt x="907" y="782"/>
                    </a:lnTo>
                    <a:lnTo>
                      <a:pt x="886" y="834"/>
                    </a:lnTo>
                    <a:lnTo>
                      <a:pt x="870" y="891"/>
                    </a:lnTo>
                    <a:lnTo>
                      <a:pt x="859" y="948"/>
                    </a:lnTo>
                    <a:lnTo>
                      <a:pt x="856" y="1007"/>
                    </a:lnTo>
                    <a:lnTo>
                      <a:pt x="856" y="1606"/>
                    </a:lnTo>
                    <a:lnTo>
                      <a:pt x="1864" y="1606"/>
                    </a:lnTo>
                    <a:lnTo>
                      <a:pt x="1864" y="1007"/>
                    </a:lnTo>
                    <a:lnTo>
                      <a:pt x="1862" y="956"/>
                    </a:lnTo>
                    <a:lnTo>
                      <a:pt x="1855" y="905"/>
                    </a:lnTo>
                    <a:lnTo>
                      <a:pt x="1842" y="855"/>
                    </a:lnTo>
                    <a:lnTo>
                      <a:pt x="1825" y="807"/>
                    </a:lnTo>
                    <a:lnTo>
                      <a:pt x="1803" y="761"/>
                    </a:lnTo>
                    <a:lnTo>
                      <a:pt x="1778" y="718"/>
                    </a:lnTo>
                    <a:lnTo>
                      <a:pt x="1747" y="677"/>
                    </a:lnTo>
                    <a:lnTo>
                      <a:pt x="1713" y="638"/>
                    </a:lnTo>
                    <a:lnTo>
                      <a:pt x="1672" y="601"/>
                    </a:lnTo>
                    <a:lnTo>
                      <a:pt x="1626" y="569"/>
                    </a:lnTo>
                    <a:lnTo>
                      <a:pt x="1579" y="543"/>
                    </a:lnTo>
                    <a:lnTo>
                      <a:pt x="1528" y="522"/>
                    </a:lnTo>
                    <a:lnTo>
                      <a:pt x="1476" y="506"/>
                    </a:lnTo>
                    <a:lnTo>
                      <a:pt x="1421" y="497"/>
                    </a:lnTo>
                    <a:lnTo>
                      <a:pt x="1366" y="493"/>
                    </a:lnTo>
                    <a:lnTo>
                      <a:pt x="1362" y="493"/>
                    </a:lnTo>
                    <a:close/>
                    <a:moveTo>
                      <a:pt x="1361" y="158"/>
                    </a:moveTo>
                    <a:lnTo>
                      <a:pt x="1284" y="162"/>
                    </a:lnTo>
                    <a:lnTo>
                      <a:pt x="1210" y="172"/>
                    </a:lnTo>
                    <a:lnTo>
                      <a:pt x="1137" y="188"/>
                    </a:lnTo>
                    <a:lnTo>
                      <a:pt x="1068" y="211"/>
                    </a:lnTo>
                    <a:lnTo>
                      <a:pt x="1000" y="241"/>
                    </a:lnTo>
                    <a:lnTo>
                      <a:pt x="936" y="275"/>
                    </a:lnTo>
                    <a:lnTo>
                      <a:pt x="875" y="314"/>
                    </a:lnTo>
                    <a:lnTo>
                      <a:pt x="819" y="358"/>
                    </a:lnTo>
                    <a:lnTo>
                      <a:pt x="767" y="408"/>
                    </a:lnTo>
                    <a:lnTo>
                      <a:pt x="717" y="461"/>
                    </a:lnTo>
                    <a:lnTo>
                      <a:pt x="674" y="519"/>
                    </a:lnTo>
                    <a:lnTo>
                      <a:pt x="635" y="579"/>
                    </a:lnTo>
                    <a:lnTo>
                      <a:pt x="601" y="644"/>
                    </a:lnTo>
                    <a:lnTo>
                      <a:pt x="572" y="712"/>
                    </a:lnTo>
                    <a:lnTo>
                      <a:pt x="550" y="783"/>
                    </a:lnTo>
                    <a:lnTo>
                      <a:pt x="533" y="855"/>
                    </a:lnTo>
                    <a:lnTo>
                      <a:pt x="523" y="931"/>
                    </a:lnTo>
                    <a:lnTo>
                      <a:pt x="520" y="1007"/>
                    </a:lnTo>
                    <a:lnTo>
                      <a:pt x="520" y="1007"/>
                    </a:lnTo>
                    <a:lnTo>
                      <a:pt x="520" y="1606"/>
                    </a:lnTo>
                    <a:lnTo>
                      <a:pt x="696" y="1606"/>
                    </a:lnTo>
                    <a:lnTo>
                      <a:pt x="696" y="1007"/>
                    </a:lnTo>
                    <a:lnTo>
                      <a:pt x="699" y="939"/>
                    </a:lnTo>
                    <a:lnTo>
                      <a:pt x="708" y="871"/>
                    </a:lnTo>
                    <a:lnTo>
                      <a:pt x="725" y="807"/>
                    </a:lnTo>
                    <a:lnTo>
                      <a:pt x="747" y="745"/>
                    </a:lnTo>
                    <a:lnTo>
                      <a:pt x="776" y="686"/>
                    </a:lnTo>
                    <a:lnTo>
                      <a:pt x="809" y="631"/>
                    </a:lnTo>
                    <a:lnTo>
                      <a:pt x="847" y="578"/>
                    </a:lnTo>
                    <a:lnTo>
                      <a:pt x="890" y="531"/>
                    </a:lnTo>
                    <a:lnTo>
                      <a:pt x="937" y="488"/>
                    </a:lnTo>
                    <a:lnTo>
                      <a:pt x="989" y="449"/>
                    </a:lnTo>
                    <a:lnTo>
                      <a:pt x="1044" y="415"/>
                    </a:lnTo>
                    <a:lnTo>
                      <a:pt x="1102" y="386"/>
                    </a:lnTo>
                    <a:lnTo>
                      <a:pt x="1163" y="363"/>
                    </a:lnTo>
                    <a:lnTo>
                      <a:pt x="1227" y="347"/>
                    </a:lnTo>
                    <a:lnTo>
                      <a:pt x="1293" y="337"/>
                    </a:lnTo>
                    <a:lnTo>
                      <a:pt x="1361" y="333"/>
                    </a:lnTo>
                    <a:lnTo>
                      <a:pt x="1365" y="333"/>
                    </a:lnTo>
                    <a:lnTo>
                      <a:pt x="1429" y="337"/>
                    </a:lnTo>
                    <a:lnTo>
                      <a:pt x="1492" y="346"/>
                    </a:lnTo>
                    <a:lnTo>
                      <a:pt x="1554" y="362"/>
                    </a:lnTo>
                    <a:lnTo>
                      <a:pt x="1613" y="382"/>
                    </a:lnTo>
                    <a:lnTo>
                      <a:pt x="1671" y="410"/>
                    </a:lnTo>
                    <a:lnTo>
                      <a:pt x="1726" y="443"/>
                    </a:lnTo>
                    <a:lnTo>
                      <a:pt x="1776" y="481"/>
                    </a:lnTo>
                    <a:lnTo>
                      <a:pt x="1824" y="523"/>
                    </a:lnTo>
                    <a:lnTo>
                      <a:pt x="1865" y="568"/>
                    </a:lnTo>
                    <a:lnTo>
                      <a:pt x="1902" y="616"/>
                    </a:lnTo>
                    <a:lnTo>
                      <a:pt x="1933" y="665"/>
                    </a:lnTo>
                    <a:lnTo>
                      <a:pt x="1960" y="719"/>
                    </a:lnTo>
                    <a:lnTo>
                      <a:pt x="1983" y="773"/>
                    </a:lnTo>
                    <a:lnTo>
                      <a:pt x="2001" y="830"/>
                    </a:lnTo>
                    <a:lnTo>
                      <a:pt x="2014" y="888"/>
                    </a:lnTo>
                    <a:lnTo>
                      <a:pt x="2021" y="948"/>
                    </a:lnTo>
                    <a:lnTo>
                      <a:pt x="2023" y="1007"/>
                    </a:lnTo>
                    <a:lnTo>
                      <a:pt x="2023" y="1606"/>
                    </a:lnTo>
                    <a:lnTo>
                      <a:pt x="2199" y="1606"/>
                    </a:lnTo>
                    <a:lnTo>
                      <a:pt x="2199" y="1007"/>
                    </a:lnTo>
                    <a:lnTo>
                      <a:pt x="2197" y="940"/>
                    </a:lnTo>
                    <a:lnTo>
                      <a:pt x="2189" y="872"/>
                    </a:lnTo>
                    <a:lnTo>
                      <a:pt x="2176" y="806"/>
                    </a:lnTo>
                    <a:lnTo>
                      <a:pt x="2158" y="742"/>
                    </a:lnTo>
                    <a:lnTo>
                      <a:pt x="2135" y="679"/>
                    </a:lnTo>
                    <a:lnTo>
                      <a:pt x="2107" y="617"/>
                    </a:lnTo>
                    <a:lnTo>
                      <a:pt x="2075" y="559"/>
                    </a:lnTo>
                    <a:lnTo>
                      <a:pt x="2037" y="503"/>
                    </a:lnTo>
                    <a:lnTo>
                      <a:pt x="1995" y="450"/>
                    </a:lnTo>
                    <a:lnTo>
                      <a:pt x="1948" y="400"/>
                    </a:lnTo>
                    <a:lnTo>
                      <a:pt x="1894" y="350"/>
                    </a:lnTo>
                    <a:lnTo>
                      <a:pt x="1837" y="307"/>
                    </a:lnTo>
                    <a:lnTo>
                      <a:pt x="1775" y="268"/>
                    </a:lnTo>
                    <a:lnTo>
                      <a:pt x="1712" y="235"/>
                    </a:lnTo>
                    <a:lnTo>
                      <a:pt x="1644" y="207"/>
                    </a:lnTo>
                    <a:lnTo>
                      <a:pt x="1576" y="186"/>
                    </a:lnTo>
                    <a:lnTo>
                      <a:pt x="1506" y="171"/>
                    </a:lnTo>
                    <a:lnTo>
                      <a:pt x="1434" y="160"/>
                    </a:lnTo>
                    <a:lnTo>
                      <a:pt x="1361" y="158"/>
                    </a:lnTo>
                    <a:lnTo>
                      <a:pt x="1361" y="158"/>
                    </a:lnTo>
                    <a:close/>
                    <a:moveTo>
                      <a:pt x="1359" y="0"/>
                    </a:moveTo>
                    <a:lnTo>
                      <a:pt x="1372" y="0"/>
                    </a:lnTo>
                    <a:lnTo>
                      <a:pt x="1449" y="4"/>
                    </a:lnTo>
                    <a:lnTo>
                      <a:pt x="1525" y="13"/>
                    </a:lnTo>
                    <a:lnTo>
                      <a:pt x="1600" y="28"/>
                    </a:lnTo>
                    <a:lnTo>
                      <a:pt x="1673" y="48"/>
                    </a:lnTo>
                    <a:lnTo>
                      <a:pt x="1744" y="75"/>
                    </a:lnTo>
                    <a:lnTo>
                      <a:pt x="1813" y="107"/>
                    </a:lnTo>
                    <a:lnTo>
                      <a:pt x="1879" y="143"/>
                    </a:lnTo>
                    <a:lnTo>
                      <a:pt x="1942" y="187"/>
                    </a:lnTo>
                    <a:lnTo>
                      <a:pt x="2004" y="235"/>
                    </a:lnTo>
                    <a:lnTo>
                      <a:pt x="2061" y="287"/>
                    </a:lnTo>
                    <a:lnTo>
                      <a:pt x="2111" y="341"/>
                    </a:lnTo>
                    <a:lnTo>
                      <a:pt x="2157" y="397"/>
                    </a:lnTo>
                    <a:lnTo>
                      <a:pt x="2199" y="457"/>
                    </a:lnTo>
                    <a:lnTo>
                      <a:pt x="2236" y="520"/>
                    </a:lnTo>
                    <a:lnTo>
                      <a:pt x="2269" y="584"/>
                    </a:lnTo>
                    <a:lnTo>
                      <a:pt x="2297" y="651"/>
                    </a:lnTo>
                    <a:lnTo>
                      <a:pt x="2319" y="720"/>
                    </a:lnTo>
                    <a:lnTo>
                      <a:pt x="2338" y="790"/>
                    </a:lnTo>
                    <a:lnTo>
                      <a:pt x="2350" y="862"/>
                    </a:lnTo>
                    <a:lnTo>
                      <a:pt x="2357" y="934"/>
                    </a:lnTo>
                    <a:lnTo>
                      <a:pt x="2360" y="1007"/>
                    </a:lnTo>
                    <a:lnTo>
                      <a:pt x="2360" y="1606"/>
                    </a:lnTo>
                    <a:lnTo>
                      <a:pt x="2411" y="1615"/>
                    </a:lnTo>
                    <a:lnTo>
                      <a:pt x="2459" y="1630"/>
                    </a:lnTo>
                    <a:lnTo>
                      <a:pt x="2504" y="1650"/>
                    </a:lnTo>
                    <a:lnTo>
                      <a:pt x="2546" y="1675"/>
                    </a:lnTo>
                    <a:lnTo>
                      <a:pt x="2584" y="1706"/>
                    </a:lnTo>
                    <a:lnTo>
                      <a:pt x="2618" y="1741"/>
                    </a:lnTo>
                    <a:lnTo>
                      <a:pt x="2648" y="1780"/>
                    </a:lnTo>
                    <a:lnTo>
                      <a:pt x="2673" y="1821"/>
                    </a:lnTo>
                    <a:lnTo>
                      <a:pt x="2694" y="1867"/>
                    </a:lnTo>
                    <a:lnTo>
                      <a:pt x="2709" y="1913"/>
                    </a:lnTo>
                    <a:lnTo>
                      <a:pt x="2718" y="1964"/>
                    </a:lnTo>
                    <a:lnTo>
                      <a:pt x="2721" y="2015"/>
                    </a:lnTo>
                    <a:lnTo>
                      <a:pt x="2721" y="3357"/>
                    </a:lnTo>
                    <a:lnTo>
                      <a:pt x="2718" y="3410"/>
                    </a:lnTo>
                    <a:lnTo>
                      <a:pt x="2709" y="3459"/>
                    </a:lnTo>
                    <a:lnTo>
                      <a:pt x="2694" y="3507"/>
                    </a:lnTo>
                    <a:lnTo>
                      <a:pt x="2673" y="3553"/>
                    </a:lnTo>
                    <a:lnTo>
                      <a:pt x="2648" y="3594"/>
                    </a:lnTo>
                    <a:lnTo>
                      <a:pt x="2618" y="3633"/>
                    </a:lnTo>
                    <a:lnTo>
                      <a:pt x="2584" y="3669"/>
                    </a:lnTo>
                    <a:lnTo>
                      <a:pt x="2546" y="3698"/>
                    </a:lnTo>
                    <a:lnTo>
                      <a:pt x="2504" y="3725"/>
                    </a:lnTo>
                    <a:lnTo>
                      <a:pt x="2459" y="3745"/>
                    </a:lnTo>
                    <a:lnTo>
                      <a:pt x="2412" y="3761"/>
                    </a:lnTo>
                    <a:lnTo>
                      <a:pt x="2362" y="3771"/>
                    </a:lnTo>
                    <a:lnTo>
                      <a:pt x="2310" y="3774"/>
                    </a:lnTo>
                    <a:lnTo>
                      <a:pt x="411" y="3774"/>
                    </a:lnTo>
                    <a:lnTo>
                      <a:pt x="358" y="3771"/>
                    </a:lnTo>
                    <a:lnTo>
                      <a:pt x="309" y="3761"/>
                    </a:lnTo>
                    <a:lnTo>
                      <a:pt x="261" y="3745"/>
                    </a:lnTo>
                    <a:lnTo>
                      <a:pt x="216" y="3725"/>
                    </a:lnTo>
                    <a:lnTo>
                      <a:pt x="175" y="3698"/>
                    </a:lnTo>
                    <a:lnTo>
                      <a:pt x="137" y="3669"/>
                    </a:lnTo>
                    <a:lnTo>
                      <a:pt x="103" y="3633"/>
                    </a:lnTo>
                    <a:lnTo>
                      <a:pt x="73" y="3594"/>
                    </a:lnTo>
                    <a:lnTo>
                      <a:pt x="48" y="3553"/>
                    </a:lnTo>
                    <a:lnTo>
                      <a:pt x="27" y="3507"/>
                    </a:lnTo>
                    <a:lnTo>
                      <a:pt x="13" y="3459"/>
                    </a:lnTo>
                    <a:lnTo>
                      <a:pt x="3" y="3410"/>
                    </a:lnTo>
                    <a:lnTo>
                      <a:pt x="0" y="3357"/>
                    </a:lnTo>
                    <a:lnTo>
                      <a:pt x="0" y="2015"/>
                    </a:lnTo>
                    <a:lnTo>
                      <a:pt x="3" y="1964"/>
                    </a:lnTo>
                    <a:lnTo>
                      <a:pt x="13" y="1913"/>
                    </a:lnTo>
                    <a:lnTo>
                      <a:pt x="27" y="1865"/>
                    </a:lnTo>
                    <a:lnTo>
                      <a:pt x="47" y="1821"/>
                    </a:lnTo>
                    <a:lnTo>
                      <a:pt x="72" y="1778"/>
                    </a:lnTo>
                    <a:lnTo>
                      <a:pt x="102" y="1741"/>
                    </a:lnTo>
                    <a:lnTo>
                      <a:pt x="136" y="1706"/>
                    </a:lnTo>
                    <a:lnTo>
                      <a:pt x="174" y="1675"/>
                    </a:lnTo>
                    <a:lnTo>
                      <a:pt x="216" y="1650"/>
                    </a:lnTo>
                    <a:lnTo>
                      <a:pt x="261" y="1630"/>
                    </a:lnTo>
                    <a:lnTo>
                      <a:pt x="309" y="1615"/>
                    </a:lnTo>
                    <a:lnTo>
                      <a:pt x="360" y="1606"/>
                    </a:lnTo>
                    <a:lnTo>
                      <a:pt x="360" y="1007"/>
                    </a:lnTo>
                    <a:lnTo>
                      <a:pt x="363" y="925"/>
                    </a:lnTo>
                    <a:lnTo>
                      <a:pt x="373" y="845"/>
                    </a:lnTo>
                    <a:lnTo>
                      <a:pt x="389" y="766"/>
                    </a:lnTo>
                    <a:lnTo>
                      <a:pt x="411" y="690"/>
                    </a:lnTo>
                    <a:lnTo>
                      <a:pt x="438" y="616"/>
                    </a:lnTo>
                    <a:lnTo>
                      <a:pt x="471" y="545"/>
                    </a:lnTo>
                    <a:lnTo>
                      <a:pt x="510" y="477"/>
                    </a:lnTo>
                    <a:lnTo>
                      <a:pt x="553" y="413"/>
                    </a:lnTo>
                    <a:lnTo>
                      <a:pt x="601" y="353"/>
                    </a:lnTo>
                    <a:lnTo>
                      <a:pt x="653" y="297"/>
                    </a:lnTo>
                    <a:lnTo>
                      <a:pt x="709" y="244"/>
                    </a:lnTo>
                    <a:lnTo>
                      <a:pt x="769" y="196"/>
                    </a:lnTo>
                    <a:lnTo>
                      <a:pt x="833" y="152"/>
                    </a:lnTo>
                    <a:lnTo>
                      <a:pt x="901" y="114"/>
                    </a:lnTo>
                    <a:lnTo>
                      <a:pt x="970" y="80"/>
                    </a:lnTo>
                    <a:lnTo>
                      <a:pt x="1044" y="52"/>
                    </a:lnTo>
                    <a:lnTo>
                      <a:pt x="1119" y="30"/>
                    </a:lnTo>
                    <a:lnTo>
                      <a:pt x="1197" y="14"/>
                    </a:lnTo>
                    <a:lnTo>
                      <a:pt x="1277" y="4"/>
                    </a:lnTo>
                    <a:lnTo>
                      <a:pt x="1359" y="0"/>
                    </a:lnTo>
                    <a:close/>
                  </a:path>
                </a:pathLst>
              </a:custGeom>
              <a:solidFill>
                <a:schemeClr val="accent2"/>
              </a:solidFill>
              <a:ln w="12700">
                <a:solidFill>
                  <a:schemeClr val="accent2"/>
                </a:solid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222" name="Freeform 24"/>
              <p:cNvSpPr>
                <a:spLocks noEditPoints="1"/>
              </p:cNvSpPr>
              <p:nvPr/>
            </p:nvSpPr>
            <p:spPr bwMode="auto">
              <a:xfrm>
                <a:off x="18367377" y="6176963"/>
                <a:ext cx="917575" cy="1379538"/>
              </a:xfrm>
              <a:custGeom>
                <a:avLst/>
                <a:gdLst>
                  <a:gd name="T0" fmla="*/ 260 w 578"/>
                  <a:gd name="T1" fmla="*/ 162 h 869"/>
                  <a:gd name="T2" fmla="*/ 208 w 578"/>
                  <a:gd name="T3" fmla="*/ 187 h 869"/>
                  <a:gd name="T4" fmla="*/ 173 w 578"/>
                  <a:gd name="T5" fmla="*/ 231 h 869"/>
                  <a:gd name="T6" fmla="*/ 160 w 578"/>
                  <a:gd name="T7" fmla="*/ 288 h 869"/>
                  <a:gd name="T8" fmla="*/ 173 w 578"/>
                  <a:gd name="T9" fmla="*/ 344 h 869"/>
                  <a:gd name="T10" fmla="*/ 208 w 578"/>
                  <a:gd name="T11" fmla="*/ 388 h 869"/>
                  <a:gd name="T12" fmla="*/ 260 w 578"/>
                  <a:gd name="T13" fmla="*/ 413 h 869"/>
                  <a:gd name="T14" fmla="*/ 318 w 578"/>
                  <a:gd name="T15" fmla="*/ 413 h 869"/>
                  <a:gd name="T16" fmla="*/ 370 w 578"/>
                  <a:gd name="T17" fmla="*/ 388 h 869"/>
                  <a:gd name="T18" fmla="*/ 405 w 578"/>
                  <a:gd name="T19" fmla="*/ 344 h 869"/>
                  <a:gd name="T20" fmla="*/ 418 w 578"/>
                  <a:gd name="T21" fmla="*/ 288 h 869"/>
                  <a:gd name="T22" fmla="*/ 405 w 578"/>
                  <a:gd name="T23" fmla="*/ 231 h 869"/>
                  <a:gd name="T24" fmla="*/ 370 w 578"/>
                  <a:gd name="T25" fmla="*/ 187 h 869"/>
                  <a:gd name="T26" fmla="*/ 318 w 578"/>
                  <a:gd name="T27" fmla="*/ 162 h 869"/>
                  <a:gd name="T28" fmla="*/ 290 w 578"/>
                  <a:gd name="T29" fmla="*/ 0 h 869"/>
                  <a:gd name="T30" fmla="*/ 372 w 578"/>
                  <a:gd name="T31" fmla="*/ 11 h 869"/>
                  <a:gd name="T32" fmla="*/ 446 w 578"/>
                  <a:gd name="T33" fmla="*/ 46 h 869"/>
                  <a:gd name="T34" fmla="*/ 507 w 578"/>
                  <a:gd name="T35" fmla="*/ 99 h 869"/>
                  <a:gd name="T36" fmla="*/ 552 w 578"/>
                  <a:gd name="T37" fmla="*/ 169 h 869"/>
                  <a:gd name="T38" fmla="*/ 574 w 578"/>
                  <a:gd name="T39" fmla="*/ 250 h 869"/>
                  <a:gd name="T40" fmla="*/ 574 w 578"/>
                  <a:gd name="T41" fmla="*/ 333 h 869"/>
                  <a:gd name="T42" fmla="*/ 550 w 578"/>
                  <a:gd name="T43" fmla="*/ 409 h 869"/>
                  <a:gd name="T44" fmla="*/ 507 w 578"/>
                  <a:gd name="T45" fmla="*/ 477 h 869"/>
                  <a:gd name="T46" fmla="*/ 445 w 578"/>
                  <a:gd name="T47" fmla="*/ 531 h 869"/>
                  <a:gd name="T48" fmla="*/ 369 w 578"/>
                  <a:gd name="T49" fmla="*/ 565 h 869"/>
                  <a:gd name="T50" fmla="*/ 366 w 578"/>
                  <a:gd name="T51" fmla="*/ 810 h 869"/>
                  <a:gd name="T52" fmla="*/ 346 w 578"/>
                  <a:gd name="T53" fmla="*/ 845 h 869"/>
                  <a:gd name="T54" fmla="*/ 310 w 578"/>
                  <a:gd name="T55" fmla="*/ 866 h 869"/>
                  <a:gd name="T56" fmla="*/ 268 w 578"/>
                  <a:gd name="T57" fmla="*/ 866 h 869"/>
                  <a:gd name="T58" fmla="*/ 232 w 578"/>
                  <a:gd name="T59" fmla="*/ 845 h 869"/>
                  <a:gd name="T60" fmla="*/ 212 w 578"/>
                  <a:gd name="T61" fmla="*/ 810 h 869"/>
                  <a:gd name="T62" fmla="*/ 209 w 578"/>
                  <a:gd name="T63" fmla="*/ 565 h 869"/>
                  <a:gd name="T64" fmla="*/ 133 w 578"/>
                  <a:gd name="T65" fmla="*/ 531 h 869"/>
                  <a:gd name="T66" fmla="*/ 71 w 578"/>
                  <a:gd name="T67" fmla="*/ 478 h 869"/>
                  <a:gd name="T68" fmla="*/ 26 w 578"/>
                  <a:gd name="T69" fmla="*/ 409 h 869"/>
                  <a:gd name="T70" fmla="*/ 3 w 578"/>
                  <a:gd name="T71" fmla="*/ 330 h 869"/>
                  <a:gd name="T72" fmla="*/ 3 w 578"/>
                  <a:gd name="T73" fmla="*/ 246 h 869"/>
                  <a:gd name="T74" fmla="*/ 28 w 578"/>
                  <a:gd name="T75" fmla="*/ 167 h 869"/>
                  <a:gd name="T76" fmla="*/ 71 w 578"/>
                  <a:gd name="T77" fmla="*/ 98 h 869"/>
                  <a:gd name="T78" fmla="*/ 132 w 578"/>
                  <a:gd name="T79" fmla="*/ 46 h 869"/>
                  <a:gd name="T80" fmla="*/ 206 w 578"/>
                  <a:gd name="T81" fmla="*/ 11 h 869"/>
                  <a:gd name="T82" fmla="*/ 290 w 578"/>
                  <a:gd name="T83"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8" h="869">
                    <a:moveTo>
                      <a:pt x="290" y="159"/>
                    </a:moveTo>
                    <a:lnTo>
                      <a:pt x="260" y="162"/>
                    </a:lnTo>
                    <a:lnTo>
                      <a:pt x="232" y="171"/>
                    </a:lnTo>
                    <a:lnTo>
                      <a:pt x="208" y="187"/>
                    </a:lnTo>
                    <a:lnTo>
                      <a:pt x="189" y="207"/>
                    </a:lnTo>
                    <a:lnTo>
                      <a:pt x="173" y="231"/>
                    </a:lnTo>
                    <a:lnTo>
                      <a:pt x="164" y="258"/>
                    </a:lnTo>
                    <a:lnTo>
                      <a:pt x="160" y="288"/>
                    </a:lnTo>
                    <a:lnTo>
                      <a:pt x="164" y="317"/>
                    </a:lnTo>
                    <a:lnTo>
                      <a:pt x="173" y="344"/>
                    </a:lnTo>
                    <a:lnTo>
                      <a:pt x="189" y="368"/>
                    </a:lnTo>
                    <a:lnTo>
                      <a:pt x="208" y="388"/>
                    </a:lnTo>
                    <a:lnTo>
                      <a:pt x="232" y="404"/>
                    </a:lnTo>
                    <a:lnTo>
                      <a:pt x="260" y="413"/>
                    </a:lnTo>
                    <a:lnTo>
                      <a:pt x="290" y="416"/>
                    </a:lnTo>
                    <a:lnTo>
                      <a:pt x="318" y="413"/>
                    </a:lnTo>
                    <a:lnTo>
                      <a:pt x="346" y="404"/>
                    </a:lnTo>
                    <a:lnTo>
                      <a:pt x="370" y="388"/>
                    </a:lnTo>
                    <a:lnTo>
                      <a:pt x="389" y="368"/>
                    </a:lnTo>
                    <a:lnTo>
                      <a:pt x="405" y="344"/>
                    </a:lnTo>
                    <a:lnTo>
                      <a:pt x="414" y="317"/>
                    </a:lnTo>
                    <a:lnTo>
                      <a:pt x="418" y="288"/>
                    </a:lnTo>
                    <a:lnTo>
                      <a:pt x="414" y="258"/>
                    </a:lnTo>
                    <a:lnTo>
                      <a:pt x="405" y="231"/>
                    </a:lnTo>
                    <a:lnTo>
                      <a:pt x="389" y="207"/>
                    </a:lnTo>
                    <a:lnTo>
                      <a:pt x="370" y="187"/>
                    </a:lnTo>
                    <a:lnTo>
                      <a:pt x="346" y="171"/>
                    </a:lnTo>
                    <a:lnTo>
                      <a:pt x="318" y="162"/>
                    </a:lnTo>
                    <a:lnTo>
                      <a:pt x="290" y="159"/>
                    </a:lnTo>
                    <a:close/>
                    <a:moveTo>
                      <a:pt x="290" y="0"/>
                    </a:moveTo>
                    <a:lnTo>
                      <a:pt x="331" y="3"/>
                    </a:lnTo>
                    <a:lnTo>
                      <a:pt x="372" y="11"/>
                    </a:lnTo>
                    <a:lnTo>
                      <a:pt x="410" y="26"/>
                    </a:lnTo>
                    <a:lnTo>
                      <a:pt x="446" y="46"/>
                    </a:lnTo>
                    <a:lnTo>
                      <a:pt x="478" y="71"/>
                    </a:lnTo>
                    <a:lnTo>
                      <a:pt x="507" y="99"/>
                    </a:lnTo>
                    <a:lnTo>
                      <a:pt x="531" y="133"/>
                    </a:lnTo>
                    <a:lnTo>
                      <a:pt x="552" y="169"/>
                    </a:lnTo>
                    <a:lnTo>
                      <a:pt x="565" y="208"/>
                    </a:lnTo>
                    <a:lnTo>
                      <a:pt x="574" y="250"/>
                    </a:lnTo>
                    <a:lnTo>
                      <a:pt x="578" y="292"/>
                    </a:lnTo>
                    <a:lnTo>
                      <a:pt x="574" y="333"/>
                    </a:lnTo>
                    <a:lnTo>
                      <a:pt x="565" y="372"/>
                    </a:lnTo>
                    <a:lnTo>
                      <a:pt x="550" y="409"/>
                    </a:lnTo>
                    <a:lnTo>
                      <a:pt x="531" y="445"/>
                    </a:lnTo>
                    <a:lnTo>
                      <a:pt x="507" y="477"/>
                    </a:lnTo>
                    <a:lnTo>
                      <a:pt x="478" y="506"/>
                    </a:lnTo>
                    <a:lnTo>
                      <a:pt x="445" y="531"/>
                    </a:lnTo>
                    <a:lnTo>
                      <a:pt x="409" y="550"/>
                    </a:lnTo>
                    <a:lnTo>
                      <a:pt x="369" y="565"/>
                    </a:lnTo>
                    <a:lnTo>
                      <a:pt x="369" y="789"/>
                    </a:lnTo>
                    <a:lnTo>
                      <a:pt x="366" y="810"/>
                    </a:lnTo>
                    <a:lnTo>
                      <a:pt x="358" y="829"/>
                    </a:lnTo>
                    <a:lnTo>
                      <a:pt x="346" y="845"/>
                    </a:lnTo>
                    <a:lnTo>
                      <a:pt x="330" y="858"/>
                    </a:lnTo>
                    <a:lnTo>
                      <a:pt x="310" y="866"/>
                    </a:lnTo>
                    <a:lnTo>
                      <a:pt x="290" y="869"/>
                    </a:lnTo>
                    <a:lnTo>
                      <a:pt x="268" y="866"/>
                    </a:lnTo>
                    <a:lnTo>
                      <a:pt x="248" y="858"/>
                    </a:lnTo>
                    <a:lnTo>
                      <a:pt x="232" y="845"/>
                    </a:lnTo>
                    <a:lnTo>
                      <a:pt x="220" y="829"/>
                    </a:lnTo>
                    <a:lnTo>
                      <a:pt x="212" y="810"/>
                    </a:lnTo>
                    <a:lnTo>
                      <a:pt x="209" y="789"/>
                    </a:lnTo>
                    <a:lnTo>
                      <a:pt x="209" y="565"/>
                    </a:lnTo>
                    <a:lnTo>
                      <a:pt x="169" y="550"/>
                    </a:lnTo>
                    <a:lnTo>
                      <a:pt x="133" y="531"/>
                    </a:lnTo>
                    <a:lnTo>
                      <a:pt x="100" y="507"/>
                    </a:lnTo>
                    <a:lnTo>
                      <a:pt x="71" y="478"/>
                    </a:lnTo>
                    <a:lnTo>
                      <a:pt x="47" y="445"/>
                    </a:lnTo>
                    <a:lnTo>
                      <a:pt x="26" y="409"/>
                    </a:lnTo>
                    <a:lnTo>
                      <a:pt x="13" y="372"/>
                    </a:lnTo>
                    <a:lnTo>
                      <a:pt x="3" y="330"/>
                    </a:lnTo>
                    <a:lnTo>
                      <a:pt x="0" y="288"/>
                    </a:lnTo>
                    <a:lnTo>
                      <a:pt x="3" y="246"/>
                    </a:lnTo>
                    <a:lnTo>
                      <a:pt x="13" y="205"/>
                    </a:lnTo>
                    <a:lnTo>
                      <a:pt x="28" y="167"/>
                    </a:lnTo>
                    <a:lnTo>
                      <a:pt x="47" y="131"/>
                    </a:lnTo>
                    <a:lnTo>
                      <a:pt x="71" y="98"/>
                    </a:lnTo>
                    <a:lnTo>
                      <a:pt x="100" y="71"/>
                    </a:lnTo>
                    <a:lnTo>
                      <a:pt x="132" y="46"/>
                    </a:lnTo>
                    <a:lnTo>
                      <a:pt x="167" y="26"/>
                    </a:lnTo>
                    <a:lnTo>
                      <a:pt x="206" y="11"/>
                    </a:lnTo>
                    <a:lnTo>
                      <a:pt x="246" y="3"/>
                    </a:lnTo>
                    <a:lnTo>
                      <a:pt x="290" y="0"/>
                    </a:lnTo>
                    <a:close/>
                  </a:path>
                </a:pathLst>
              </a:custGeom>
              <a:solidFill>
                <a:schemeClr val="accent2"/>
              </a:solidFill>
              <a:ln w="12700">
                <a:solidFill>
                  <a:schemeClr val="accent2"/>
                </a:solid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grpSp>
        <p:nvGrpSpPr>
          <p:cNvPr id="5" name="Group 4"/>
          <p:cNvGrpSpPr/>
          <p:nvPr/>
        </p:nvGrpSpPr>
        <p:grpSpPr>
          <a:xfrm>
            <a:off x="10723850" y="1817011"/>
            <a:ext cx="350862" cy="349001"/>
            <a:chOff x="4853698" y="2302538"/>
            <a:chExt cx="1608062" cy="1599532"/>
          </a:xfrm>
        </p:grpSpPr>
        <p:sp>
          <p:nvSpPr>
            <p:cNvPr id="223" name="Google Shape;6311;p66"/>
            <p:cNvSpPr/>
            <p:nvPr/>
          </p:nvSpPr>
          <p:spPr>
            <a:xfrm>
              <a:off x="4853698" y="2302538"/>
              <a:ext cx="1608062" cy="1599532"/>
            </a:xfrm>
            <a:custGeom>
              <a:avLst/>
              <a:gdLst/>
              <a:ahLst/>
              <a:cxnLst/>
              <a:rect l="l" t="t" r="r" b="b"/>
              <a:pathLst>
                <a:path w="12068" h="12004" extrusionOk="0">
                  <a:moveTo>
                    <a:pt x="8539" y="1166"/>
                  </a:moveTo>
                  <a:lnTo>
                    <a:pt x="9452" y="2080"/>
                  </a:lnTo>
                  <a:lnTo>
                    <a:pt x="8539" y="2080"/>
                  </a:lnTo>
                  <a:lnTo>
                    <a:pt x="8539" y="1166"/>
                  </a:lnTo>
                  <a:close/>
                  <a:moveTo>
                    <a:pt x="7846" y="693"/>
                  </a:moveTo>
                  <a:lnTo>
                    <a:pt x="7846" y="2489"/>
                  </a:lnTo>
                  <a:cubicBezTo>
                    <a:pt x="7846" y="2678"/>
                    <a:pt x="8003" y="2836"/>
                    <a:pt x="8192" y="2836"/>
                  </a:cubicBezTo>
                  <a:lnTo>
                    <a:pt x="9957" y="2836"/>
                  </a:lnTo>
                  <a:lnTo>
                    <a:pt x="9957" y="4254"/>
                  </a:lnTo>
                  <a:lnTo>
                    <a:pt x="4916" y="4254"/>
                  </a:lnTo>
                  <a:lnTo>
                    <a:pt x="4538" y="3434"/>
                  </a:lnTo>
                  <a:cubicBezTo>
                    <a:pt x="4349" y="3056"/>
                    <a:pt x="3971" y="2836"/>
                    <a:pt x="3593" y="2836"/>
                  </a:cubicBezTo>
                  <a:lnTo>
                    <a:pt x="2206" y="2836"/>
                  </a:lnTo>
                  <a:lnTo>
                    <a:pt x="2206" y="693"/>
                  </a:lnTo>
                  <a:close/>
                  <a:moveTo>
                    <a:pt x="3561" y="3529"/>
                  </a:moveTo>
                  <a:cubicBezTo>
                    <a:pt x="3656" y="3529"/>
                    <a:pt x="3782" y="3623"/>
                    <a:pt x="3876" y="3718"/>
                  </a:cubicBezTo>
                  <a:lnTo>
                    <a:pt x="4380" y="4758"/>
                  </a:lnTo>
                  <a:cubicBezTo>
                    <a:pt x="4443" y="4884"/>
                    <a:pt x="4569" y="4947"/>
                    <a:pt x="4695" y="4947"/>
                  </a:cubicBezTo>
                  <a:lnTo>
                    <a:pt x="11028" y="4947"/>
                  </a:lnTo>
                  <a:cubicBezTo>
                    <a:pt x="11248" y="4947"/>
                    <a:pt x="11406" y="5104"/>
                    <a:pt x="11406" y="5293"/>
                  </a:cubicBezTo>
                  <a:lnTo>
                    <a:pt x="11406" y="10933"/>
                  </a:lnTo>
                  <a:lnTo>
                    <a:pt x="11343" y="10933"/>
                  </a:lnTo>
                  <a:cubicBezTo>
                    <a:pt x="11343" y="11153"/>
                    <a:pt x="11185" y="11311"/>
                    <a:pt x="10996" y="11311"/>
                  </a:cubicBezTo>
                  <a:lnTo>
                    <a:pt x="1104" y="11311"/>
                  </a:lnTo>
                  <a:cubicBezTo>
                    <a:pt x="915" y="11311"/>
                    <a:pt x="757" y="11153"/>
                    <a:pt x="757" y="10933"/>
                  </a:cubicBezTo>
                  <a:lnTo>
                    <a:pt x="757" y="3875"/>
                  </a:lnTo>
                  <a:cubicBezTo>
                    <a:pt x="757" y="3686"/>
                    <a:pt x="915" y="3529"/>
                    <a:pt x="1104" y="3529"/>
                  </a:cubicBezTo>
                  <a:close/>
                  <a:moveTo>
                    <a:pt x="1797" y="0"/>
                  </a:moveTo>
                  <a:cubicBezTo>
                    <a:pt x="1576" y="0"/>
                    <a:pt x="1419" y="158"/>
                    <a:pt x="1419" y="347"/>
                  </a:cubicBezTo>
                  <a:lnTo>
                    <a:pt x="1419" y="2836"/>
                  </a:lnTo>
                  <a:lnTo>
                    <a:pt x="1072" y="2836"/>
                  </a:lnTo>
                  <a:cubicBezTo>
                    <a:pt x="474" y="2836"/>
                    <a:pt x="1" y="3308"/>
                    <a:pt x="1" y="3907"/>
                  </a:cubicBezTo>
                  <a:lnTo>
                    <a:pt x="1" y="10933"/>
                  </a:lnTo>
                  <a:cubicBezTo>
                    <a:pt x="1" y="11531"/>
                    <a:pt x="474" y="12004"/>
                    <a:pt x="1072" y="12004"/>
                  </a:cubicBezTo>
                  <a:lnTo>
                    <a:pt x="10965" y="12004"/>
                  </a:lnTo>
                  <a:cubicBezTo>
                    <a:pt x="11563" y="12004"/>
                    <a:pt x="12036" y="11531"/>
                    <a:pt x="12036" y="10933"/>
                  </a:cubicBezTo>
                  <a:lnTo>
                    <a:pt x="12036" y="5325"/>
                  </a:lnTo>
                  <a:cubicBezTo>
                    <a:pt x="12067" y="4726"/>
                    <a:pt x="11595" y="4254"/>
                    <a:pt x="10996" y="4254"/>
                  </a:cubicBezTo>
                  <a:lnTo>
                    <a:pt x="10650" y="4254"/>
                  </a:lnTo>
                  <a:lnTo>
                    <a:pt x="10650" y="2489"/>
                  </a:lnTo>
                  <a:cubicBezTo>
                    <a:pt x="10650" y="2395"/>
                    <a:pt x="10618" y="2269"/>
                    <a:pt x="10524" y="2237"/>
                  </a:cubicBezTo>
                  <a:lnTo>
                    <a:pt x="8413" y="126"/>
                  </a:lnTo>
                  <a:cubicBezTo>
                    <a:pt x="8318" y="32"/>
                    <a:pt x="8255" y="0"/>
                    <a:pt x="8161" y="0"/>
                  </a:cubicBezTo>
                  <a:close/>
                </a:path>
              </a:pathLst>
            </a:custGeom>
            <a:solidFill>
              <a:schemeClr val="accent2"/>
            </a:solidFill>
            <a:ln>
              <a:noFill/>
            </a:ln>
          </p:spPr>
          <p:txBody>
            <a:bodyPr spcFirstLastPara="1" wrap="square" lIns="48953" tIns="48953" rIns="48953" bIns="48953" anchor="ctr" anchorCtr="0">
              <a:noAutofit/>
            </a:bodyPr>
            <a:lstStyle/>
            <a:p>
              <a:endParaRPr sz="964">
                <a:latin typeface="Calibri" panose="020F0502020204030204" pitchFamily="34" charset="0"/>
                <a:cs typeface="Calibri" panose="020F0502020204030204" pitchFamily="34" charset="0"/>
              </a:endParaRPr>
            </a:p>
          </p:txBody>
        </p:sp>
        <p:grpSp>
          <p:nvGrpSpPr>
            <p:cNvPr id="224" name="Group 223"/>
            <p:cNvGrpSpPr/>
            <p:nvPr/>
          </p:nvGrpSpPr>
          <p:grpSpPr>
            <a:xfrm>
              <a:off x="5413227" y="3072189"/>
              <a:ext cx="421068" cy="584014"/>
              <a:chOff x="16667184" y="2316163"/>
              <a:chExt cx="4319595" cy="5991225"/>
            </a:xfrm>
          </p:grpSpPr>
          <p:sp>
            <p:nvSpPr>
              <p:cNvPr id="225" name="Freeform 23"/>
              <p:cNvSpPr>
                <a:spLocks noEditPoints="1"/>
              </p:cNvSpPr>
              <p:nvPr/>
            </p:nvSpPr>
            <p:spPr bwMode="auto">
              <a:xfrm>
                <a:off x="16667184" y="2316163"/>
                <a:ext cx="4319595" cy="5991225"/>
              </a:xfrm>
              <a:custGeom>
                <a:avLst/>
                <a:gdLst>
                  <a:gd name="T0" fmla="*/ 264 w 2721"/>
                  <a:gd name="T1" fmla="*/ 1815 h 3774"/>
                  <a:gd name="T2" fmla="*/ 164 w 2721"/>
                  <a:gd name="T3" fmla="*/ 1979 h 3774"/>
                  <a:gd name="T4" fmla="*/ 189 w 2721"/>
                  <a:gd name="T5" fmla="*/ 3476 h 3774"/>
                  <a:gd name="T6" fmla="*/ 333 w 2721"/>
                  <a:gd name="T7" fmla="*/ 3601 h 3774"/>
                  <a:gd name="T8" fmla="*/ 2395 w 2721"/>
                  <a:gd name="T9" fmla="*/ 3601 h 3774"/>
                  <a:gd name="T10" fmla="*/ 2539 w 2721"/>
                  <a:gd name="T11" fmla="*/ 3476 h 3774"/>
                  <a:gd name="T12" fmla="*/ 2564 w 2721"/>
                  <a:gd name="T13" fmla="*/ 1979 h 3774"/>
                  <a:gd name="T14" fmla="*/ 2464 w 2721"/>
                  <a:gd name="T15" fmla="*/ 1815 h 3774"/>
                  <a:gd name="T16" fmla="*/ 413 w 2721"/>
                  <a:gd name="T17" fmla="*/ 1766 h 3774"/>
                  <a:gd name="T18" fmla="*/ 1139 w 2721"/>
                  <a:gd name="T19" fmla="*/ 546 h 3774"/>
                  <a:gd name="T20" fmla="*/ 935 w 2721"/>
                  <a:gd name="T21" fmla="*/ 733 h 3774"/>
                  <a:gd name="T22" fmla="*/ 856 w 2721"/>
                  <a:gd name="T23" fmla="*/ 1007 h 3774"/>
                  <a:gd name="T24" fmla="*/ 1855 w 2721"/>
                  <a:gd name="T25" fmla="*/ 905 h 3774"/>
                  <a:gd name="T26" fmla="*/ 1747 w 2721"/>
                  <a:gd name="T27" fmla="*/ 677 h 3774"/>
                  <a:gd name="T28" fmla="*/ 1528 w 2721"/>
                  <a:gd name="T29" fmla="*/ 522 h 3774"/>
                  <a:gd name="T30" fmla="*/ 1361 w 2721"/>
                  <a:gd name="T31" fmla="*/ 158 h 3774"/>
                  <a:gd name="T32" fmla="*/ 1000 w 2721"/>
                  <a:gd name="T33" fmla="*/ 241 h 3774"/>
                  <a:gd name="T34" fmla="*/ 717 w 2721"/>
                  <a:gd name="T35" fmla="*/ 461 h 3774"/>
                  <a:gd name="T36" fmla="*/ 550 w 2721"/>
                  <a:gd name="T37" fmla="*/ 783 h 3774"/>
                  <a:gd name="T38" fmla="*/ 520 w 2721"/>
                  <a:gd name="T39" fmla="*/ 1606 h 3774"/>
                  <a:gd name="T40" fmla="*/ 725 w 2721"/>
                  <a:gd name="T41" fmla="*/ 807 h 3774"/>
                  <a:gd name="T42" fmla="*/ 890 w 2721"/>
                  <a:gd name="T43" fmla="*/ 531 h 3774"/>
                  <a:gd name="T44" fmla="*/ 1163 w 2721"/>
                  <a:gd name="T45" fmla="*/ 363 h 3774"/>
                  <a:gd name="T46" fmla="*/ 1429 w 2721"/>
                  <a:gd name="T47" fmla="*/ 337 h 3774"/>
                  <a:gd name="T48" fmla="*/ 1726 w 2721"/>
                  <a:gd name="T49" fmla="*/ 443 h 3774"/>
                  <a:gd name="T50" fmla="*/ 1933 w 2721"/>
                  <a:gd name="T51" fmla="*/ 665 h 3774"/>
                  <a:gd name="T52" fmla="*/ 2021 w 2721"/>
                  <a:gd name="T53" fmla="*/ 948 h 3774"/>
                  <a:gd name="T54" fmla="*/ 2197 w 2721"/>
                  <a:gd name="T55" fmla="*/ 940 h 3774"/>
                  <a:gd name="T56" fmla="*/ 2107 w 2721"/>
                  <a:gd name="T57" fmla="*/ 617 h 3774"/>
                  <a:gd name="T58" fmla="*/ 1894 w 2721"/>
                  <a:gd name="T59" fmla="*/ 350 h 3774"/>
                  <a:gd name="T60" fmla="*/ 1576 w 2721"/>
                  <a:gd name="T61" fmla="*/ 186 h 3774"/>
                  <a:gd name="T62" fmla="*/ 1359 w 2721"/>
                  <a:gd name="T63" fmla="*/ 0 h 3774"/>
                  <a:gd name="T64" fmla="*/ 1673 w 2721"/>
                  <a:gd name="T65" fmla="*/ 48 h 3774"/>
                  <a:gd name="T66" fmla="*/ 2004 w 2721"/>
                  <a:gd name="T67" fmla="*/ 235 h 3774"/>
                  <a:gd name="T68" fmla="*/ 2236 w 2721"/>
                  <a:gd name="T69" fmla="*/ 520 h 3774"/>
                  <a:gd name="T70" fmla="*/ 2350 w 2721"/>
                  <a:gd name="T71" fmla="*/ 862 h 3774"/>
                  <a:gd name="T72" fmla="*/ 2459 w 2721"/>
                  <a:gd name="T73" fmla="*/ 1630 h 3774"/>
                  <a:gd name="T74" fmla="*/ 2648 w 2721"/>
                  <a:gd name="T75" fmla="*/ 1780 h 3774"/>
                  <a:gd name="T76" fmla="*/ 2721 w 2721"/>
                  <a:gd name="T77" fmla="*/ 2015 h 3774"/>
                  <a:gd name="T78" fmla="*/ 2673 w 2721"/>
                  <a:gd name="T79" fmla="*/ 3553 h 3774"/>
                  <a:gd name="T80" fmla="*/ 2504 w 2721"/>
                  <a:gd name="T81" fmla="*/ 3725 h 3774"/>
                  <a:gd name="T82" fmla="*/ 411 w 2721"/>
                  <a:gd name="T83" fmla="*/ 3774 h 3774"/>
                  <a:gd name="T84" fmla="*/ 175 w 2721"/>
                  <a:gd name="T85" fmla="*/ 3698 h 3774"/>
                  <a:gd name="T86" fmla="*/ 27 w 2721"/>
                  <a:gd name="T87" fmla="*/ 3507 h 3774"/>
                  <a:gd name="T88" fmla="*/ 3 w 2721"/>
                  <a:gd name="T89" fmla="*/ 1964 h 3774"/>
                  <a:gd name="T90" fmla="*/ 102 w 2721"/>
                  <a:gd name="T91" fmla="*/ 1741 h 3774"/>
                  <a:gd name="T92" fmla="*/ 309 w 2721"/>
                  <a:gd name="T93" fmla="*/ 1615 h 3774"/>
                  <a:gd name="T94" fmla="*/ 389 w 2721"/>
                  <a:gd name="T95" fmla="*/ 766 h 3774"/>
                  <a:gd name="T96" fmla="*/ 553 w 2721"/>
                  <a:gd name="T97" fmla="*/ 413 h 3774"/>
                  <a:gd name="T98" fmla="*/ 833 w 2721"/>
                  <a:gd name="T99" fmla="*/ 152 h 3774"/>
                  <a:gd name="T100" fmla="*/ 1197 w 2721"/>
                  <a:gd name="T101" fmla="*/ 14 h 3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21" h="3774">
                    <a:moveTo>
                      <a:pt x="413" y="1766"/>
                    </a:moveTo>
                    <a:lnTo>
                      <a:pt x="372" y="1769"/>
                    </a:lnTo>
                    <a:lnTo>
                      <a:pt x="333" y="1778"/>
                    </a:lnTo>
                    <a:lnTo>
                      <a:pt x="298" y="1794"/>
                    </a:lnTo>
                    <a:lnTo>
                      <a:pt x="264" y="1815"/>
                    </a:lnTo>
                    <a:lnTo>
                      <a:pt x="235" y="1840"/>
                    </a:lnTo>
                    <a:lnTo>
                      <a:pt x="209" y="1870"/>
                    </a:lnTo>
                    <a:lnTo>
                      <a:pt x="189" y="1903"/>
                    </a:lnTo>
                    <a:lnTo>
                      <a:pt x="173" y="1940"/>
                    </a:lnTo>
                    <a:lnTo>
                      <a:pt x="164" y="1979"/>
                    </a:lnTo>
                    <a:lnTo>
                      <a:pt x="160" y="2020"/>
                    </a:lnTo>
                    <a:lnTo>
                      <a:pt x="160" y="3361"/>
                    </a:lnTo>
                    <a:lnTo>
                      <a:pt x="164" y="3401"/>
                    </a:lnTo>
                    <a:lnTo>
                      <a:pt x="173" y="3441"/>
                    </a:lnTo>
                    <a:lnTo>
                      <a:pt x="189" y="3476"/>
                    </a:lnTo>
                    <a:lnTo>
                      <a:pt x="209" y="3510"/>
                    </a:lnTo>
                    <a:lnTo>
                      <a:pt x="235" y="3539"/>
                    </a:lnTo>
                    <a:lnTo>
                      <a:pt x="264" y="3565"/>
                    </a:lnTo>
                    <a:lnTo>
                      <a:pt x="298" y="3585"/>
                    </a:lnTo>
                    <a:lnTo>
                      <a:pt x="333" y="3601"/>
                    </a:lnTo>
                    <a:lnTo>
                      <a:pt x="372" y="3610"/>
                    </a:lnTo>
                    <a:lnTo>
                      <a:pt x="413" y="3614"/>
                    </a:lnTo>
                    <a:lnTo>
                      <a:pt x="2315" y="3614"/>
                    </a:lnTo>
                    <a:lnTo>
                      <a:pt x="2356" y="3610"/>
                    </a:lnTo>
                    <a:lnTo>
                      <a:pt x="2395" y="3601"/>
                    </a:lnTo>
                    <a:lnTo>
                      <a:pt x="2430" y="3585"/>
                    </a:lnTo>
                    <a:lnTo>
                      <a:pt x="2464" y="3565"/>
                    </a:lnTo>
                    <a:lnTo>
                      <a:pt x="2493" y="3539"/>
                    </a:lnTo>
                    <a:lnTo>
                      <a:pt x="2519" y="3510"/>
                    </a:lnTo>
                    <a:lnTo>
                      <a:pt x="2539" y="3476"/>
                    </a:lnTo>
                    <a:lnTo>
                      <a:pt x="2555" y="3441"/>
                    </a:lnTo>
                    <a:lnTo>
                      <a:pt x="2564" y="3401"/>
                    </a:lnTo>
                    <a:lnTo>
                      <a:pt x="2568" y="3361"/>
                    </a:lnTo>
                    <a:lnTo>
                      <a:pt x="2568" y="2020"/>
                    </a:lnTo>
                    <a:lnTo>
                      <a:pt x="2564" y="1979"/>
                    </a:lnTo>
                    <a:lnTo>
                      <a:pt x="2555" y="1940"/>
                    </a:lnTo>
                    <a:lnTo>
                      <a:pt x="2539" y="1903"/>
                    </a:lnTo>
                    <a:lnTo>
                      <a:pt x="2519" y="1870"/>
                    </a:lnTo>
                    <a:lnTo>
                      <a:pt x="2493" y="1840"/>
                    </a:lnTo>
                    <a:lnTo>
                      <a:pt x="2464" y="1815"/>
                    </a:lnTo>
                    <a:lnTo>
                      <a:pt x="2430" y="1794"/>
                    </a:lnTo>
                    <a:lnTo>
                      <a:pt x="2395" y="1778"/>
                    </a:lnTo>
                    <a:lnTo>
                      <a:pt x="2356" y="1769"/>
                    </a:lnTo>
                    <a:lnTo>
                      <a:pt x="2315" y="1766"/>
                    </a:lnTo>
                    <a:lnTo>
                      <a:pt x="413" y="1766"/>
                    </a:lnTo>
                    <a:close/>
                    <a:moveTo>
                      <a:pt x="1362" y="493"/>
                    </a:moveTo>
                    <a:lnTo>
                      <a:pt x="1302" y="497"/>
                    </a:lnTo>
                    <a:lnTo>
                      <a:pt x="1245" y="507"/>
                    </a:lnTo>
                    <a:lnTo>
                      <a:pt x="1191" y="524"/>
                    </a:lnTo>
                    <a:lnTo>
                      <a:pt x="1139" y="546"/>
                    </a:lnTo>
                    <a:lnTo>
                      <a:pt x="1091" y="574"/>
                    </a:lnTo>
                    <a:lnTo>
                      <a:pt x="1045" y="607"/>
                    </a:lnTo>
                    <a:lnTo>
                      <a:pt x="1004" y="644"/>
                    </a:lnTo>
                    <a:lnTo>
                      <a:pt x="967" y="687"/>
                    </a:lnTo>
                    <a:lnTo>
                      <a:pt x="935" y="733"/>
                    </a:lnTo>
                    <a:lnTo>
                      <a:pt x="907" y="782"/>
                    </a:lnTo>
                    <a:lnTo>
                      <a:pt x="886" y="834"/>
                    </a:lnTo>
                    <a:lnTo>
                      <a:pt x="870" y="891"/>
                    </a:lnTo>
                    <a:lnTo>
                      <a:pt x="859" y="948"/>
                    </a:lnTo>
                    <a:lnTo>
                      <a:pt x="856" y="1007"/>
                    </a:lnTo>
                    <a:lnTo>
                      <a:pt x="856" y="1606"/>
                    </a:lnTo>
                    <a:lnTo>
                      <a:pt x="1864" y="1606"/>
                    </a:lnTo>
                    <a:lnTo>
                      <a:pt x="1864" y="1007"/>
                    </a:lnTo>
                    <a:lnTo>
                      <a:pt x="1862" y="956"/>
                    </a:lnTo>
                    <a:lnTo>
                      <a:pt x="1855" y="905"/>
                    </a:lnTo>
                    <a:lnTo>
                      <a:pt x="1842" y="855"/>
                    </a:lnTo>
                    <a:lnTo>
                      <a:pt x="1825" y="807"/>
                    </a:lnTo>
                    <a:lnTo>
                      <a:pt x="1803" y="761"/>
                    </a:lnTo>
                    <a:lnTo>
                      <a:pt x="1778" y="718"/>
                    </a:lnTo>
                    <a:lnTo>
                      <a:pt x="1747" y="677"/>
                    </a:lnTo>
                    <a:lnTo>
                      <a:pt x="1713" y="638"/>
                    </a:lnTo>
                    <a:lnTo>
                      <a:pt x="1672" y="601"/>
                    </a:lnTo>
                    <a:lnTo>
                      <a:pt x="1626" y="569"/>
                    </a:lnTo>
                    <a:lnTo>
                      <a:pt x="1579" y="543"/>
                    </a:lnTo>
                    <a:lnTo>
                      <a:pt x="1528" y="522"/>
                    </a:lnTo>
                    <a:lnTo>
                      <a:pt x="1476" y="506"/>
                    </a:lnTo>
                    <a:lnTo>
                      <a:pt x="1421" y="497"/>
                    </a:lnTo>
                    <a:lnTo>
                      <a:pt x="1366" y="493"/>
                    </a:lnTo>
                    <a:lnTo>
                      <a:pt x="1362" y="493"/>
                    </a:lnTo>
                    <a:close/>
                    <a:moveTo>
                      <a:pt x="1361" y="158"/>
                    </a:moveTo>
                    <a:lnTo>
                      <a:pt x="1284" y="162"/>
                    </a:lnTo>
                    <a:lnTo>
                      <a:pt x="1210" y="172"/>
                    </a:lnTo>
                    <a:lnTo>
                      <a:pt x="1137" y="188"/>
                    </a:lnTo>
                    <a:lnTo>
                      <a:pt x="1068" y="211"/>
                    </a:lnTo>
                    <a:lnTo>
                      <a:pt x="1000" y="241"/>
                    </a:lnTo>
                    <a:lnTo>
                      <a:pt x="936" y="275"/>
                    </a:lnTo>
                    <a:lnTo>
                      <a:pt x="875" y="314"/>
                    </a:lnTo>
                    <a:lnTo>
                      <a:pt x="819" y="358"/>
                    </a:lnTo>
                    <a:lnTo>
                      <a:pt x="767" y="408"/>
                    </a:lnTo>
                    <a:lnTo>
                      <a:pt x="717" y="461"/>
                    </a:lnTo>
                    <a:lnTo>
                      <a:pt x="674" y="519"/>
                    </a:lnTo>
                    <a:lnTo>
                      <a:pt x="635" y="579"/>
                    </a:lnTo>
                    <a:lnTo>
                      <a:pt x="601" y="644"/>
                    </a:lnTo>
                    <a:lnTo>
                      <a:pt x="572" y="712"/>
                    </a:lnTo>
                    <a:lnTo>
                      <a:pt x="550" y="783"/>
                    </a:lnTo>
                    <a:lnTo>
                      <a:pt x="533" y="855"/>
                    </a:lnTo>
                    <a:lnTo>
                      <a:pt x="523" y="931"/>
                    </a:lnTo>
                    <a:lnTo>
                      <a:pt x="520" y="1007"/>
                    </a:lnTo>
                    <a:lnTo>
                      <a:pt x="520" y="1007"/>
                    </a:lnTo>
                    <a:lnTo>
                      <a:pt x="520" y="1606"/>
                    </a:lnTo>
                    <a:lnTo>
                      <a:pt x="696" y="1606"/>
                    </a:lnTo>
                    <a:lnTo>
                      <a:pt x="696" y="1007"/>
                    </a:lnTo>
                    <a:lnTo>
                      <a:pt x="699" y="939"/>
                    </a:lnTo>
                    <a:lnTo>
                      <a:pt x="708" y="871"/>
                    </a:lnTo>
                    <a:lnTo>
                      <a:pt x="725" y="807"/>
                    </a:lnTo>
                    <a:lnTo>
                      <a:pt x="747" y="745"/>
                    </a:lnTo>
                    <a:lnTo>
                      <a:pt x="776" y="686"/>
                    </a:lnTo>
                    <a:lnTo>
                      <a:pt x="809" y="631"/>
                    </a:lnTo>
                    <a:lnTo>
                      <a:pt x="847" y="578"/>
                    </a:lnTo>
                    <a:lnTo>
                      <a:pt x="890" y="531"/>
                    </a:lnTo>
                    <a:lnTo>
                      <a:pt x="937" y="488"/>
                    </a:lnTo>
                    <a:lnTo>
                      <a:pt x="989" y="449"/>
                    </a:lnTo>
                    <a:lnTo>
                      <a:pt x="1044" y="415"/>
                    </a:lnTo>
                    <a:lnTo>
                      <a:pt x="1102" y="386"/>
                    </a:lnTo>
                    <a:lnTo>
                      <a:pt x="1163" y="363"/>
                    </a:lnTo>
                    <a:lnTo>
                      <a:pt x="1227" y="347"/>
                    </a:lnTo>
                    <a:lnTo>
                      <a:pt x="1293" y="337"/>
                    </a:lnTo>
                    <a:lnTo>
                      <a:pt x="1361" y="333"/>
                    </a:lnTo>
                    <a:lnTo>
                      <a:pt x="1365" y="333"/>
                    </a:lnTo>
                    <a:lnTo>
                      <a:pt x="1429" y="337"/>
                    </a:lnTo>
                    <a:lnTo>
                      <a:pt x="1492" y="346"/>
                    </a:lnTo>
                    <a:lnTo>
                      <a:pt x="1554" y="362"/>
                    </a:lnTo>
                    <a:lnTo>
                      <a:pt x="1613" y="382"/>
                    </a:lnTo>
                    <a:lnTo>
                      <a:pt x="1671" y="410"/>
                    </a:lnTo>
                    <a:lnTo>
                      <a:pt x="1726" y="443"/>
                    </a:lnTo>
                    <a:lnTo>
                      <a:pt x="1776" y="481"/>
                    </a:lnTo>
                    <a:lnTo>
                      <a:pt x="1824" y="523"/>
                    </a:lnTo>
                    <a:lnTo>
                      <a:pt x="1865" y="568"/>
                    </a:lnTo>
                    <a:lnTo>
                      <a:pt x="1902" y="616"/>
                    </a:lnTo>
                    <a:lnTo>
                      <a:pt x="1933" y="665"/>
                    </a:lnTo>
                    <a:lnTo>
                      <a:pt x="1960" y="719"/>
                    </a:lnTo>
                    <a:lnTo>
                      <a:pt x="1983" y="773"/>
                    </a:lnTo>
                    <a:lnTo>
                      <a:pt x="2001" y="830"/>
                    </a:lnTo>
                    <a:lnTo>
                      <a:pt x="2014" y="888"/>
                    </a:lnTo>
                    <a:lnTo>
                      <a:pt x="2021" y="948"/>
                    </a:lnTo>
                    <a:lnTo>
                      <a:pt x="2023" y="1007"/>
                    </a:lnTo>
                    <a:lnTo>
                      <a:pt x="2023" y="1606"/>
                    </a:lnTo>
                    <a:lnTo>
                      <a:pt x="2199" y="1606"/>
                    </a:lnTo>
                    <a:lnTo>
                      <a:pt x="2199" y="1007"/>
                    </a:lnTo>
                    <a:lnTo>
                      <a:pt x="2197" y="940"/>
                    </a:lnTo>
                    <a:lnTo>
                      <a:pt x="2189" y="872"/>
                    </a:lnTo>
                    <a:lnTo>
                      <a:pt x="2176" y="806"/>
                    </a:lnTo>
                    <a:lnTo>
                      <a:pt x="2158" y="742"/>
                    </a:lnTo>
                    <a:lnTo>
                      <a:pt x="2135" y="679"/>
                    </a:lnTo>
                    <a:lnTo>
                      <a:pt x="2107" y="617"/>
                    </a:lnTo>
                    <a:lnTo>
                      <a:pt x="2075" y="559"/>
                    </a:lnTo>
                    <a:lnTo>
                      <a:pt x="2037" y="503"/>
                    </a:lnTo>
                    <a:lnTo>
                      <a:pt x="1995" y="450"/>
                    </a:lnTo>
                    <a:lnTo>
                      <a:pt x="1948" y="400"/>
                    </a:lnTo>
                    <a:lnTo>
                      <a:pt x="1894" y="350"/>
                    </a:lnTo>
                    <a:lnTo>
                      <a:pt x="1837" y="307"/>
                    </a:lnTo>
                    <a:lnTo>
                      <a:pt x="1775" y="268"/>
                    </a:lnTo>
                    <a:lnTo>
                      <a:pt x="1712" y="235"/>
                    </a:lnTo>
                    <a:lnTo>
                      <a:pt x="1644" y="207"/>
                    </a:lnTo>
                    <a:lnTo>
                      <a:pt x="1576" y="186"/>
                    </a:lnTo>
                    <a:lnTo>
                      <a:pt x="1506" y="171"/>
                    </a:lnTo>
                    <a:lnTo>
                      <a:pt x="1434" y="160"/>
                    </a:lnTo>
                    <a:lnTo>
                      <a:pt x="1361" y="158"/>
                    </a:lnTo>
                    <a:lnTo>
                      <a:pt x="1361" y="158"/>
                    </a:lnTo>
                    <a:close/>
                    <a:moveTo>
                      <a:pt x="1359" y="0"/>
                    </a:moveTo>
                    <a:lnTo>
                      <a:pt x="1372" y="0"/>
                    </a:lnTo>
                    <a:lnTo>
                      <a:pt x="1449" y="4"/>
                    </a:lnTo>
                    <a:lnTo>
                      <a:pt x="1525" y="13"/>
                    </a:lnTo>
                    <a:lnTo>
                      <a:pt x="1600" y="28"/>
                    </a:lnTo>
                    <a:lnTo>
                      <a:pt x="1673" y="48"/>
                    </a:lnTo>
                    <a:lnTo>
                      <a:pt x="1744" y="75"/>
                    </a:lnTo>
                    <a:lnTo>
                      <a:pt x="1813" y="107"/>
                    </a:lnTo>
                    <a:lnTo>
                      <a:pt x="1879" y="143"/>
                    </a:lnTo>
                    <a:lnTo>
                      <a:pt x="1942" y="187"/>
                    </a:lnTo>
                    <a:lnTo>
                      <a:pt x="2004" y="235"/>
                    </a:lnTo>
                    <a:lnTo>
                      <a:pt x="2061" y="287"/>
                    </a:lnTo>
                    <a:lnTo>
                      <a:pt x="2111" y="341"/>
                    </a:lnTo>
                    <a:lnTo>
                      <a:pt x="2157" y="397"/>
                    </a:lnTo>
                    <a:lnTo>
                      <a:pt x="2199" y="457"/>
                    </a:lnTo>
                    <a:lnTo>
                      <a:pt x="2236" y="520"/>
                    </a:lnTo>
                    <a:lnTo>
                      <a:pt x="2269" y="584"/>
                    </a:lnTo>
                    <a:lnTo>
                      <a:pt x="2297" y="651"/>
                    </a:lnTo>
                    <a:lnTo>
                      <a:pt x="2319" y="720"/>
                    </a:lnTo>
                    <a:lnTo>
                      <a:pt x="2338" y="790"/>
                    </a:lnTo>
                    <a:lnTo>
                      <a:pt x="2350" y="862"/>
                    </a:lnTo>
                    <a:lnTo>
                      <a:pt x="2357" y="934"/>
                    </a:lnTo>
                    <a:lnTo>
                      <a:pt x="2360" y="1007"/>
                    </a:lnTo>
                    <a:lnTo>
                      <a:pt x="2360" y="1606"/>
                    </a:lnTo>
                    <a:lnTo>
                      <a:pt x="2411" y="1615"/>
                    </a:lnTo>
                    <a:lnTo>
                      <a:pt x="2459" y="1630"/>
                    </a:lnTo>
                    <a:lnTo>
                      <a:pt x="2504" y="1650"/>
                    </a:lnTo>
                    <a:lnTo>
                      <a:pt x="2546" y="1675"/>
                    </a:lnTo>
                    <a:lnTo>
                      <a:pt x="2584" y="1706"/>
                    </a:lnTo>
                    <a:lnTo>
                      <a:pt x="2618" y="1741"/>
                    </a:lnTo>
                    <a:lnTo>
                      <a:pt x="2648" y="1780"/>
                    </a:lnTo>
                    <a:lnTo>
                      <a:pt x="2673" y="1821"/>
                    </a:lnTo>
                    <a:lnTo>
                      <a:pt x="2694" y="1867"/>
                    </a:lnTo>
                    <a:lnTo>
                      <a:pt x="2709" y="1913"/>
                    </a:lnTo>
                    <a:lnTo>
                      <a:pt x="2718" y="1964"/>
                    </a:lnTo>
                    <a:lnTo>
                      <a:pt x="2721" y="2015"/>
                    </a:lnTo>
                    <a:lnTo>
                      <a:pt x="2721" y="3357"/>
                    </a:lnTo>
                    <a:lnTo>
                      <a:pt x="2718" y="3410"/>
                    </a:lnTo>
                    <a:lnTo>
                      <a:pt x="2709" y="3459"/>
                    </a:lnTo>
                    <a:lnTo>
                      <a:pt x="2694" y="3507"/>
                    </a:lnTo>
                    <a:lnTo>
                      <a:pt x="2673" y="3553"/>
                    </a:lnTo>
                    <a:lnTo>
                      <a:pt x="2648" y="3594"/>
                    </a:lnTo>
                    <a:lnTo>
                      <a:pt x="2618" y="3633"/>
                    </a:lnTo>
                    <a:lnTo>
                      <a:pt x="2584" y="3669"/>
                    </a:lnTo>
                    <a:lnTo>
                      <a:pt x="2546" y="3698"/>
                    </a:lnTo>
                    <a:lnTo>
                      <a:pt x="2504" y="3725"/>
                    </a:lnTo>
                    <a:lnTo>
                      <a:pt x="2459" y="3745"/>
                    </a:lnTo>
                    <a:lnTo>
                      <a:pt x="2412" y="3761"/>
                    </a:lnTo>
                    <a:lnTo>
                      <a:pt x="2362" y="3771"/>
                    </a:lnTo>
                    <a:lnTo>
                      <a:pt x="2310" y="3774"/>
                    </a:lnTo>
                    <a:lnTo>
                      <a:pt x="411" y="3774"/>
                    </a:lnTo>
                    <a:lnTo>
                      <a:pt x="358" y="3771"/>
                    </a:lnTo>
                    <a:lnTo>
                      <a:pt x="309" y="3761"/>
                    </a:lnTo>
                    <a:lnTo>
                      <a:pt x="261" y="3745"/>
                    </a:lnTo>
                    <a:lnTo>
                      <a:pt x="216" y="3725"/>
                    </a:lnTo>
                    <a:lnTo>
                      <a:pt x="175" y="3698"/>
                    </a:lnTo>
                    <a:lnTo>
                      <a:pt x="137" y="3669"/>
                    </a:lnTo>
                    <a:lnTo>
                      <a:pt x="103" y="3633"/>
                    </a:lnTo>
                    <a:lnTo>
                      <a:pt x="73" y="3594"/>
                    </a:lnTo>
                    <a:lnTo>
                      <a:pt x="48" y="3553"/>
                    </a:lnTo>
                    <a:lnTo>
                      <a:pt x="27" y="3507"/>
                    </a:lnTo>
                    <a:lnTo>
                      <a:pt x="13" y="3459"/>
                    </a:lnTo>
                    <a:lnTo>
                      <a:pt x="3" y="3410"/>
                    </a:lnTo>
                    <a:lnTo>
                      <a:pt x="0" y="3357"/>
                    </a:lnTo>
                    <a:lnTo>
                      <a:pt x="0" y="2015"/>
                    </a:lnTo>
                    <a:lnTo>
                      <a:pt x="3" y="1964"/>
                    </a:lnTo>
                    <a:lnTo>
                      <a:pt x="13" y="1913"/>
                    </a:lnTo>
                    <a:lnTo>
                      <a:pt x="27" y="1865"/>
                    </a:lnTo>
                    <a:lnTo>
                      <a:pt x="47" y="1821"/>
                    </a:lnTo>
                    <a:lnTo>
                      <a:pt x="72" y="1778"/>
                    </a:lnTo>
                    <a:lnTo>
                      <a:pt x="102" y="1741"/>
                    </a:lnTo>
                    <a:lnTo>
                      <a:pt x="136" y="1706"/>
                    </a:lnTo>
                    <a:lnTo>
                      <a:pt x="174" y="1675"/>
                    </a:lnTo>
                    <a:lnTo>
                      <a:pt x="216" y="1650"/>
                    </a:lnTo>
                    <a:lnTo>
                      <a:pt x="261" y="1630"/>
                    </a:lnTo>
                    <a:lnTo>
                      <a:pt x="309" y="1615"/>
                    </a:lnTo>
                    <a:lnTo>
                      <a:pt x="360" y="1606"/>
                    </a:lnTo>
                    <a:lnTo>
                      <a:pt x="360" y="1007"/>
                    </a:lnTo>
                    <a:lnTo>
                      <a:pt x="363" y="925"/>
                    </a:lnTo>
                    <a:lnTo>
                      <a:pt x="373" y="845"/>
                    </a:lnTo>
                    <a:lnTo>
                      <a:pt x="389" y="766"/>
                    </a:lnTo>
                    <a:lnTo>
                      <a:pt x="411" y="690"/>
                    </a:lnTo>
                    <a:lnTo>
                      <a:pt x="438" y="616"/>
                    </a:lnTo>
                    <a:lnTo>
                      <a:pt x="471" y="545"/>
                    </a:lnTo>
                    <a:lnTo>
                      <a:pt x="510" y="477"/>
                    </a:lnTo>
                    <a:lnTo>
                      <a:pt x="553" y="413"/>
                    </a:lnTo>
                    <a:lnTo>
                      <a:pt x="601" y="353"/>
                    </a:lnTo>
                    <a:lnTo>
                      <a:pt x="653" y="297"/>
                    </a:lnTo>
                    <a:lnTo>
                      <a:pt x="709" y="244"/>
                    </a:lnTo>
                    <a:lnTo>
                      <a:pt x="769" y="196"/>
                    </a:lnTo>
                    <a:lnTo>
                      <a:pt x="833" y="152"/>
                    </a:lnTo>
                    <a:lnTo>
                      <a:pt x="901" y="114"/>
                    </a:lnTo>
                    <a:lnTo>
                      <a:pt x="970" y="80"/>
                    </a:lnTo>
                    <a:lnTo>
                      <a:pt x="1044" y="52"/>
                    </a:lnTo>
                    <a:lnTo>
                      <a:pt x="1119" y="30"/>
                    </a:lnTo>
                    <a:lnTo>
                      <a:pt x="1197" y="14"/>
                    </a:lnTo>
                    <a:lnTo>
                      <a:pt x="1277" y="4"/>
                    </a:lnTo>
                    <a:lnTo>
                      <a:pt x="1359" y="0"/>
                    </a:lnTo>
                    <a:close/>
                  </a:path>
                </a:pathLst>
              </a:custGeom>
              <a:solidFill>
                <a:schemeClr val="accent2"/>
              </a:solidFill>
              <a:ln w="12700">
                <a:solidFill>
                  <a:schemeClr val="accent2"/>
                </a:solid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sp>
            <p:nvSpPr>
              <p:cNvPr id="226" name="Freeform 24"/>
              <p:cNvSpPr>
                <a:spLocks noEditPoints="1"/>
              </p:cNvSpPr>
              <p:nvPr/>
            </p:nvSpPr>
            <p:spPr bwMode="auto">
              <a:xfrm>
                <a:off x="18367377" y="6176963"/>
                <a:ext cx="917575" cy="1379538"/>
              </a:xfrm>
              <a:custGeom>
                <a:avLst/>
                <a:gdLst>
                  <a:gd name="T0" fmla="*/ 260 w 578"/>
                  <a:gd name="T1" fmla="*/ 162 h 869"/>
                  <a:gd name="T2" fmla="*/ 208 w 578"/>
                  <a:gd name="T3" fmla="*/ 187 h 869"/>
                  <a:gd name="T4" fmla="*/ 173 w 578"/>
                  <a:gd name="T5" fmla="*/ 231 h 869"/>
                  <a:gd name="T6" fmla="*/ 160 w 578"/>
                  <a:gd name="T7" fmla="*/ 288 h 869"/>
                  <a:gd name="T8" fmla="*/ 173 w 578"/>
                  <a:gd name="T9" fmla="*/ 344 h 869"/>
                  <a:gd name="T10" fmla="*/ 208 w 578"/>
                  <a:gd name="T11" fmla="*/ 388 h 869"/>
                  <a:gd name="T12" fmla="*/ 260 w 578"/>
                  <a:gd name="T13" fmla="*/ 413 h 869"/>
                  <a:gd name="T14" fmla="*/ 318 w 578"/>
                  <a:gd name="T15" fmla="*/ 413 h 869"/>
                  <a:gd name="T16" fmla="*/ 370 w 578"/>
                  <a:gd name="T17" fmla="*/ 388 h 869"/>
                  <a:gd name="T18" fmla="*/ 405 w 578"/>
                  <a:gd name="T19" fmla="*/ 344 h 869"/>
                  <a:gd name="T20" fmla="*/ 418 w 578"/>
                  <a:gd name="T21" fmla="*/ 288 h 869"/>
                  <a:gd name="T22" fmla="*/ 405 w 578"/>
                  <a:gd name="T23" fmla="*/ 231 h 869"/>
                  <a:gd name="T24" fmla="*/ 370 w 578"/>
                  <a:gd name="T25" fmla="*/ 187 h 869"/>
                  <a:gd name="T26" fmla="*/ 318 w 578"/>
                  <a:gd name="T27" fmla="*/ 162 h 869"/>
                  <a:gd name="T28" fmla="*/ 290 w 578"/>
                  <a:gd name="T29" fmla="*/ 0 h 869"/>
                  <a:gd name="T30" fmla="*/ 372 w 578"/>
                  <a:gd name="T31" fmla="*/ 11 h 869"/>
                  <a:gd name="T32" fmla="*/ 446 w 578"/>
                  <a:gd name="T33" fmla="*/ 46 h 869"/>
                  <a:gd name="T34" fmla="*/ 507 w 578"/>
                  <a:gd name="T35" fmla="*/ 99 h 869"/>
                  <a:gd name="T36" fmla="*/ 552 w 578"/>
                  <a:gd name="T37" fmla="*/ 169 h 869"/>
                  <a:gd name="T38" fmla="*/ 574 w 578"/>
                  <a:gd name="T39" fmla="*/ 250 h 869"/>
                  <a:gd name="T40" fmla="*/ 574 w 578"/>
                  <a:gd name="T41" fmla="*/ 333 h 869"/>
                  <a:gd name="T42" fmla="*/ 550 w 578"/>
                  <a:gd name="T43" fmla="*/ 409 h 869"/>
                  <a:gd name="T44" fmla="*/ 507 w 578"/>
                  <a:gd name="T45" fmla="*/ 477 h 869"/>
                  <a:gd name="T46" fmla="*/ 445 w 578"/>
                  <a:gd name="T47" fmla="*/ 531 h 869"/>
                  <a:gd name="T48" fmla="*/ 369 w 578"/>
                  <a:gd name="T49" fmla="*/ 565 h 869"/>
                  <a:gd name="T50" fmla="*/ 366 w 578"/>
                  <a:gd name="T51" fmla="*/ 810 h 869"/>
                  <a:gd name="T52" fmla="*/ 346 w 578"/>
                  <a:gd name="T53" fmla="*/ 845 h 869"/>
                  <a:gd name="T54" fmla="*/ 310 w 578"/>
                  <a:gd name="T55" fmla="*/ 866 h 869"/>
                  <a:gd name="T56" fmla="*/ 268 w 578"/>
                  <a:gd name="T57" fmla="*/ 866 h 869"/>
                  <a:gd name="T58" fmla="*/ 232 w 578"/>
                  <a:gd name="T59" fmla="*/ 845 h 869"/>
                  <a:gd name="T60" fmla="*/ 212 w 578"/>
                  <a:gd name="T61" fmla="*/ 810 h 869"/>
                  <a:gd name="T62" fmla="*/ 209 w 578"/>
                  <a:gd name="T63" fmla="*/ 565 h 869"/>
                  <a:gd name="T64" fmla="*/ 133 w 578"/>
                  <a:gd name="T65" fmla="*/ 531 h 869"/>
                  <a:gd name="T66" fmla="*/ 71 w 578"/>
                  <a:gd name="T67" fmla="*/ 478 h 869"/>
                  <a:gd name="T68" fmla="*/ 26 w 578"/>
                  <a:gd name="T69" fmla="*/ 409 h 869"/>
                  <a:gd name="T70" fmla="*/ 3 w 578"/>
                  <a:gd name="T71" fmla="*/ 330 h 869"/>
                  <a:gd name="T72" fmla="*/ 3 w 578"/>
                  <a:gd name="T73" fmla="*/ 246 h 869"/>
                  <a:gd name="T74" fmla="*/ 28 w 578"/>
                  <a:gd name="T75" fmla="*/ 167 h 869"/>
                  <a:gd name="T76" fmla="*/ 71 w 578"/>
                  <a:gd name="T77" fmla="*/ 98 h 869"/>
                  <a:gd name="T78" fmla="*/ 132 w 578"/>
                  <a:gd name="T79" fmla="*/ 46 h 869"/>
                  <a:gd name="T80" fmla="*/ 206 w 578"/>
                  <a:gd name="T81" fmla="*/ 11 h 869"/>
                  <a:gd name="T82" fmla="*/ 290 w 578"/>
                  <a:gd name="T83"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8" h="869">
                    <a:moveTo>
                      <a:pt x="290" y="159"/>
                    </a:moveTo>
                    <a:lnTo>
                      <a:pt x="260" y="162"/>
                    </a:lnTo>
                    <a:lnTo>
                      <a:pt x="232" y="171"/>
                    </a:lnTo>
                    <a:lnTo>
                      <a:pt x="208" y="187"/>
                    </a:lnTo>
                    <a:lnTo>
                      <a:pt x="189" y="207"/>
                    </a:lnTo>
                    <a:lnTo>
                      <a:pt x="173" y="231"/>
                    </a:lnTo>
                    <a:lnTo>
                      <a:pt x="164" y="258"/>
                    </a:lnTo>
                    <a:lnTo>
                      <a:pt x="160" y="288"/>
                    </a:lnTo>
                    <a:lnTo>
                      <a:pt x="164" y="317"/>
                    </a:lnTo>
                    <a:lnTo>
                      <a:pt x="173" y="344"/>
                    </a:lnTo>
                    <a:lnTo>
                      <a:pt x="189" y="368"/>
                    </a:lnTo>
                    <a:lnTo>
                      <a:pt x="208" y="388"/>
                    </a:lnTo>
                    <a:lnTo>
                      <a:pt x="232" y="404"/>
                    </a:lnTo>
                    <a:lnTo>
                      <a:pt x="260" y="413"/>
                    </a:lnTo>
                    <a:lnTo>
                      <a:pt x="290" y="416"/>
                    </a:lnTo>
                    <a:lnTo>
                      <a:pt x="318" y="413"/>
                    </a:lnTo>
                    <a:lnTo>
                      <a:pt x="346" y="404"/>
                    </a:lnTo>
                    <a:lnTo>
                      <a:pt x="370" y="388"/>
                    </a:lnTo>
                    <a:lnTo>
                      <a:pt x="389" y="368"/>
                    </a:lnTo>
                    <a:lnTo>
                      <a:pt x="405" y="344"/>
                    </a:lnTo>
                    <a:lnTo>
                      <a:pt x="414" y="317"/>
                    </a:lnTo>
                    <a:lnTo>
                      <a:pt x="418" y="288"/>
                    </a:lnTo>
                    <a:lnTo>
                      <a:pt x="414" y="258"/>
                    </a:lnTo>
                    <a:lnTo>
                      <a:pt x="405" y="231"/>
                    </a:lnTo>
                    <a:lnTo>
                      <a:pt x="389" y="207"/>
                    </a:lnTo>
                    <a:lnTo>
                      <a:pt x="370" y="187"/>
                    </a:lnTo>
                    <a:lnTo>
                      <a:pt x="346" y="171"/>
                    </a:lnTo>
                    <a:lnTo>
                      <a:pt x="318" y="162"/>
                    </a:lnTo>
                    <a:lnTo>
                      <a:pt x="290" y="159"/>
                    </a:lnTo>
                    <a:close/>
                    <a:moveTo>
                      <a:pt x="290" y="0"/>
                    </a:moveTo>
                    <a:lnTo>
                      <a:pt x="331" y="3"/>
                    </a:lnTo>
                    <a:lnTo>
                      <a:pt x="372" y="11"/>
                    </a:lnTo>
                    <a:lnTo>
                      <a:pt x="410" y="26"/>
                    </a:lnTo>
                    <a:lnTo>
                      <a:pt x="446" y="46"/>
                    </a:lnTo>
                    <a:lnTo>
                      <a:pt x="478" y="71"/>
                    </a:lnTo>
                    <a:lnTo>
                      <a:pt x="507" y="99"/>
                    </a:lnTo>
                    <a:lnTo>
                      <a:pt x="531" y="133"/>
                    </a:lnTo>
                    <a:lnTo>
                      <a:pt x="552" y="169"/>
                    </a:lnTo>
                    <a:lnTo>
                      <a:pt x="565" y="208"/>
                    </a:lnTo>
                    <a:lnTo>
                      <a:pt x="574" y="250"/>
                    </a:lnTo>
                    <a:lnTo>
                      <a:pt x="578" y="292"/>
                    </a:lnTo>
                    <a:lnTo>
                      <a:pt x="574" y="333"/>
                    </a:lnTo>
                    <a:lnTo>
                      <a:pt x="565" y="372"/>
                    </a:lnTo>
                    <a:lnTo>
                      <a:pt x="550" y="409"/>
                    </a:lnTo>
                    <a:lnTo>
                      <a:pt x="531" y="445"/>
                    </a:lnTo>
                    <a:lnTo>
                      <a:pt x="507" y="477"/>
                    </a:lnTo>
                    <a:lnTo>
                      <a:pt x="478" y="506"/>
                    </a:lnTo>
                    <a:lnTo>
                      <a:pt x="445" y="531"/>
                    </a:lnTo>
                    <a:lnTo>
                      <a:pt x="409" y="550"/>
                    </a:lnTo>
                    <a:lnTo>
                      <a:pt x="369" y="565"/>
                    </a:lnTo>
                    <a:lnTo>
                      <a:pt x="369" y="789"/>
                    </a:lnTo>
                    <a:lnTo>
                      <a:pt x="366" y="810"/>
                    </a:lnTo>
                    <a:lnTo>
                      <a:pt x="358" y="829"/>
                    </a:lnTo>
                    <a:lnTo>
                      <a:pt x="346" y="845"/>
                    </a:lnTo>
                    <a:lnTo>
                      <a:pt x="330" y="858"/>
                    </a:lnTo>
                    <a:lnTo>
                      <a:pt x="310" y="866"/>
                    </a:lnTo>
                    <a:lnTo>
                      <a:pt x="290" y="869"/>
                    </a:lnTo>
                    <a:lnTo>
                      <a:pt x="268" y="866"/>
                    </a:lnTo>
                    <a:lnTo>
                      <a:pt x="248" y="858"/>
                    </a:lnTo>
                    <a:lnTo>
                      <a:pt x="232" y="845"/>
                    </a:lnTo>
                    <a:lnTo>
                      <a:pt x="220" y="829"/>
                    </a:lnTo>
                    <a:lnTo>
                      <a:pt x="212" y="810"/>
                    </a:lnTo>
                    <a:lnTo>
                      <a:pt x="209" y="789"/>
                    </a:lnTo>
                    <a:lnTo>
                      <a:pt x="209" y="565"/>
                    </a:lnTo>
                    <a:lnTo>
                      <a:pt x="169" y="550"/>
                    </a:lnTo>
                    <a:lnTo>
                      <a:pt x="133" y="531"/>
                    </a:lnTo>
                    <a:lnTo>
                      <a:pt x="100" y="507"/>
                    </a:lnTo>
                    <a:lnTo>
                      <a:pt x="71" y="478"/>
                    </a:lnTo>
                    <a:lnTo>
                      <a:pt x="47" y="445"/>
                    </a:lnTo>
                    <a:lnTo>
                      <a:pt x="26" y="409"/>
                    </a:lnTo>
                    <a:lnTo>
                      <a:pt x="13" y="372"/>
                    </a:lnTo>
                    <a:lnTo>
                      <a:pt x="3" y="330"/>
                    </a:lnTo>
                    <a:lnTo>
                      <a:pt x="0" y="288"/>
                    </a:lnTo>
                    <a:lnTo>
                      <a:pt x="3" y="246"/>
                    </a:lnTo>
                    <a:lnTo>
                      <a:pt x="13" y="205"/>
                    </a:lnTo>
                    <a:lnTo>
                      <a:pt x="28" y="167"/>
                    </a:lnTo>
                    <a:lnTo>
                      <a:pt x="47" y="131"/>
                    </a:lnTo>
                    <a:lnTo>
                      <a:pt x="71" y="98"/>
                    </a:lnTo>
                    <a:lnTo>
                      <a:pt x="100" y="71"/>
                    </a:lnTo>
                    <a:lnTo>
                      <a:pt x="132" y="46"/>
                    </a:lnTo>
                    <a:lnTo>
                      <a:pt x="167" y="26"/>
                    </a:lnTo>
                    <a:lnTo>
                      <a:pt x="206" y="11"/>
                    </a:lnTo>
                    <a:lnTo>
                      <a:pt x="246" y="3"/>
                    </a:lnTo>
                    <a:lnTo>
                      <a:pt x="290" y="0"/>
                    </a:lnTo>
                    <a:close/>
                  </a:path>
                </a:pathLst>
              </a:custGeom>
              <a:solidFill>
                <a:schemeClr val="accent2"/>
              </a:solidFill>
              <a:ln w="12700">
                <a:solidFill>
                  <a:schemeClr val="accent2"/>
                </a:solidFill>
                <a:prstDash val="solid"/>
                <a:round/>
                <a:headEnd/>
                <a:tailEnd/>
              </a:ln>
            </p:spPr>
            <p:txBody>
              <a:bodyPr vert="horz" wrap="square" lIns="48961" tIns="24481" rIns="48961" bIns="24481" numCol="1" anchor="t" anchorCtr="0" compatLnSpc="1">
                <a:prstTxWarp prst="textNoShape">
                  <a:avLst/>
                </a:prstTxWarp>
              </a:bodyPr>
              <a:lstStyle/>
              <a:p>
                <a:endParaRPr lang="en-US" sz="964">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34348437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ools</a:t>
            </a:r>
          </a:p>
        </p:txBody>
      </p:sp>
      <p:graphicFrame>
        <p:nvGraphicFramePr>
          <p:cNvPr id="3" name="Diagram 2"/>
          <p:cNvGraphicFramePr/>
          <p:nvPr>
            <p:extLst>
              <p:ext uri="{D42A27DB-BD31-4B8C-83A1-F6EECF244321}">
                <p14:modId xmlns:p14="http://schemas.microsoft.com/office/powerpoint/2010/main" val="2615182269"/>
              </p:ext>
            </p:extLst>
          </p:nvPr>
        </p:nvGraphicFramePr>
        <p:xfrm>
          <a:off x="234778" y="1198605"/>
          <a:ext cx="11714206"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354984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Measures</a:t>
            </a:r>
          </a:p>
        </p:txBody>
      </p:sp>
      <p:graphicFrame>
        <p:nvGraphicFramePr>
          <p:cNvPr id="6" name="Diagram 5"/>
          <p:cNvGraphicFramePr/>
          <p:nvPr>
            <p:extLst>
              <p:ext uri="{D42A27DB-BD31-4B8C-83A1-F6EECF244321}">
                <p14:modId xmlns:p14="http://schemas.microsoft.com/office/powerpoint/2010/main" val="1358689158"/>
              </p:ext>
            </p:extLst>
          </p:nvPr>
        </p:nvGraphicFramePr>
        <p:xfrm>
          <a:off x="1" y="1015444"/>
          <a:ext cx="11948984" cy="58425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65791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56A20-4743-4DE2-BF55-06BB80A8D3ED}"/>
              </a:ext>
            </a:extLst>
          </p:cNvPr>
          <p:cNvSpPr>
            <a:spLocks noGrp="1"/>
          </p:cNvSpPr>
          <p:nvPr>
            <p:ph type="title"/>
          </p:nvPr>
        </p:nvSpPr>
        <p:spPr>
          <a:xfrm>
            <a:off x="4250267" y="2589432"/>
            <a:ext cx="4584814" cy="1172372"/>
          </a:xfrm>
        </p:spPr>
        <p:txBody>
          <a:bodyPr/>
          <a:lstStyle/>
          <a:p>
            <a:r>
              <a:rPr lang="en-GB"/>
              <a:t>Security Operations</a:t>
            </a:r>
          </a:p>
        </p:txBody>
      </p:sp>
    </p:spTree>
    <p:extLst>
      <p:ext uri="{BB962C8B-B14F-4D97-AF65-F5344CB8AC3E}">
        <p14:creationId xmlns:p14="http://schemas.microsoft.com/office/powerpoint/2010/main" val="12754833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ole tekstowe 14"/>
          <p:cNvSpPr txBox="1"/>
          <p:nvPr/>
        </p:nvSpPr>
        <p:spPr>
          <a:xfrm>
            <a:off x="605656" y="3080399"/>
            <a:ext cx="3190875" cy="748988"/>
          </a:xfrm>
          <a:prstGeom prst="rect">
            <a:avLst/>
          </a:prstGeom>
          <a:noFill/>
        </p:spPr>
        <p:txBody>
          <a:bodyPr wrap="square" lIns="91440" tIns="45720" rIns="91440" bIns="45720" rtlCol="0">
            <a:spAutoFit/>
          </a:bodyPr>
          <a:lstStyle/>
          <a:p>
            <a:pPr algn="r"/>
            <a:r>
              <a:rPr lang="en-US" sz="4267" b="1">
                <a:solidFill>
                  <a:schemeClr val="bg1"/>
                </a:solidFill>
                <a:cs typeface="Arial" pitchFamily="34" charset="0"/>
              </a:rPr>
              <a:t>Thank You</a:t>
            </a:r>
            <a:endParaRPr lang="pl-PL" sz="4267" b="1">
              <a:solidFill>
                <a:schemeClr val="bg1"/>
              </a:solidFill>
              <a:cs typeface="Arial" pitchFamily="34" charset="0"/>
            </a:endParaRPr>
          </a:p>
        </p:txBody>
      </p:sp>
      <p:pic>
        <p:nvPicPr>
          <p:cNvPr id="3" name="Picture 2">
            <a:extLst>
              <a:ext uri="{FF2B5EF4-FFF2-40B4-BE49-F238E27FC236}">
                <a16:creationId xmlns:a16="http://schemas.microsoft.com/office/drawing/2014/main" id="{28BEC40C-6C0B-3944-87DD-FB21FB64231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1739" r="11739"/>
          <a:stretch/>
        </p:blipFill>
        <p:spPr>
          <a:xfrm>
            <a:off x="4519874" y="0"/>
            <a:ext cx="7672127" cy="6858000"/>
          </a:xfrm>
          <a:prstGeom prst="rect">
            <a:avLst/>
          </a:prstGeom>
        </p:spPr>
      </p:pic>
    </p:spTree>
    <p:extLst>
      <p:ext uri="{BB962C8B-B14F-4D97-AF65-F5344CB8AC3E}">
        <p14:creationId xmlns:p14="http://schemas.microsoft.com/office/powerpoint/2010/main" val="12828871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NBK Case study – Solution diagram</a:t>
            </a:r>
          </a:p>
        </p:txBody>
      </p:sp>
      <p:pic>
        <p:nvPicPr>
          <p:cNvPr id="6" name="Picture 5">
            <a:extLst>
              <a:ext uri="{FF2B5EF4-FFF2-40B4-BE49-F238E27FC236}">
                <a16:creationId xmlns:a16="http://schemas.microsoft.com/office/drawing/2014/main" id="{3414D018-9D9C-4C09-8A59-FDD6E3DEBA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73377" y="838344"/>
            <a:ext cx="6886217" cy="6019656"/>
          </a:xfrm>
          <a:prstGeom prst="rect">
            <a:avLst/>
          </a:prstGeom>
        </p:spPr>
      </p:pic>
    </p:spTree>
    <p:extLst>
      <p:ext uri="{BB962C8B-B14F-4D97-AF65-F5344CB8AC3E}">
        <p14:creationId xmlns:p14="http://schemas.microsoft.com/office/powerpoint/2010/main" val="843493251"/>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 Same Side Corner Rectangle 36"/>
          <p:cNvSpPr/>
          <p:nvPr/>
        </p:nvSpPr>
        <p:spPr>
          <a:xfrm>
            <a:off x="712188" y="3371952"/>
            <a:ext cx="10767626" cy="3482976"/>
          </a:xfrm>
          <a:prstGeom prst="round2SameRect">
            <a:avLst>
              <a:gd name="adj1" fmla="val 5926"/>
              <a:gd name="adj2" fmla="val 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p:cNvSpPr>
            <a:spLocks noGrp="1"/>
          </p:cNvSpPr>
          <p:nvPr>
            <p:ph type="title"/>
          </p:nvPr>
        </p:nvSpPr>
        <p:spPr>
          <a:xfrm>
            <a:off x="819209" y="508125"/>
            <a:ext cx="10334626" cy="469872"/>
          </a:xfrm>
        </p:spPr>
        <p:txBody>
          <a:bodyPr/>
          <a:lstStyle/>
          <a:p>
            <a:r>
              <a:rPr lang="en-US" sz="2800"/>
              <a:t>SOC Support Offerings for an USA-based Insurance Provider</a:t>
            </a:r>
          </a:p>
        </p:txBody>
      </p:sp>
      <p:grpSp>
        <p:nvGrpSpPr>
          <p:cNvPr id="11" name="Group 10"/>
          <p:cNvGrpSpPr/>
          <p:nvPr/>
        </p:nvGrpSpPr>
        <p:grpSpPr>
          <a:xfrm>
            <a:off x="407963" y="1178309"/>
            <a:ext cx="3569031" cy="2131280"/>
            <a:chOff x="790768" y="1845557"/>
            <a:chExt cx="5158681" cy="2810331"/>
          </a:xfrm>
        </p:grpSpPr>
        <p:grpSp>
          <p:nvGrpSpPr>
            <p:cNvPr id="3" name="Group 2">
              <a:extLst>
                <a:ext uri="{FF2B5EF4-FFF2-40B4-BE49-F238E27FC236}">
                  <a16:creationId xmlns:a16="http://schemas.microsoft.com/office/drawing/2014/main" id="{40DAFC85-4818-4482-88CF-94B528C345A3}"/>
                </a:ext>
              </a:extLst>
            </p:cNvPr>
            <p:cNvGrpSpPr/>
            <p:nvPr/>
          </p:nvGrpSpPr>
          <p:grpSpPr>
            <a:xfrm>
              <a:off x="790768" y="1932856"/>
              <a:ext cx="5158681" cy="2723032"/>
              <a:chOff x="4349750" y="2705101"/>
              <a:chExt cx="4417014" cy="2331540"/>
            </a:xfrm>
          </p:grpSpPr>
          <p:sp>
            <p:nvSpPr>
              <p:cNvPr id="4" name="Freeform 6">
                <a:extLst>
                  <a:ext uri="{FF2B5EF4-FFF2-40B4-BE49-F238E27FC236}">
                    <a16:creationId xmlns:a16="http://schemas.microsoft.com/office/drawing/2014/main" id="{7A792D7E-5CD3-47FF-A416-1D1456320B37}"/>
                  </a:ext>
                </a:extLst>
              </p:cNvPr>
              <p:cNvSpPr>
                <a:spLocks/>
              </p:cNvSpPr>
              <p:nvPr/>
            </p:nvSpPr>
            <p:spPr bwMode="auto">
              <a:xfrm>
                <a:off x="4525963" y="2719388"/>
                <a:ext cx="495300" cy="698500"/>
              </a:xfrm>
              <a:custGeom>
                <a:avLst/>
                <a:gdLst>
                  <a:gd name="T0" fmla="*/ 312 w 312"/>
                  <a:gd name="T1" fmla="*/ 38 h 440"/>
                  <a:gd name="T2" fmla="*/ 0 w 312"/>
                  <a:gd name="T3" fmla="*/ 0 h 440"/>
                  <a:gd name="T4" fmla="*/ 124 w 312"/>
                  <a:gd name="T5" fmla="*/ 440 h 440"/>
                  <a:gd name="T6" fmla="*/ 293 w 312"/>
                  <a:gd name="T7" fmla="*/ 307 h 440"/>
                  <a:gd name="T8" fmla="*/ 312 w 312"/>
                  <a:gd name="T9" fmla="*/ 38 h 440"/>
                </a:gdLst>
                <a:ahLst/>
                <a:cxnLst>
                  <a:cxn ang="0">
                    <a:pos x="T0" y="T1"/>
                  </a:cxn>
                  <a:cxn ang="0">
                    <a:pos x="T2" y="T3"/>
                  </a:cxn>
                  <a:cxn ang="0">
                    <a:pos x="T4" y="T5"/>
                  </a:cxn>
                  <a:cxn ang="0">
                    <a:pos x="T6" y="T7"/>
                  </a:cxn>
                  <a:cxn ang="0">
                    <a:pos x="T8" y="T9"/>
                  </a:cxn>
                </a:cxnLst>
                <a:rect l="0" t="0" r="r" b="b"/>
                <a:pathLst>
                  <a:path w="312" h="440">
                    <a:moveTo>
                      <a:pt x="312" y="38"/>
                    </a:moveTo>
                    <a:lnTo>
                      <a:pt x="0" y="0"/>
                    </a:lnTo>
                    <a:lnTo>
                      <a:pt x="124" y="440"/>
                    </a:lnTo>
                    <a:lnTo>
                      <a:pt x="293" y="307"/>
                    </a:lnTo>
                    <a:lnTo>
                      <a:pt x="312" y="38"/>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5" name="Freeform 7">
                <a:extLst>
                  <a:ext uri="{FF2B5EF4-FFF2-40B4-BE49-F238E27FC236}">
                    <a16:creationId xmlns:a16="http://schemas.microsoft.com/office/drawing/2014/main" id="{0B172320-5970-409E-AC36-20AA0C0761FB}"/>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 name="T8" fmla="*/ 0 w 606"/>
                  <a:gd name="T9" fmla="*/ 259 h 965"/>
                </a:gdLst>
                <a:ahLst/>
                <a:cxnLst>
                  <a:cxn ang="0">
                    <a:pos x="T0" y="T1"/>
                  </a:cxn>
                  <a:cxn ang="0">
                    <a:pos x="T2" y="T3"/>
                  </a:cxn>
                  <a:cxn ang="0">
                    <a:pos x="T4" y="T5"/>
                  </a:cxn>
                  <a:cxn ang="0">
                    <a:pos x="T6" y="T7"/>
                  </a:cxn>
                  <a:cxn ang="0">
                    <a:pos x="T8" y="T9"/>
                  </a:cxn>
                </a:cxnLst>
                <a:rect l="0" t="0" r="r" b="b"/>
                <a:pathLst>
                  <a:path w="606" h="965">
                    <a:moveTo>
                      <a:pt x="0" y="259"/>
                    </a:moveTo>
                    <a:lnTo>
                      <a:pt x="423" y="0"/>
                    </a:lnTo>
                    <a:lnTo>
                      <a:pt x="606" y="727"/>
                    </a:lnTo>
                    <a:lnTo>
                      <a:pt x="230" y="965"/>
                    </a:lnTo>
                    <a:lnTo>
                      <a:pt x="0" y="259"/>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6" name="Freeform 8">
                <a:extLst>
                  <a:ext uri="{FF2B5EF4-FFF2-40B4-BE49-F238E27FC236}">
                    <a16:creationId xmlns:a16="http://schemas.microsoft.com/office/drawing/2014/main" id="{AD033240-C1B8-491A-A42F-CE92C7B857EF}"/>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Lst>
                <a:ahLst/>
                <a:cxnLst>
                  <a:cxn ang="0">
                    <a:pos x="T0" y="T1"/>
                  </a:cxn>
                  <a:cxn ang="0">
                    <a:pos x="T2" y="T3"/>
                  </a:cxn>
                  <a:cxn ang="0">
                    <a:pos x="T4" y="T5"/>
                  </a:cxn>
                  <a:cxn ang="0">
                    <a:pos x="T6" y="T7"/>
                  </a:cxn>
                </a:cxnLst>
                <a:rect l="0" t="0" r="r" b="b"/>
                <a:pathLst>
                  <a:path w="606" h="965">
                    <a:moveTo>
                      <a:pt x="0" y="259"/>
                    </a:moveTo>
                    <a:lnTo>
                      <a:pt x="423" y="0"/>
                    </a:lnTo>
                    <a:lnTo>
                      <a:pt x="606" y="727"/>
                    </a:lnTo>
                    <a:lnTo>
                      <a:pt x="230" y="9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7" name="Freeform 9">
                <a:extLst>
                  <a:ext uri="{FF2B5EF4-FFF2-40B4-BE49-F238E27FC236}">
                    <a16:creationId xmlns:a16="http://schemas.microsoft.com/office/drawing/2014/main" id="{CF9B586F-B6F0-4672-BD10-26E233D3A39B}"/>
                  </a:ext>
                </a:extLst>
              </p:cNvPr>
              <p:cNvSpPr>
                <a:spLocks/>
              </p:cNvSpPr>
              <p:nvPr/>
            </p:nvSpPr>
            <p:spPr bwMode="auto">
              <a:xfrm>
                <a:off x="4349750" y="2705101"/>
                <a:ext cx="4417014" cy="2331540"/>
              </a:xfrm>
              <a:custGeom>
                <a:avLst/>
                <a:gdLst>
                  <a:gd name="T0" fmla="*/ 0 w 2341"/>
                  <a:gd name="T1" fmla="*/ 306 h 1033"/>
                  <a:gd name="T2" fmla="*/ 230 w 2341"/>
                  <a:gd name="T3" fmla="*/ 1012 h 1033"/>
                  <a:gd name="T4" fmla="*/ 2086 w 2341"/>
                  <a:gd name="T5" fmla="*/ 1033 h 1033"/>
                  <a:gd name="T6" fmla="*/ 2341 w 2341"/>
                  <a:gd name="T7" fmla="*/ 0 h 1033"/>
                  <a:gd name="T8" fmla="*/ 0 w 2341"/>
                  <a:gd name="T9" fmla="*/ 306 h 1033"/>
                  <a:gd name="connsiteX0" fmla="*/ 0 w 10000"/>
                  <a:gd name="connsiteY0" fmla="*/ 2962 h 10000"/>
                  <a:gd name="connsiteX1" fmla="*/ 831 w 10000"/>
                  <a:gd name="connsiteY1" fmla="*/ 9768 h 10000"/>
                  <a:gd name="connsiteX2" fmla="*/ 8911 w 10000"/>
                  <a:gd name="connsiteY2" fmla="*/ 10000 h 10000"/>
                  <a:gd name="connsiteX3" fmla="*/ 10000 w 10000"/>
                  <a:gd name="connsiteY3" fmla="*/ 0 h 10000"/>
                  <a:gd name="connsiteX4" fmla="*/ 0 w 10000"/>
                  <a:gd name="connsiteY4" fmla="*/ 296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2962"/>
                    </a:moveTo>
                    <a:lnTo>
                      <a:pt x="831" y="9768"/>
                    </a:lnTo>
                    <a:lnTo>
                      <a:pt x="8911" y="10000"/>
                    </a:lnTo>
                    <a:lnTo>
                      <a:pt x="10000" y="0"/>
                    </a:lnTo>
                    <a:lnTo>
                      <a:pt x="0" y="296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8" name="Rectangle 7"/>
            <p:cNvSpPr/>
            <p:nvPr/>
          </p:nvSpPr>
          <p:spPr>
            <a:xfrm>
              <a:off x="1204036" y="2709514"/>
              <a:ext cx="4367544" cy="1826271"/>
            </a:xfrm>
            <a:prstGeom prst="rect">
              <a:avLst/>
            </a:prstGeom>
          </p:spPr>
          <p:txBody>
            <a:bodyPr wrap="square">
              <a:spAutoFit/>
            </a:bodyPr>
            <a:lstStyle/>
            <a:p>
              <a:pPr>
                <a:buClr>
                  <a:srgbClr val="7030A0"/>
                </a:buClr>
                <a:defRPr/>
              </a:pPr>
              <a:r>
                <a:rPr lang="en-US" sz="1200" b="1">
                  <a:solidFill>
                    <a:schemeClr val="bg2"/>
                  </a:solidFill>
                  <a:latin typeface="Calibri" panose="020F0502020204030204" pitchFamily="34" charset="0"/>
                  <a:cs typeface="Calibri" panose="020F0502020204030204" pitchFamily="34" charset="0"/>
                </a:rPr>
                <a:t>Our customer offers a broad array of protection products through multiple brands and diverse distribution channels, including auto, home, life, and other insurance offered through its different brands. This customer offers more than 113 million proprietary policies across USA</a:t>
              </a:r>
              <a:r>
                <a:rPr lang="en-US" sz="1200">
                  <a:solidFill>
                    <a:schemeClr val="bg2"/>
                  </a:solidFill>
                  <a:latin typeface="Calibri" panose="020F0502020204030204" pitchFamily="34" charset="0"/>
                  <a:cs typeface="Calibri" panose="020F0502020204030204" pitchFamily="34" charset="0"/>
                </a:rPr>
                <a:t>.</a:t>
              </a:r>
            </a:p>
          </p:txBody>
        </p:sp>
        <p:sp>
          <p:nvSpPr>
            <p:cNvPr id="9" name="Rectangle 8"/>
            <p:cNvSpPr/>
            <p:nvPr/>
          </p:nvSpPr>
          <p:spPr>
            <a:xfrm rot="21229639">
              <a:off x="1640747" y="1845557"/>
              <a:ext cx="1583031" cy="477150"/>
            </a:xfrm>
            <a:prstGeom prst="rect">
              <a:avLst/>
            </a:prstGeom>
          </p:spPr>
          <p:txBody>
            <a:bodyPr wrap="none">
              <a:spAutoFit/>
            </a:bodyPr>
            <a:lstStyle/>
            <a:p>
              <a:r>
                <a:rPr lang="en-US" sz="1467" b="1">
                  <a:solidFill>
                    <a:schemeClr val="accent2">
                      <a:lumMod val="75000"/>
                    </a:schemeClr>
                  </a:solidFill>
                  <a:latin typeface="+mj-lt"/>
                  <a:cs typeface="Calibri" pitchFamily="34" charset="0"/>
                </a:rPr>
                <a:t>Customer: </a:t>
              </a:r>
              <a:endParaRPr lang="en-US" sz="1467">
                <a:solidFill>
                  <a:schemeClr val="accent2">
                    <a:lumMod val="75000"/>
                  </a:schemeClr>
                </a:solidFill>
                <a:latin typeface="+mj-lt"/>
              </a:endParaRPr>
            </a:p>
          </p:txBody>
        </p:sp>
      </p:grpSp>
      <p:grpSp>
        <p:nvGrpSpPr>
          <p:cNvPr id="12" name="Group 11"/>
          <p:cNvGrpSpPr/>
          <p:nvPr/>
        </p:nvGrpSpPr>
        <p:grpSpPr>
          <a:xfrm>
            <a:off x="4393326" y="1410038"/>
            <a:ext cx="3442655" cy="1367113"/>
            <a:chOff x="790768" y="1797431"/>
            <a:chExt cx="5163982" cy="2050669"/>
          </a:xfrm>
        </p:grpSpPr>
        <p:grpSp>
          <p:nvGrpSpPr>
            <p:cNvPr id="13" name="Group 12">
              <a:extLst>
                <a:ext uri="{FF2B5EF4-FFF2-40B4-BE49-F238E27FC236}">
                  <a16:creationId xmlns:a16="http://schemas.microsoft.com/office/drawing/2014/main" id="{40DAFC85-4818-4482-88CF-94B528C345A3}"/>
                </a:ext>
              </a:extLst>
            </p:cNvPr>
            <p:cNvGrpSpPr/>
            <p:nvPr/>
          </p:nvGrpSpPr>
          <p:grpSpPr>
            <a:xfrm>
              <a:off x="790768" y="1932856"/>
              <a:ext cx="5163982" cy="1915244"/>
              <a:chOff x="4349750" y="2705101"/>
              <a:chExt cx="4421553" cy="1639888"/>
            </a:xfrm>
          </p:grpSpPr>
          <p:sp>
            <p:nvSpPr>
              <p:cNvPr id="16" name="Freeform 6">
                <a:extLst>
                  <a:ext uri="{FF2B5EF4-FFF2-40B4-BE49-F238E27FC236}">
                    <a16:creationId xmlns:a16="http://schemas.microsoft.com/office/drawing/2014/main" id="{7A792D7E-5CD3-47FF-A416-1D1456320B37}"/>
                  </a:ext>
                </a:extLst>
              </p:cNvPr>
              <p:cNvSpPr>
                <a:spLocks/>
              </p:cNvSpPr>
              <p:nvPr/>
            </p:nvSpPr>
            <p:spPr bwMode="auto">
              <a:xfrm>
                <a:off x="4525963" y="2719388"/>
                <a:ext cx="495300" cy="698500"/>
              </a:xfrm>
              <a:custGeom>
                <a:avLst/>
                <a:gdLst>
                  <a:gd name="T0" fmla="*/ 312 w 312"/>
                  <a:gd name="T1" fmla="*/ 38 h 440"/>
                  <a:gd name="T2" fmla="*/ 0 w 312"/>
                  <a:gd name="T3" fmla="*/ 0 h 440"/>
                  <a:gd name="T4" fmla="*/ 124 w 312"/>
                  <a:gd name="T5" fmla="*/ 440 h 440"/>
                  <a:gd name="T6" fmla="*/ 293 w 312"/>
                  <a:gd name="T7" fmla="*/ 307 h 440"/>
                  <a:gd name="T8" fmla="*/ 312 w 312"/>
                  <a:gd name="T9" fmla="*/ 38 h 440"/>
                </a:gdLst>
                <a:ahLst/>
                <a:cxnLst>
                  <a:cxn ang="0">
                    <a:pos x="T0" y="T1"/>
                  </a:cxn>
                  <a:cxn ang="0">
                    <a:pos x="T2" y="T3"/>
                  </a:cxn>
                  <a:cxn ang="0">
                    <a:pos x="T4" y="T5"/>
                  </a:cxn>
                  <a:cxn ang="0">
                    <a:pos x="T6" y="T7"/>
                  </a:cxn>
                  <a:cxn ang="0">
                    <a:pos x="T8" y="T9"/>
                  </a:cxn>
                </a:cxnLst>
                <a:rect l="0" t="0" r="r" b="b"/>
                <a:pathLst>
                  <a:path w="312" h="440">
                    <a:moveTo>
                      <a:pt x="312" y="38"/>
                    </a:moveTo>
                    <a:lnTo>
                      <a:pt x="0" y="0"/>
                    </a:lnTo>
                    <a:lnTo>
                      <a:pt x="124" y="440"/>
                    </a:lnTo>
                    <a:lnTo>
                      <a:pt x="293" y="307"/>
                    </a:lnTo>
                    <a:lnTo>
                      <a:pt x="312" y="38"/>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7" name="Freeform 7">
                <a:extLst>
                  <a:ext uri="{FF2B5EF4-FFF2-40B4-BE49-F238E27FC236}">
                    <a16:creationId xmlns:a16="http://schemas.microsoft.com/office/drawing/2014/main" id="{0B172320-5970-409E-AC36-20AA0C0761FB}"/>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 name="T8" fmla="*/ 0 w 606"/>
                  <a:gd name="T9" fmla="*/ 259 h 965"/>
                </a:gdLst>
                <a:ahLst/>
                <a:cxnLst>
                  <a:cxn ang="0">
                    <a:pos x="T0" y="T1"/>
                  </a:cxn>
                  <a:cxn ang="0">
                    <a:pos x="T2" y="T3"/>
                  </a:cxn>
                  <a:cxn ang="0">
                    <a:pos x="T4" y="T5"/>
                  </a:cxn>
                  <a:cxn ang="0">
                    <a:pos x="T6" y="T7"/>
                  </a:cxn>
                  <a:cxn ang="0">
                    <a:pos x="T8" y="T9"/>
                  </a:cxn>
                </a:cxnLst>
                <a:rect l="0" t="0" r="r" b="b"/>
                <a:pathLst>
                  <a:path w="606" h="965">
                    <a:moveTo>
                      <a:pt x="0" y="259"/>
                    </a:moveTo>
                    <a:lnTo>
                      <a:pt x="423" y="0"/>
                    </a:lnTo>
                    <a:lnTo>
                      <a:pt x="606" y="727"/>
                    </a:lnTo>
                    <a:lnTo>
                      <a:pt x="230" y="965"/>
                    </a:lnTo>
                    <a:lnTo>
                      <a:pt x="0" y="259"/>
                    </a:ln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8" name="Freeform 8">
                <a:extLst>
                  <a:ext uri="{FF2B5EF4-FFF2-40B4-BE49-F238E27FC236}">
                    <a16:creationId xmlns:a16="http://schemas.microsoft.com/office/drawing/2014/main" id="{AD033240-C1B8-491A-A42F-CE92C7B857EF}"/>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Lst>
                <a:ahLst/>
                <a:cxnLst>
                  <a:cxn ang="0">
                    <a:pos x="T0" y="T1"/>
                  </a:cxn>
                  <a:cxn ang="0">
                    <a:pos x="T2" y="T3"/>
                  </a:cxn>
                  <a:cxn ang="0">
                    <a:pos x="T4" y="T5"/>
                  </a:cxn>
                  <a:cxn ang="0">
                    <a:pos x="T6" y="T7"/>
                  </a:cxn>
                </a:cxnLst>
                <a:rect l="0" t="0" r="r" b="b"/>
                <a:pathLst>
                  <a:path w="606" h="965">
                    <a:moveTo>
                      <a:pt x="0" y="259"/>
                    </a:moveTo>
                    <a:lnTo>
                      <a:pt x="423" y="0"/>
                    </a:lnTo>
                    <a:lnTo>
                      <a:pt x="606" y="727"/>
                    </a:lnTo>
                    <a:lnTo>
                      <a:pt x="230" y="9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19" name="Freeform 9">
                <a:extLst>
                  <a:ext uri="{FF2B5EF4-FFF2-40B4-BE49-F238E27FC236}">
                    <a16:creationId xmlns:a16="http://schemas.microsoft.com/office/drawing/2014/main" id="{CF9B586F-B6F0-4672-BD10-26E233D3A39B}"/>
                  </a:ext>
                </a:extLst>
              </p:cNvPr>
              <p:cNvSpPr>
                <a:spLocks/>
              </p:cNvSpPr>
              <p:nvPr/>
            </p:nvSpPr>
            <p:spPr bwMode="auto">
              <a:xfrm>
                <a:off x="4349750" y="2705101"/>
                <a:ext cx="4421553" cy="1639888"/>
              </a:xfrm>
              <a:custGeom>
                <a:avLst/>
                <a:gdLst>
                  <a:gd name="T0" fmla="*/ 0 w 2341"/>
                  <a:gd name="T1" fmla="*/ 306 h 1033"/>
                  <a:gd name="T2" fmla="*/ 230 w 2341"/>
                  <a:gd name="T3" fmla="*/ 1012 h 1033"/>
                  <a:gd name="T4" fmla="*/ 2086 w 2341"/>
                  <a:gd name="T5" fmla="*/ 1033 h 1033"/>
                  <a:gd name="T6" fmla="*/ 2341 w 2341"/>
                  <a:gd name="T7" fmla="*/ 0 h 1033"/>
                  <a:gd name="T8" fmla="*/ 0 w 2341"/>
                  <a:gd name="T9" fmla="*/ 306 h 1033"/>
                  <a:gd name="connsiteX0" fmla="*/ 0 w 10000"/>
                  <a:gd name="connsiteY0" fmla="*/ 2962 h 10000"/>
                  <a:gd name="connsiteX1" fmla="*/ 831 w 10000"/>
                  <a:gd name="connsiteY1" fmla="*/ 9768 h 10000"/>
                  <a:gd name="connsiteX2" fmla="*/ 8911 w 10000"/>
                  <a:gd name="connsiteY2" fmla="*/ 10000 h 10000"/>
                  <a:gd name="connsiteX3" fmla="*/ 10000 w 10000"/>
                  <a:gd name="connsiteY3" fmla="*/ 0 h 10000"/>
                  <a:gd name="connsiteX4" fmla="*/ 0 w 10000"/>
                  <a:gd name="connsiteY4" fmla="*/ 296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2962"/>
                    </a:moveTo>
                    <a:lnTo>
                      <a:pt x="831" y="9768"/>
                    </a:lnTo>
                    <a:lnTo>
                      <a:pt x="8911" y="10000"/>
                    </a:lnTo>
                    <a:lnTo>
                      <a:pt x="10000" y="0"/>
                    </a:lnTo>
                    <a:lnTo>
                      <a:pt x="0" y="296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14" name="Rectangle 13"/>
            <p:cNvSpPr/>
            <p:nvPr/>
          </p:nvSpPr>
          <p:spPr>
            <a:xfrm>
              <a:off x="1536935" y="2815011"/>
              <a:ext cx="3587515" cy="446181"/>
            </a:xfrm>
            <a:prstGeom prst="rect">
              <a:avLst/>
            </a:prstGeom>
          </p:spPr>
          <p:txBody>
            <a:bodyPr wrap="square">
              <a:spAutoFit/>
            </a:bodyPr>
            <a:lstStyle/>
            <a:p>
              <a:pPr>
                <a:buClr>
                  <a:srgbClr val="7030A0"/>
                </a:buClr>
                <a:defRPr/>
              </a:pPr>
              <a:r>
                <a:rPr lang="en-US" sz="1333" b="1">
                  <a:solidFill>
                    <a:schemeClr val="bg2"/>
                  </a:solidFill>
                  <a:latin typeface="+mj-lt"/>
                  <a:cs typeface="Calibri" pitchFamily="34" charset="0"/>
                </a:rPr>
                <a:t>B2B Enterprise Software ISV</a:t>
              </a:r>
            </a:p>
          </p:txBody>
        </p:sp>
        <p:sp>
          <p:nvSpPr>
            <p:cNvPr id="15" name="Rectangle 14"/>
            <p:cNvSpPr/>
            <p:nvPr/>
          </p:nvSpPr>
          <p:spPr>
            <a:xfrm rot="21229639">
              <a:off x="1716181" y="1797431"/>
              <a:ext cx="2234265" cy="477150"/>
            </a:xfrm>
            <a:prstGeom prst="rect">
              <a:avLst/>
            </a:prstGeom>
          </p:spPr>
          <p:txBody>
            <a:bodyPr wrap="none">
              <a:spAutoFit/>
            </a:bodyPr>
            <a:lstStyle/>
            <a:p>
              <a:r>
                <a:rPr lang="en-US" sz="1467" b="1">
                  <a:solidFill>
                    <a:schemeClr val="accent5"/>
                  </a:solidFill>
                  <a:latin typeface="+mj-lt"/>
                  <a:cs typeface="Calibri" pitchFamily="34" charset="0"/>
                </a:rPr>
                <a:t>Business Model: </a:t>
              </a:r>
              <a:endParaRPr lang="en-US" sz="1467">
                <a:solidFill>
                  <a:schemeClr val="accent5"/>
                </a:solidFill>
                <a:latin typeface="+mj-lt"/>
              </a:endParaRPr>
            </a:p>
          </p:txBody>
        </p:sp>
      </p:grpSp>
      <p:grpSp>
        <p:nvGrpSpPr>
          <p:cNvPr id="20" name="Group 19"/>
          <p:cNvGrpSpPr/>
          <p:nvPr/>
        </p:nvGrpSpPr>
        <p:grpSpPr>
          <a:xfrm>
            <a:off x="8248779" y="1442122"/>
            <a:ext cx="3442655" cy="1335029"/>
            <a:chOff x="790768" y="1845557"/>
            <a:chExt cx="5163982" cy="2002543"/>
          </a:xfrm>
        </p:grpSpPr>
        <p:grpSp>
          <p:nvGrpSpPr>
            <p:cNvPr id="21" name="Group 20">
              <a:extLst>
                <a:ext uri="{FF2B5EF4-FFF2-40B4-BE49-F238E27FC236}">
                  <a16:creationId xmlns:a16="http://schemas.microsoft.com/office/drawing/2014/main" id="{40DAFC85-4818-4482-88CF-94B528C345A3}"/>
                </a:ext>
              </a:extLst>
            </p:cNvPr>
            <p:cNvGrpSpPr/>
            <p:nvPr/>
          </p:nvGrpSpPr>
          <p:grpSpPr>
            <a:xfrm>
              <a:off x="790768" y="1932856"/>
              <a:ext cx="5163982" cy="1915244"/>
              <a:chOff x="4349750" y="2705101"/>
              <a:chExt cx="4421553" cy="1639888"/>
            </a:xfrm>
          </p:grpSpPr>
          <p:sp>
            <p:nvSpPr>
              <p:cNvPr id="24" name="Freeform 6">
                <a:extLst>
                  <a:ext uri="{FF2B5EF4-FFF2-40B4-BE49-F238E27FC236}">
                    <a16:creationId xmlns:a16="http://schemas.microsoft.com/office/drawing/2014/main" id="{7A792D7E-5CD3-47FF-A416-1D1456320B37}"/>
                  </a:ext>
                </a:extLst>
              </p:cNvPr>
              <p:cNvSpPr>
                <a:spLocks/>
              </p:cNvSpPr>
              <p:nvPr/>
            </p:nvSpPr>
            <p:spPr bwMode="auto">
              <a:xfrm>
                <a:off x="4525963" y="2719388"/>
                <a:ext cx="495300" cy="698500"/>
              </a:xfrm>
              <a:custGeom>
                <a:avLst/>
                <a:gdLst>
                  <a:gd name="T0" fmla="*/ 312 w 312"/>
                  <a:gd name="T1" fmla="*/ 38 h 440"/>
                  <a:gd name="T2" fmla="*/ 0 w 312"/>
                  <a:gd name="T3" fmla="*/ 0 h 440"/>
                  <a:gd name="T4" fmla="*/ 124 w 312"/>
                  <a:gd name="T5" fmla="*/ 440 h 440"/>
                  <a:gd name="T6" fmla="*/ 293 w 312"/>
                  <a:gd name="T7" fmla="*/ 307 h 440"/>
                  <a:gd name="T8" fmla="*/ 312 w 312"/>
                  <a:gd name="T9" fmla="*/ 38 h 440"/>
                </a:gdLst>
                <a:ahLst/>
                <a:cxnLst>
                  <a:cxn ang="0">
                    <a:pos x="T0" y="T1"/>
                  </a:cxn>
                  <a:cxn ang="0">
                    <a:pos x="T2" y="T3"/>
                  </a:cxn>
                  <a:cxn ang="0">
                    <a:pos x="T4" y="T5"/>
                  </a:cxn>
                  <a:cxn ang="0">
                    <a:pos x="T6" y="T7"/>
                  </a:cxn>
                  <a:cxn ang="0">
                    <a:pos x="T8" y="T9"/>
                  </a:cxn>
                </a:cxnLst>
                <a:rect l="0" t="0" r="r" b="b"/>
                <a:pathLst>
                  <a:path w="312" h="440">
                    <a:moveTo>
                      <a:pt x="312" y="38"/>
                    </a:moveTo>
                    <a:lnTo>
                      <a:pt x="0" y="0"/>
                    </a:lnTo>
                    <a:lnTo>
                      <a:pt x="124" y="440"/>
                    </a:lnTo>
                    <a:lnTo>
                      <a:pt x="293" y="307"/>
                    </a:lnTo>
                    <a:lnTo>
                      <a:pt x="312" y="38"/>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25" name="Freeform 7">
                <a:extLst>
                  <a:ext uri="{FF2B5EF4-FFF2-40B4-BE49-F238E27FC236}">
                    <a16:creationId xmlns:a16="http://schemas.microsoft.com/office/drawing/2014/main" id="{0B172320-5970-409E-AC36-20AA0C0761FB}"/>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 name="T8" fmla="*/ 0 w 606"/>
                  <a:gd name="T9" fmla="*/ 259 h 965"/>
                </a:gdLst>
                <a:ahLst/>
                <a:cxnLst>
                  <a:cxn ang="0">
                    <a:pos x="T0" y="T1"/>
                  </a:cxn>
                  <a:cxn ang="0">
                    <a:pos x="T2" y="T3"/>
                  </a:cxn>
                  <a:cxn ang="0">
                    <a:pos x="T4" y="T5"/>
                  </a:cxn>
                  <a:cxn ang="0">
                    <a:pos x="T6" y="T7"/>
                  </a:cxn>
                  <a:cxn ang="0">
                    <a:pos x="T8" y="T9"/>
                  </a:cxn>
                </a:cxnLst>
                <a:rect l="0" t="0" r="r" b="b"/>
                <a:pathLst>
                  <a:path w="606" h="965">
                    <a:moveTo>
                      <a:pt x="0" y="259"/>
                    </a:moveTo>
                    <a:lnTo>
                      <a:pt x="423" y="0"/>
                    </a:lnTo>
                    <a:lnTo>
                      <a:pt x="606" y="727"/>
                    </a:lnTo>
                    <a:lnTo>
                      <a:pt x="230" y="965"/>
                    </a:lnTo>
                    <a:lnTo>
                      <a:pt x="0" y="259"/>
                    </a:lnTo>
                    <a:close/>
                  </a:path>
                </a:pathLst>
              </a:custGeom>
              <a:solidFill>
                <a:schemeClr val="accent3">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26" name="Freeform 8">
                <a:extLst>
                  <a:ext uri="{FF2B5EF4-FFF2-40B4-BE49-F238E27FC236}">
                    <a16:creationId xmlns:a16="http://schemas.microsoft.com/office/drawing/2014/main" id="{AD033240-C1B8-491A-A42F-CE92C7B857EF}"/>
                  </a:ext>
                </a:extLst>
              </p:cNvPr>
              <p:cNvSpPr>
                <a:spLocks/>
              </p:cNvSpPr>
              <p:nvPr/>
            </p:nvSpPr>
            <p:spPr bwMode="auto">
              <a:xfrm>
                <a:off x="4349751" y="2779713"/>
                <a:ext cx="962025" cy="1531938"/>
              </a:xfrm>
              <a:custGeom>
                <a:avLst/>
                <a:gdLst>
                  <a:gd name="T0" fmla="*/ 0 w 606"/>
                  <a:gd name="T1" fmla="*/ 259 h 965"/>
                  <a:gd name="T2" fmla="*/ 423 w 606"/>
                  <a:gd name="T3" fmla="*/ 0 h 965"/>
                  <a:gd name="T4" fmla="*/ 606 w 606"/>
                  <a:gd name="T5" fmla="*/ 727 h 965"/>
                  <a:gd name="T6" fmla="*/ 230 w 606"/>
                  <a:gd name="T7" fmla="*/ 965 h 965"/>
                </a:gdLst>
                <a:ahLst/>
                <a:cxnLst>
                  <a:cxn ang="0">
                    <a:pos x="T0" y="T1"/>
                  </a:cxn>
                  <a:cxn ang="0">
                    <a:pos x="T2" y="T3"/>
                  </a:cxn>
                  <a:cxn ang="0">
                    <a:pos x="T4" y="T5"/>
                  </a:cxn>
                  <a:cxn ang="0">
                    <a:pos x="T6" y="T7"/>
                  </a:cxn>
                </a:cxnLst>
                <a:rect l="0" t="0" r="r" b="b"/>
                <a:pathLst>
                  <a:path w="606" h="965">
                    <a:moveTo>
                      <a:pt x="0" y="259"/>
                    </a:moveTo>
                    <a:lnTo>
                      <a:pt x="423" y="0"/>
                    </a:lnTo>
                    <a:lnTo>
                      <a:pt x="606" y="727"/>
                    </a:lnTo>
                    <a:lnTo>
                      <a:pt x="230" y="9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sp>
            <p:nvSpPr>
              <p:cNvPr id="27" name="Freeform 9">
                <a:extLst>
                  <a:ext uri="{FF2B5EF4-FFF2-40B4-BE49-F238E27FC236}">
                    <a16:creationId xmlns:a16="http://schemas.microsoft.com/office/drawing/2014/main" id="{CF9B586F-B6F0-4672-BD10-26E233D3A39B}"/>
                  </a:ext>
                </a:extLst>
              </p:cNvPr>
              <p:cNvSpPr>
                <a:spLocks/>
              </p:cNvSpPr>
              <p:nvPr/>
            </p:nvSpPr>
            <p:spPr bwMode="auto">
              <a:xfrm>
                <a:off x="4349750" y="2705101"/>
                <a:ext cx="4421553" cy="1639888"/>
              </a:xfrm>
              <a:custGeom>
                <a:avLst/>
                <a:gdLst>
                  <a:gd name="T0" fmla="*/ 0 w 2341"/>
                  <a:gd name="T1" fmla="*/ 306 h 1033"/>
                  <a:gd name="T2" fmla="*/ 230 w 2341"/>
                  <a:gd name="T3" fmla="*/ 1012 h 1033"/>
                  <a:gd name="T4" fmla="*/ 2086 w 2341"/>
                  <a:gd name="T5" fmla="*/ 1033 h 1033"/>
                  <a:gd name="T6" fmla="*/ 2341 w 2341"/>
                  <a:gd name="T7" fmla="*/ 0 h 1033"/>
                  <a:gd name="T8" fmla="*/ 0 w 2341"/>
                  <a:gd name="T9" fmla="*/ 306 h 1033"/>
                  <a:gd name="connsiteX0" fmla="*/ 0 w 10000"/>
                  <a:gd name="connsiteY0" fmla="*/ 2962 h 10000"/>
                  <a:gd name="connsiteX1" fmla="*/ 831 w 10000"/>
                  <a:gd name="connsiteY1" fmla="*/ 9768 h 10000"/>
                  <a:gd name="connsiteX2" fmla="*/ 8911 w 10000"/>
                  <a:gd name="connsiteY2" fmla="*/ 10000 h 10000"/>
                  <a:gd name="connsiteX3" fmla="*/ 10000 w 10000"/>
                  <a:gd name="connsiteY3" fmla="*/ 0 h 10000"/>
                  <a:gd name="connsiteX4" fmla="*/ 0 w 10000"/>
                  <a:gd name="connsiteY4" fmla="*/ 296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2962"/>
                    </a:moveTo>
                    <a:lnTo>
                      <a:pt x="831" y="9768"/>
                    </a:lnTo>
                    <a:lnTo>
                      <a:pt x="8911" y="10000"/>
                    </a:lnTo>
                    <a:lnTo>
                      <a:pt x="10000" y="0"/>
                    </a:lnTo>
                    <a:lnTo>
                      <a:pt x="0" y="296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IN" sz="1200"/>
              </a:p>
            </p:txBody>
          </p:sp>
        </p:grpSp>
        <p:sp>
          <p:nvSpPr>
            <p:cNvPr id="22" name="Rectangle 21"/>
            <p:cNvSpPr/>
            <p:nvPr/>
          </p:nvSpPr>
          <p:spPr>
            <a:xfrm>
              <a:off x="1536935" y="2863137"/>
              <a:ext cx="3587515" cy="446181"/>
            </a:xfrm>
            <a:prstGeom prst="rect">
              <a:avLst/>
            </a:prstGeom>
          </p:spPr>
          <p:txBody>
            <a:bodyPr wrap="square">
              <a:spAutoFit/>
            </a:bodyPr>
            <a:lstStyle/>
            <a:p>
              <a:pPr>
                <a:buClr>
                  <a:srgbClr val="7030A0"/>
                </a:buClr>
                <a:defRPr/>
              </a:pPr>
              <a:r>
                <a:rPr lang="en-US" sz="1333">
                  <a:solidFill>
                    <a:schemeClr val="bg2"/>
                  </a:solidFill>
                  <a:latin typeface="+mj-lt"/>
                  <a:cs typeface="Calibri" pitchFamily="34" charset="0"/>
                </a:rPr>
                <a:t>USD 4 Billion and above</a:t>
              </a:r>
            </a:p>
          </p:txBody>
        </p:sp>
        <p:sp>
          <p:nvSpPr>
            <p:cNvPr id="23" name="Rectangle 22"/>
            <p:cNvSpPr/>
            <p:nvPr/>
          </p:nvSpPr>
          <p:spPr>
            <a:xfrm rot="21229639">
              <a:off x="1717885" y="1845557"/>
              <a:ext cx="1428757" cy="477150"/>
            </a:xfrm>
            <a:prstGeom prst="rect">
              <a:avLst/>
            </a:prstGeom>
          </p:spPr>
          <p:txBody>
            <a:bodyPr wrap="none">
              <a:spAutoFit/>
            </a:bodyPr>
            <a:lstStyle/>
            <a:p>
              <a:r>
                <a:rPr lang="en-US" sz="1467" b="1">
                  <a:solidFill>
                    <a:schemeClr val="accent3"/>
                  </a:solidFill>
                  <a:latin typeface="+mj-lt"/>
                  <a:cs typeface="Calibri" pitchFamily="34" charset="0"/>
                </a:rPr>
                <a:t>Revenue :</a:t>
              </a:r>
              <a:endParaRPr lang="en-US" sz="1467">
                <a:solidFill>
                  <a:schemeClr val="accent3"/>
                </a:solidFill>
                <a:latin typeface="+mj-lt"/>
              </a:endParaRPr>
            </a:p>
          </p:txBody>
        </p:sp>
      </p:grpSp>
      <p:sp>
        <p:nvSpPr>
          <p:cNvPr id="30" name="Rectangle 29"/>
          <p:cNvSpPr/>
          <p:nvPr/>
        </p:nvSpPr>
        <p:spPr>
          <a:xfrm>
            <a:off x="2373394" y="3924539"/>
            <a:ext cx="7843185" cy="2336800"/>
          </a:xfrm>
          <a:prstGeom prst="rect">
            <a:avLst/>
          </a:prstGeom>
          <a:solidFill>
            <a:schemeClr val="bg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90500" indent="-190500">
              <a:spcBef>
                <a:spcPts val="400"/>
              </a:spcBef>
              <a:spcAft>
                <a:spcPts val="400"/>
              </a:spcAft>
              <a:buClr>
                <a:srgbClr val="7030A0"/>
              </a:buClr>
              <a:buFont typeface="Arial" pitchFamily="34" charset="0"/>
              <a:buChar char="•"/>
              <a:defRPr/>
            </a:pPr>
            <a:r>
              <a:rPr lang="en-US" sz="1200">
                <a:solidFill>
                  <a:schemeClr val="tx1"/>
                </a:solidFill>
                <a:cs typeface="Calibri" pitchFamily="34" charset="0"/>
              </a:rPr>
              <a:t>Large volume of False positive alerts</a:t>
            </a:r>
            <a:endParaRPr lang="en-US">
              <a:cs typeface="Segoe UI"/>
            </a:endParaRPr>
          </a:p>
          <a:p>
            <a:pPr marL="190500" indent="-190500">
              <a:spcBef>
                <a:spcPts val="400"/>
              </a:spcBef>
              <a:spcAft>
                <a:spcPts val="400"/>
              </a:spcAft>
              <a:buClr>
                <a:srgbClr val="7030A0"/>
              </a:buClr>
              <a:buFont typeface="Arial" pitchFamily="34" charset="0"/>
              <a:buChar char="•"/>
              <a:defRPr/>
            </a:pPr>
            <a:r>
              <a:rPr lang="en-US" sz="1200">
                <a:solidFill>
                  <a:schemeClr val="tx1"/>
                </a:solidFill>
                <a:cs typeface="Segoe UI"/>
              </a:rPr>
              <a:t>Lack of SIEM best practices and SOC Design</a:t>
            </a:r>
          </a:p>
          <a:p>
            <a:pPr marL="190500" indent="-190500">
              <a:spcBef>
                <a:spcPts val="400"/>
              </a:spcBef>
              <a:spcAft>
                <a:spcPts val="400"/>
              </a:spcAft>
              <a:buClr>
                <a:schemeClr val="accent4"/>
              </a:buClr>
              <a:buFont typeface="Arial" pitchFamily="34" charset="0"/>
              <a:buChar char="•"/>
              <a:defRPr/>
            </a:pPr>
            <a:r>
              <a:rPr lang="en-US" sz="1200">
                <a:solidFill>
                  <a:schemeClr val="tx1"/>
                </a:solidFill>
                <a:cs typeface="Calibri" pitchFamily="34" charset="0"/>
              </a:rPr>
              <a:t>24x7 Security Operations Support</a:t>
            </a:r>
          </a:p>
          <a:p>
            <a:pPr marL="190500" indent="-190500">
              <a:spcBef>
                <a:spcPts val="400"/>
              </a:spcBef>
              <a:spcAft>
                <a:spcPts val="400"/>
              </a:spcAft>
              <a:buClr>
                <a:schemeClr val="accent4"/>
              </a:buClr>
              <a:buFont typeface="Arial" pitchFamily="34" charset="0"/>
              <a:buChar char="•"/>
              <a:defRPr/>
            </a:pPr>
            <a:r>
              <a:rPr lang="en-US" sz="1200">
                <a:solidFill>
                  <a:schemeClr val="tx1"/>
                </a:solidFill>
                <a:cs typeface="Calibri" pitchFamily="34" charset="0"/>
              </a:rPr>
              <a:t>Delay in responding and remediating to threats</a:t>
            </a:r>
          </a:p>
          <a:p>
            <a:pPr marL="190500" indent="-190500">
              <a:spcBef>
                <a:spcPts val="400"/>
              </a:spcBef>
              <a:spcAft>
                <a:spcPts val="400"/>
              </a:spcAft>
              <a:buClr>
                <a:schemeClr val="accent4"/>
              </a:buClr>
              <a:buFont typeface="Arial" pitchFamily="34" charset="0"/>
              <a:buChar char="•"/>
              <a:defRPr/>
            </a:pPr>
            <a:r>
              <a:rPr lang="en-US" sz="1200">
                <a:solidFill>
                  <a:schemeClr val="tx1"/>
                </a:solidFill>
                <a:cs typeface="Calibri" pitchFamily="34" charset="0"/>
              </a:rPr>
              <a:t>Non- Compliance to PCI-DSS</a:t>
            </a:r>
            <a:endParaRPr lang="en-US" sz="1600">
              <a:solidFill>
                <a:schemeClr val="tx1"/>
              </a:solidFill>
              <a:cs typeface="Calibri" pitchFamily="34" charset="0"/>
            </a:endParaRPr>
          </a:p>
        </p:txBody>
      </p:sp>
      <p:sp>
        <p:nvSpPr>
          <p:cNvPr id="36" name="Rounded Rectangle 35"/>
          <p:cNvSpPr/>
          <p:nvPr/>
        </p:nvSpPr>
        <p:spPr>
          <a:xfrm>
            <a:off x="4463614" y="3309428"/>
            <a:ext cx="3264774" cy="406400"/>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33" b="1">
                <a:solidFill>
                  <a:schemeClr val="bg2"/>
                </a:solidFill>
                <a:latin typeface="+mj-lt"/>
              </a:rPr>
              <a:t>Challenges</a:t>
            </a:r>
            <a:endParaRPr lang="en-US" sz="2133">
              <a:solidFill>
                <a:schemeClr val="bg2"/>
              </a:solidFill>
              <a:latin typeface="+mj-lt"/>
            </a:endParaRPr>
          </a:p>
        </p:txBody>
      </p:sp>
      <p:sp>
        <p:nvSpPr>
          <p:cNvPr id="38" name="Google Shape;5170;p64"/>
          <p:cNvSpPr/>
          <p:nvPr/>
        </p:nvSpPr>
        <p:spPr>
          <a:xfrm>
            <a:off x="1583183" y="3900923"/>
            <a:ext cx="330284" cy="326359"/>
          </a:xfrm>
          <a:custGeom>
            <a:avLst/>
            <a:gdLst/>
            <a:ahLst/>
            <a:cxnLst/>
            <a:rect l="l" t="t" r="r" b="b"/>
            <a:pathLst>
              <a:path w="12877" h="12724" extrusionOk="0">
                <a:moveTo>
                  <a:pt x="10492" y="1603"/>
                </a:moveTo>
                <a:lnTo>
                  <a:pt x="10429" y="1855"/>
                </a:lnTo>
                <a:cubicBezTo>
                  <a:pt x="10429" y="1981"/>
                  <a:pt x="10492" y="2138"/>
                  <a:pt x="10555" y="2201"/>
                </a:cubicBezTo>
                <a:cubicBezTo>
                  <a:pt x="10649" y="2296"/>
                  <a:pt x="10807" y="2327"/>
                  <a:pt x="10901" y="2327"/>
                </a:cubicBezTo>
                <a:lnTo>
                  <a:pt x="11153" y="2296"/>
                </a:lnTo>
                <a:lnTo>
                  <a:pt x="10492" y="2957"/>
                </a:lnTo>
                <a:lnTo>
                  <a:pt x="9736" y="3083"/>
                </a:lnTo>
                <a:lnTo>
                  <a:pt x="9799" y="2296"/>
                </a:lnTo>
                <a:lnTo>
                  <a:pt x="10492" y="1603"/>
                </a:lnTo>
                <a:close/>
                <a:moveTo>
                  <a:pt x="6270" y="6108"/>
                </a:moveTo>
                <a:cubicBezTo>
                  <a:pt x="6396" y="6108"/>
                  <a:pt x="6459" y="6139"/>
                  <a:pt x="6554" y="6234"/>
                </a:cubicBezTo>
                <a:cubicBezTo>
                  <a:pt x="6617" y="6265"/>
                  <a:pt x="6648" y="6391"/>
                  <a:pt x="6648" y="6486"/>
                </a:cubicBezTo>
                <a:cubicBezTo>
                  <a:pt x="6648" y="6738"/>
                  <a:pt x="6459" y="6927"/>
                  <a:pt x="6270" y="6927"/>
                </a:cubicBezTo>
                <a:cubicBezTo>
                  <a:pt x="6081" y="6927"/>
                  <a:pt x="5861" y="6738"/>
                  <a:pt x="5861" y="6486"/>
                </a:cubicBezTo>
                <a:cubicBezTo>
                  <a:pt x="5861" y="6265"/>
                  <a:pt x="6081" y="6108"/>
                  <a:pt x="6270" y="6108"/>
                </a:cubicBezTo>
                <a:close/>
                <a:moveTo>
                  <a:pt x="6176" y="4375"/>
                </a:moveTo>
                <a:cubicBezTo>
                  <a:pt x="6617" y="4375"/>
                  <a:pt x="7026" y="4501"/>
                  <a:pt x="7341" y="4722"/>
                </a:cubicBezTo>
                <a:lnTo>
                  <a:pt x="6743" y="5320"/>
                </a:lnTo>
                <a:cubicBezTo>
                  <a:pt x="6617" y="5289"/>
                  <a:pt x="6428" y="5226"/>
                  <a:pt x="6239" y="5226"/>
                </a:cubicBezTo>
                <a:cubicBezTo>
                  <a:pt x="5546" y="5226"/>
                  <a:pt x="5010" y="5793"/>
                  <a:pt x="5010" y="6454"/>
                </a:cubicBezTo>
                <a:cubicBezTo>
                  <a:pt x="5010" y="7116"/>
                  <a:pt x="5546" y="7715"/>
                  <a:pt x="6239" y="7715"/>
                </a:cubicBezTo>
                <a:cubicBezTo>
                  <a:pt x="6900" y="7715"/>
                  <a:pt x="7467" y="7147"/>
                  <a:pt x="7467" y="6454"/>
                </a:cubicBezTo>
                <a:cubicBezTo>
                  <a:pt x="7467" y="6265"/>
                  <a:pt x="7404" y="6108"/>
                  <a:pt x="7341" y="5887"/>
                </a:cubicBezTo>
                <a:lnTo>
                  <a:pt x="7908" y="5320"/>
                </a:lnTo>
                <a:cubicBezTo>
                  <a:pt x="8160" y="5635"/>
                  <a:pt x="8286" y="6013"/>
                  <a:pt x="8286" y="6454"/>
                </a:cubicBezTo>
                <a:cubicBezTo>
                  <a:pt x="8286" y="7588"/>
                  <a:pt x="7341" y="8534"/>
                  <a:pt x="6176" y="8534"/>
                </a:cubicBezTo>
                <a:cubicBezTo>
                  <a:pt x="5041" y="8534"/>
                  <a:pt x="4096" y="7588"/>
                  <a:pt x="4096" y="6454"/>
                </a:cubicBezTo>
                <a:cubicBezTo>
                  <a:pt x="4096" y="5320"/>
                  <a:pt x="5041" y="4375"/>
                  <a:pt x="6176" y="4375"/>
                </a:cubicBezTo>
                <a:close/>
                <a:moveTo>
                  <a:pt x="6239" y="2800"/>
                </a:moveTo>
                <a:cubicBezTo>
                  <a:pt x="7089" y="2800"/>
                  <a:pt x="7908" y="3115"/>
                  <a:pt x="8539" y="3619"/>
                </a:cubicBezTo>
                <a:lnTo>
                  <a:pt x="7971" y="4217"/>
                </a:lnTo>
                <a:cubicBezTo>
                  <a:pt x="7499" y="3839"/>
                  <a:pt x="6869" y="3619"/>
                  <a:pt x="6239" y="3619"/>
                </a:cubicBezTo>
                <a:cubicBezTo>
                  <a:pt x="4600" y="3619"/>
                  <a:pt x="3309" y="4911"/>
                  <a:pt x="3309" y="6486"/>
                </a:cubicBezTo>
                <a:cubicBezTo>
                  <a:pt x="3309" y="8124"/>
                  <a:pt x="4632" y="9416"/>
                  <a:pt x="6239" y="9416"/>
                </a:cubicBezTo>
                <a:cubicBezTo>
                  <a:pt x="7845" y="9416"/>
                  <a:pt x="9137" y="8124"/>
                  <a:pt x="9137" y="6486"/>
                </a:cubicBezTo>
                <a:cubicBezTo>
                  <a:pt x="9137" y="5856"/>
                  <a:pt x="8948" y="5226"/>
                  <a:pt x="8539" y="4753"/>
                </a:cubicBezTo>
                <a:lnTo>
                  <a:pt x="9137" y="4154"/>
                </a:lnTo>
                <a:cubicBezTo>
                  <a:pt x="9641" y="4816"/>
                  <a:pt x="9956" y="5604"/>
                  <a:pt x="9956" y="6486"/>
                </a:cubicBezTo>
                <a:cubicBezTo>
                  <a:pt x="9956" y="8534"/>
                  <a:pt x="8318" y="10235"/>
                  <a:pt x="6239" y="10235"/>
                </a:cubicBezTo>
                <a:cubicBezTo>
                  <a:pt x="4191" y="10235"/>
                  <a:pt x="2490" y="8597"/>
                  <a:pt x="2490" y="6486"/>
                </a:cubicBezTo>
                <a:cubicBezTo>
                  <a:pt x="2490" y="4438"/>
                  <a:pt x="4128" y="2800"/>
                  <a:pt x="6239" y="2800"/>
                </a:cubicBezTo>
                <a:close/>
                <a:moveTo>
                  <a:pt x="6270" y="1130"/>
                </a:moveTo>
                <a:cubicBezTo>
                  <a:pt x="7247" y="1130"/>
                  <a:pt x="8223" y="1414"/>
                  <a:pt x="9074" y="1918"/>
                </a:cubicBezTo>
                <a:cubicBezTo>
                  <a:pt x="9074" y="1949"/>
                  <a:pt x="9011" y="2012"/>
                  <a:pt x="9011" y="2044"/>
                </a:cubicBezTo>
                <a:lnTo>
                  <a:pt x="8917" y="2831"/>
                </a:lnTo>
                <a:cubicBezTo>
                  <a:pt x="8160" y="2296"/>
                  <a:pt x="7247" y="1981"/>
                  <a:pt x="6270" y="1981"/>
                </a:cubicBezTo>
                <a:cubicBezTo>
                  <a:pt x="3750" y="1981"/>
                  <a:pt x="1733" y="4028"/>
                  <a:pt x="1733" y="6486"/>
                </a:cubicBezTo>
                <a:cubicBezTo>
                  <a:pt x="1733" y="9006"/>
                  <a:pt x="3781" y="11054"/>
                  <a:pt x="6270" y="11054"/>
                </a:cubicBezTo>
                <a:cubicBezTo>
                  <a:pt x="8759" y="11054"/>
                  <a:pt x="10807" y="9006"/>
                  <a:pt x="10807" y="6486"/>
                </a:cubicBezTo>
                <a:cubicBezTo>
                  <a:pt x="10807" y="5509"/>
                  <a:pt x="10492" y="4596"/>
                  <a:pt x="9925" y="3871"/>
                </a:cubicBezTo>
                <a:lnTo>
                  <a:pt x="10712" y="3745"/>
                </a:lnTo>
                <a:cubicBezTo>
                  <a:pt x="10744" y="3745"/>
                  <a:pt x="10807" y="3745"/>
                  <a:pt x="10838" y="3713"/>
                </a:cubicBezTo>
                <a:cubicBezTo>
                  <a:pt x="11342" y="4533"/>
                  <a:pt x="11626" y="5478"/>
                  <a:pt x="11626" y="6486"/>
                </a:cubicBezTo>
                <a:cubicBezTo>
                  <a:pt x="11626" y="9447"/>
                  <a:pt x="9232" y="11873"/>
                  <a:pt x="6270" y="11873"/>
                </a:cubicBezTo>
                <a:cubicBezTo>
                  <a:pt x="3309" y="11873"/>
                  <a:pt x="914" y="9479"/>
                  <a:pt x="914" y="6486"/>
                </a:cubicBezTo>
                <a:cubicBezTo>
                  <a:pt x="914" y="3524"/>
                  <a:pt x="3309" y="1130"/>
                  <a:pt x="6270" y="1130"/>
                </a:cubicBezTo>
                <a:close/>
                <a:moveTo>
                  <a:pt x="11030" y="0"/>
                </a:moveTo>
                <a:cubicBezTo>
                  <a:pt x="10930" y="0"/>
                  <a:pt x="10829" y="37"/>
                  <a:pt x="10744" y="122"/>
                </a:cubicBezTo>
                <a:lnTo>
                  <a:pt x="9610" y="1256"/>
                </a:lnTo>
                <a:cubicBezTo>
                  <a:pt x="8602" y="594"/>
                  <a:pt x="7467" y="279"/>
                  <a:pt x="6239" y="279"/>
                </a:cubicBezTo>
                <a:cubicBezTo>
                  <a:pt x="2805" y="279"/>
                  <a:pt x="1" y="3020"/>
                  <a:pt x="1" y="6486"/>
                </a:cubicBezTo>
                <a:cubicBezTo>
                  <a:pt x="1" y="9920"/>
                  <a:pt x="2773" y="12724"/>
                  <a:pt x="6239" y="12724"/>
                </a:cubicBezTo>
                <a:cubicBezTo>
                  <a:pt x="9641" y="12724"/>
                  <a:pt x="12445" y="9951"/>
                  <a:pt x="12445" y="6486"/>
                </a:cubicBezTo>
                <a:cubicBezTo>
                  <a:pt x="12445" y="5289"/>
                  <a:pt x="12099" y="4123"/>
                  <a:pt x="11468" y="3115"/>
                </a:cubicBezTo>
                <a:lnTo>
                  <a:pt x="12603" y="1981"/>
                </a:lnTo>
                <a:cubicBezTo>
                  <a:pt x="12877" y="1706"/>
                  <a:pt x="12650" y="1255"/>
                  <a:pt x="12292" y="1255"/>
                </a:cubicBezTo>
                <a:cubicBezTo>
                  <a:pt x="12280" y="1255"/>
                  <a:pt x="12268" y="1255"/>
                  <a:pt x="12256" y="1256"/>
                </a:cubicBezTo>
                <a:lnTo>
                  <a:pt x="11342" y="1382"/>
                </a:lnTo>
                <a:lnTo>
                  <a:pt x="11468" y="468"/>
                </a:lnTo>
                <a:cubicBezTo>
                  <a:pt x="11491" y="203"/>
                  <a:pt x="11265" y="0"/>
                  <a:pt x="11030" y="0"/>
                </a:cubicBezTo>
                <a:close/>
              </a:path>
            </a:pathLst>
          </a:custGeom>
          <a:solidFill>
            <a:schemeClr val="bg2"/>
          </a:solidFill>
          <a:ln>
            <a:noFill/>
          </a:ln>
        </p:spPr>
        <p:txBody>
          <a:bodyPr spcFirstLastPara="1" wrap="square" lIns="60950" tIns="60950" rIns="60950" bIns="60950" anchor="ctr" anchorCtr="0">
            <a:noAutofit/>
          </a:bodyPr>
          <a:lstStyle/>
          <a:p>
            <a:endParaRPr sz="1200"/>
          </a:p>
        </p:txBody>
      </p:sp>
      <p:grpSp>
        <p:nvGrpSpPr>
          <p:cNvPr id="42" name="Google Shape;5338;p64"/>
          <p:cNvGrpSpPr/>
          <p:nvPr/>
        </p:nvGrpSpPr>
        <p:grpSpPr>
          <a:xfrm>
            <a:off x="11161502" y="1698162"/>
            <a:ext cx="256518" cy="254065"/>
            <a:chOff x="-59889100" y="2671925"/>
            <a:chExt cx="319000" cy="315950"/>
          </a:xfrm>
          <a:solidFill>
            <a:schemeClr val="bg2"/>
          </a:solidFill>
        </p:grpSpPr>
        <p:sp>
          <p:nvSpPr>
            <p:cNvPr id="43" name="Google Shape;5339;p64"/>
            <p:cNvSpPr/>
            <p:nvPr/>
          </p:nvSpPr>
          <p:spPr>
            <a:xfrm>
              <a:off x="-59889100" y="2672000"/>
              <a:ext cx="149675" cy="256025"/>
            </a:xfrm>
            <a:custGeom>
              <a:avLst/>
              <a:gdLst/>
              <a:ahLst/>
              <a:cxnLst/>
              <a:rect l="l" t="t" r="r" b="b"/>
              <a:pathLst>
                <a:path w="5987" h="10241" extrusionOk="0">
                  <a:moveTo>
                    <a:pt x="5073" y="946"/>
                  </a:moveTo>
                  <a:lnTo>
                    <a:pt x="5073" y="2647"/>
                  </a:lnTo>
                  <a:lnTo>
                    <a:pt x="5104" y="2647"/>
                  </a:lnTo>
                  <a:cubicBezTo>
                    <a:pt x="3623" y="3151"/>
                    <a:pt x="2489" y="4569"/>
                    <a:pt x="2489" y="6302"/>
                  </a:cubicBezTo>
                  <a:cubicBezTo>
                    <a:pt x="2489" y="6900"/>
                    <a:pt x="2647" y="7499"/>
                    <a:pt x="2867" y="8034"/>
                  </a:cubicBezTo>
                  <a:lnTo>
                    <a:pt x="1639" y="9263"/>
                  </a:lnTo>
                  <a:cubicBezTo>
                    <a:pt x="1103" y="8381"/>
                    <a:pt x="788" y="7373"/>
                    <a:pt x="788" y="6302"/>
                  </a:cubicBezTo>
                  <a:cubicBezTo>
                    <a:pt x="788" y="3750"/>
                    <a:pt x="2584" y="1513"/>
                    <a:pt x="5073" y="946"/>
                  </a:cubicBezTo>
                  <a:close/>
                  <a:moveTo>
                    <a:pt x="5482" y="1"/>
                  </a:moveTo>
                  <a:cubicBezTo>
                    <a:pt x="2395" y="442"/>
                    <a:pt x="0" y="3088"/>
                    <a:pt x="0" y="6270"/>
                  </a:cubicBezTo>
                  <a:cubicBezTo>
                    <a:pt x="0" y="7688"/>
                    <a:pt x="441" y="8979"/>
                    <a:pt x="1292" y="10082"/>
                  </a:cubicBezTo>
                  <a:cubicBezTo>
                    <a:pt x="1377" y="10184"/>
                    <a:pt x="1500" y="10241"/>
                    <a:pt x="1624" y="10241"/>
                  </a:cubicBezTo>
                  <a:cubicBezTo>
                    <a:pt x="1729" y="10241"/>
                    <a:pt x="1835" y="10200"/>
                    <a:pt x="1922" y="10114"/>
                  </a:cubicBezTo>
                  <a:lnTo>
                    <a:pt x="3718" y="8349"/>
                  </a:lnTo>
                  <a:cubicBezTo>
                    <a:pt x="3812" y="8223"/>
                    <a:pt x="3844" y="8003"/>
                    <a:pt x="3781" y="7845"/>
                  </a:cubicBezTo>
                  <a:cubicBezTo>
                    <a:pt x="3497" y="7373"/>
                    <a:pt x="3340" y="6806"/>
                    <a:pt x="3340" y="6270"/>
                  </a:cubicBezTo>
                  <a:cubicBezTo>
                    <a:pt x="3340" y="4884"/>
                    <a:pt x="4285" y="3655"/>
                    <a:pt x="5671" y="3309"/>
                  </a:cubicBezTo>
                  <a:cubicBezTo>
                    <a:pt x="5860" y="3277"/>
                    <a:pt x="5986" y="3120"/>
                    <a:pt x="5986" y="2899"/>
                  </a:cubicBezTo>
                  <a:lnTo>
                    <a:pt x="5986" y="379"/>
                  </a:lnTo>
                  <a:cubicBezTo>
                    <a:pt x="5955" y="190"/>
                    <a:pt x="5703" y="1"/>
                    <a:pt x="5482" y="1"/>
                  </a:cubicBezTo>
                  <a:close/>
                </a:path>
              </a:pathLst>
            </a:custGeom>
            <a:grpFill/>
            <a:ln>
              <a:noFill/>
            </a:ln>
          </p:spPr>
          <p:txBody>
            <a:bodyPr spcFirstLastPara="1" wrap="square" lIns="60950" tIns="60950" rIns="60950" bIns="60950" anchor="ctr" anchorCtr="0">
              <a:noAutofit/>
            </a:bodyPr>
            <a:lstStyle/>
            <a:p>
              <a:endParaRPr sz="1200"/>
            </a:p>
          </p:txBody>
        </p:sp>
        <p:sp>
          <p:nvSpPr>
            <p:cNvPr id="44" name="Google Shape;5340;p64"/>
            <p:cNvSpPr/>
            <p:nvPr/>
          </p:nvSpPr>
          <p:spPr>
            <a:xfrm>
              <a:off x="-59830825" y="2892525"/>
              <a:ext cx="201650" cy="95350"/>
            </a:xfrm>
            <a:custGeom>
              <a:avLst/>
              <a:gdLst/>
              <a:ahLst/>
              <a:cxnLst/>
              <a:rect l="l" t="t" r="r" b="b"/>
              <a:pathLst>
                <a:path w="8066" h="3814" extrusionOk="0">
                  <a:moveTo>
                    <a:pt x="5735" y="946"/>
                  </a:moveTo>
                  <a:lnTo>
                    <a:pt x="6963" y="2175"/>
                  </a:lnTo>
                  <a:cubicBezTo>
                    <a:pt x="6113" y="2710"/>
                    <a:pt x="5073" y="2994"/>
                    <a:pt x="4065" y="2994"/>
                  </a:cubicBezTo>
                  <a:cubicBezTo>
                    <a:pt x="3025" y="2994"/>
                    <a:pt x="2017" y="2710"/>
                    <a:pt x="1135" y="2175"/>
                  </a:cubicBezTo>
                  <a:lnTo>
                    <a:pt x="2364" y="946"/>
                  </a:lnTo>
                  <a:cubicBezTo>
                    <a:pt x="2868" y="1198"/>
                    <a:pt x="3466" y="1356"/>
                    <a:pt x="4065" y="1356"/>
                  </a:cubicBezTo>
                  <a:cubicBezTo>
                    <a:pt x="4600" y="1356"/>
                    <a:pt x="5199" y="1198"/>
                    <a:pt x="5735" y="946"/>
                  </a:cubicBezTo>
                  <a:close/>
                  <a:moveTo>
                    <a:pt x="5758" y="1"/>
                  </a:moveTo>
                  <a:cubicBezTo>
                    <a:pt x="5693" y="1"/>
                    <a:pt x="5630" y="11"/>
                    <a:pt x="5577" y="32"/>
                  </a:cubicBezTo>
                  <a:cubicBezTo>
                    <a:pt x="5105" y="316"/>
                    <a:pt x="4569" y="474"/>
                    <a:pt x="4002" y="474"/>
                  </a:cubicBezTo>
                  <a:cubicBezTo>
                    <a:pt x="3956" y="476"/>
                    <a:pt x="3911" y="478"/>
                    <a:pt x="3865" y="478"/>
                  </a:cubicBezTo>
                  <a:cubicBezTo>
                    <a:pt x="3376" y="478"/>
                    <a:pt x="2890" y="326"/>
                    <a:pt x="2458" y="95"/>
                  </a:cubicBezTo>
                  <a:cubicBezTo>
                    <a:pt x="2389" y="54"/>
                    <a:pt x="2315" y="31"/>
                    <a:pt x="2239" y="31"/>
                  </a:cubicBezTo>
                  <a:cubicBezTo>
                    <a:pt x="2142" y="31"/>
                    <a:pt x="2043" y="70"/>
                    <a:pt x="1954" y="158"/>
                  </a:cubicBezTo>
                  <a:lnTo>
                    <a:pt x="190" y="1923"/>
                  </a:lnTo>
                  <a:cubicBezTo>
                    <a:pt x="1" y="2143"/>
                    <a:pt x="32" y="2395"/>
                    <a:pt x="221" y="2553"/>
                  </a:cubicBezTo>
                  <a:cubicBezTo>
                    <a:pt x="1324" y="3403"/>
                    <a:pt x="2616" y="3813"/>
                    <a:pt x="4002" y="3813"/>
                  </a:cubicBezTo>
                  <a:cubicBezTo>
                    <a:pt x="5388" y="3813"/>
                    <a:pt x="6711" y="3403"/>
                    <a:pt x="7814" y="2521"/>
                  </a:cubicBezTo>
                  <a:cubicBezTo>
                    <a:pt x="8035" y="2364"/>
                    <a:pt x="8066" y="2080"/>
                    <a:pt x="7877" y="1891"/>
                  </a:cubicBezTo>
                  <a:lnTo>
                    <a:pt x="6113" y="127"/>
                  </a:lnTo>
                  <a:cubicBezTo>
                    <a:pt x="6029" y="43"/>
                    <a:pt x="5889" y="1"/>
                    <a:pt x="5758" y="1"/>
                  </a:cubicBezTo>
                  <a:close/>
                </a:path>
              </a:pathLst>
            </a:custGeom>
            <a:grpFill/>
            <a:ln>
              <a:noFill/>
            </a:ln>
          </p:spPr>
          <p:txBody>
            <a:bodyPr spcFirstLastPara="1" wrap="square" lIns="60950" tIns="60950" rIns="60950" bIns="60950" anchor="ctr" anchorCtr="0">
              <a:noAutofit/>
            </a:bodyPr>
            <a:lstStyle/>
            <a:p>
              <a:endParaRPr sz="1200"/>
            </a:p>
          </p:txBody>
        </p:sp>
        <p:sp>
          <p:nvSpPr>
            <p:cNvPr id="45" name="Google Shape;5341;p64"/>
            <p:cNvSpPr/>
            <p:nvPr/>
          </p:nvSpPr>
          <p:spPr>
            <a:xfrm>
              <a:off x="-59719775" y="2671925"/>
              <a:ext cx="149675" cy="256425"/>
            </a:xfrm>
            <a:custGeom>
              <a:avLst/>
              <a:gdLst/>
              <a:ahLst/>
              <a:cxnLst/>
              <a:rect l="l" t="t" r="r" b="b"/>
              <a:pathLst>
                <a:path w="5987" h="10257" extrusionOk="0">
                  <a:moveTo>
                    <a:pt x="820" y="917"/>
                  </a:moveTo>
                  <a:cubicBezTo>
                    <a:pt x="3309" y="1453"/>
                    <a:pt x="5105" y="3690"/>
                    <a:pt x="5105" y="6273"/>
                  </a:cubicBezTo>
                  <a:cubicBezTo>
                    <a:pt x="5073" y="7344"/>
                    <a:pt x="4790" y="8352"/>
                    <a:pt x="4254" y="9235"/>
                  </a:cubicBezTo>
                  <a:lnTo>
                    <a:pt x="3025" y="8006"/>
                  </a:lnTo>
                  <a:cubicBezTo>
                    <a:pt x="3309" y="7502"/>
                    <a:pt x="3435" y="6903"/>
                    <a:pt x="3435" y="6305"/>
                  </a:cubicBezTo>
                  <a:cubicBezTo>
                    <a:pt x="3435" y="4572"/>
                    <a:pt x="2332" y="3154"/>
                    <a:pt x="820" y="2650"/>
                  </a:cubicBezTo>
                  <a:lnTo>
                    <a:pt x="820" y="917"/>
                  </a:lnTo>
                  <a:close/>
                  <a:moveTo>
                    <a:pt x="419" y="0"/>
                  </a:moveTo>
                  <a:cubicBezTo>
                    <a:pt x="190" y="0"/>
                    <a:pt x="1" y="180"/>
                    <a:pt x="1" y="413"/>
                  </a:cubicBezTo>
                  <a:lnTo>
                    <a:pt x="1" y="2934"/>
                  </a:lnTo>
                  <a:cubicBezTo>
                    <a:pt x="1" y="3123"/>
                    <a:pt x="127" y="3280"/>
                    <a:pt x="316" y="3312"/>
                  </a:cubicBezTo>
                  <a:cubicBezTo>
                    <a:pt x="1639" y="3658"/>
                    <a:pt x="2647" y="4855"/>
                    <a:pt x="2647" y="6273"/>
                  </a:cubicBezTo>
                  <a:cubicBezTo>
                    <a:pt x="2647" y="6809"/>
                    <a:pt x="2490" y="7376"/>
                    <a:pt x="2206" y="7848"/>
                  </a:cubicBezTo>
                  <a:cubicBezTo>
                    <a:pt x="2080" y="8006"/>
                    <a:pt x="2112" y="8195"/>
                    <a:pt x="2269" y="8352"/>
                  </a:cubicBezTo>
                  <a:lnTo>
                    <a:pt x="4065" y="10117"/>
                  </a:lnTo>
                  <a:cubicBezTo>
                    <a:pt x="4149" y="10214"/>
                    <a:pt x="4251" y="10257"/>
                    <a:pt x="4353" y="10257"/>
                  </a:cubicBezTo>
                  <a:cubicBezTo>
                    <a:pt x="4481" y="10257"/>
                    <a:pt x="4608" y="10190"/>
                    <a:pt x="4695" y="10085"/>
                  </a:cubicBezTo>
                  <a:cubicBezTo>
                    <a:pt x="5514" y="8982"/>
                    <a:pt x="5987" y="7659"/>
                    <a:pt x="5987" y="6273"/>
                  </a:cubicBezTo>
                  <a:cubicBezTo>
                    <a:pt x="5892" y="3123"/>
                    <a:pt x="3529" y="445"/>
                    <a:pt x="474" y="4"/>
                  </a:cubicBezTo>
                  <a:cubicBezTo>
                    <a:pt x="455" y="1"/>
                    <a:pt x="437" y="0"/>
                    <a:pt x="419" y="0"/>
                  </a:cubicBezTo>
                  <a:close/>
                </a:path>
              </a:pathLst>
            </a:custGeom>
            <a:grpFill/>
            <a:ln>
              <a:noFill/>
            </a:ln>
          </p:spPr>
          <p:txBody>
            <a:bodyPr spcFirstLastPara="1" wrap="square" lIns="60950" tIns="60950" rIns="60950" bIns="60950" anchor="ctr" anchorCtr="0">
              <a:noAutofit/>
            </a:bodyPr>
            <a:lstStyle/>
            <a:p>
              <a:endParaRPr sz="1200"/>
            </a:p>
          </p:txBody>
        </p:sp>
        <p:sp>
          <p:nvSpPr>
            <p:cNvPr id="46" name="Google Shape;5342;p64"/>
            <p:cNvSpPr/>
            <p:nvPr/>
          </p:nvSpPr>
          <p:spPr>
            <a:xfrm>
              <a:off x="-59762300" y="2757075"/>
              <a:ext cx="63025" cy="145725"/>
            </a:xfrm>
            <a:custGeom>
              <a:avLst/>
              <a:gdLst/>
              <a:ahLst/>
              <a:cxnLst/>
              <a:rect l="l" t="t" r="r" b="b"/>
              <a:pathLst>
                <a:path w="2521" h="5829" extrusionOk="0">
                  <a:moveTo>
                    <a:pt x="1261" y="0"/>
                  </a:moveTo>
                  <a:cubicBezTo>
                    <a:pt x="1040" y="0"/>
                    <a:pt x="820" y="189"/>
                    <a:pt x="820" y="378"/>
                  </a:cubicBezTo>
                  <a:lnTo>
                    <a:pt x="820" y="662"/>
                  </a:lnTo>
                  <a:cubicBezTo>
                    <a:pt x="347" y="819"/>
                    <a:pt x="1" y="1292"/>
                    <a:pt x="1" y="1827"/>
                  </a:cubicBezTo>
                  <a:cubicBezTo>
                    <a:pt x="1" y="2521"/>
                    <a:pt x="568" y="2899"/>
                    <a:pt x="977" y="3214"/>
                  </a:cubicBezTo>
                  <a:cubicBezTo>
                    <a:pt x="1292" y="3466"/>
                    <a:pt x="1670" y="3686"/>
                    <a:pt x="1670" y="3938"/>
                  </a:cubicBezTo>
                  <a:cubicBezTo>
                    <a:pt x="1670" y="4159"/>
                    <a:pt x="1450" y="4348"/>
                    <a:pt x="1261" y="4348"/>
                  </a:cubicBezTo>
                  <a:cubicBezTo>
                    <a:pt x="1072" y="4348"/>
                    <a:pt x="820" y="4159"/>
                    <a:pt x="820" y="3938"/>
                  </a:cubicBezTo>
                  <a:cubicBezTo>
                    <a:pt x="820" y="3686"/>
                    <a:pt x="631" y="3497"/>
                    <a:pt x="442" y="3497"/>
                  </a:cubicBezTo>
                  <a:cubicBezTo>
                    <a:pt x="253" y="3497"/>
                    <a:pt x="32" y="3686"/>
                    <a:pt x="32" y="3938"/>
                  </a:cubicBezTo>
                  <a:cubicBezTo>
                    <a:pt x="32" y="4474"/>
                    <a:pt x="410" y="4915"/>
                    <a:pt x="883" y="5104"/>
                  </a:cubicBezTo>
                  <a:lnTo>
                    <a:pt x="883" y="5387"/>
                  </a:lnTo>
                  <a:cubicBezTo>
                    <a:pt x="883" y="5608"/>
                    <a:pt x="1072" y="5829"/>
                    <a:pt x="1292" y="5829"/>
                  </a:cubicBezTo>
                  <a:cubicBezTo>
                    <a:pt x="1544" y="5829"/>
                    <a:pt x="1702" y="5608"/>
                    <a:pt x="1702" y="5387"/>
                  </a:cubicBezTo>
                  <a:lnTo>
                    <a:pt x="1702" y="5104"/>
                  </a:lnTo>
                  <a:cubicBezTo>
                    <a:pt x="2175" y="4946"/>
                    <a:pt x="2521" y="4474"/>
                    <a:pt x="2521" y="3938"/>
                  </a:cubicBezTo>
                  <a:cubicBezTo>
                    <a:pt x="2521" y="3245"/>
                    <a:pt x="1985" y="2867"/>
                    <a:pt x="1544" y="2552"/>
                  </a:cubicBezTo>
                  <a:cubicBezTo>
                    <a:pt x="1229" y="2300"/>
                    <a:pt x="883" y="2079"/>
                    <a:pt x="883" y="1827"/>
                  </a:cubicBezTo>
                  <a:cubicBezTo>
                    <a:pt x="883" y="1607"/>
                    <a:pt x="1072" y="1418"/>
                    <a:pt x="1292" y="1418"/>
                  </a:cubicBezTo>
                  <a:cubicBezTo>
                    <a:pt x="1544" y="1418"/>
                    <a:pt x="1702" y="1607"/>
                    <a:pt x="1702" y="1827"/>
                  </a:cubicBezTo>
                  <a:cubicBezTo>
                    <a:pt x="1702" y="2079"/>
                    <a:pt x="1891" y="2268"/>
                    <a:pt x="2143" y="2268"/>
                  </a:cubicBezTo>
                  <a:cubicBezTo>
                    <a:pt x="2364" y="2268"/>
                    <a:pt x="2521" y="2079"/>
                    <a:pt x="2521" y="1827"/>
                  </a:cubicBezTo>
                  <a:cubicBezTo>
                    <a:pt x="2521" y="1292"/>
                    <a:pt x="2175" y="851"/>
                    <a:pt x="1702" y="662"/>
                  </a:cubicBezTo>
                  <a:lnTo>
                    <a:pt x="1702" y="378"/>
                  </a:lnTo>
                  <a:cubicBezTo>
                    <a:pt x="1702" y="189"/>
                    <a:pt x="1513" y="0"/>
                    <a:pt x="1261" y="0"/>
                  </a:cubicBezTo>
                  <a:close/>
                </a:path>
              </a:pathLst>
            </a:custGeom>
            <a:grpFill/>
            <a:ln>
              <a:noFill/>
            </a:ln>
          </p:spPr>
          <p:txBody>
            <a:bodyPr spcFirstLastPara="1" wrap="square" lIns="60950" tIns="60950" rIns="60950" bIns="60950" anchor="ctr" anchorCtr="0">
              <a:noAutofit/>
            </a:bodyPr>
            <a:lstStyle/>
            <a:p>
              <a:endParaRPr sz="1200"/>
            </a:p>
          </p:txBody>
        </p:sp>
      </p:grpSp>
      <p:grpSp>
        <p:nvGrpSpPr>
          <p:cNvPr id="47" name="Google Shape;5228;p64"/>
          <p:cNvGrpSpPr/>
          <p:nvPr/>
        </p:nvGrpSpPr>
        <p:grpSpPr>
          <a:xfrm>
            <a:off x="3470671" y="1639069"/>
            <a:ext cx="256518" cy="255131"/>
            <a:chOff x="-64401400" y="1914475"/>
            <a:chExt cx="319000" cy="317275"/>
          </a:xfrm>
          <a:solidFill>
            <a:schemeClr val="bg2"/>
          </a:solidFill>
        </p:grpSpPr>
        <p:sp>
          <p:nvSpPr>
            <p:cNvPr id="48" name="Google Shape;5229;p64"/>
            <p:cNvSpPr/>
            <p:nvPr/>
          </p:nvSpPr>
          <p:spPr>
            <a:xfrm>
              <a:off x="-64401400" y="1914475"/>
              <a:ext cx="319000" cy="317275"/>
            </a:xfrm>
            <a:custGeom>
              <a:avLst/>
              <a:gdLst/>
              <a:ahLst/>
              <a:cxnLst/>
              <a:rect l="l" t="t" r="r" b="b"/>
              <a:pathLst>
                <a:path w="12760" h="12691" extrusionOk="0">
                  <a:moveTo>
                    <a:pt x="4726" y="1317"/>
                  </a:moveTo>
                  <a:lnTo>
                    <a:pt x="4726" y="2703"/>
                  </a:lnTo>
                  <a:cubicBezTo>
                    <a:pt x="4663" y="2735"/>
                    <a:pt x="4600" y="2829"/>
                    <a:pt x="4569" y="2861"/>
                  </a:cubicBezTo>
                  <a:lnTo>
                    <a:pt x="4065" y="3554"/>
                  </a:lnTo>
                  <a:cubicBezTo>
                    <a:pt x="3970" y="3176"/>
                    <a:pt x="3907" y="2703"/>
                    <a:pt x="3907" y="2388"/>
                  </a:cubicBezTo>
                  <a:cubicBezTo>
                    <a:pt x="3876" y="1947"/>
                    <a:pt x="3970" y="1632"/>
                    <a:pt x="4222" y="1475"/>
                  </a:cubicBezTo>
                  <a:cubicBezTo>
                    <a:pt x="4348" y="1349"/>
                    <a:pt x="4537" y="1317"/>
                    <a:pt x="4726" y="1317"/>
                  </a:cubicBezTo>
                  <a:close/>
                  <a:moveTo>
                    <a:pt x="7046" y="813"/>
                  </a:moveTo>
                  <a:cubicBezTo>
                    <a:pt x="7507" y="813"/>
                    <a:pt x="7937" y="916"/>
                    <a:pt x="8286" y="1128"/>
                  </a:cubicBezTo>
                  <a:cubicBezTo>
                    <a:pt x="8759" y="1412"/>
                    <a:pt x="8979" y="1821"/>
                    <a:pt x="8948" y="2420"/>
                  </a:cubicBezTo>
                  <a:cubicBezTo>
                    <a:pt x="8948" y="2703"/>
                    <a:pt x="8853" y="3113"/>
                    <a:pt x="8790" y="3554"/>
                  </a:cubicBezTo>
                  <a:lnTo>
                    <a:pt x="8286" y="2861"/>
                  </a:lnTo>
                  <a:cubicBezTo>
                    <a:pt x="8066" y="2609"/>
                    <a:pt x="7814" y="2451"/>
                    <a:pt x="7499" y="2451"/>
                  </a:cubicBezTo>
                  <a:lnTo>
                    <a:pt x="5514" y="2451"/>
                  </a:lnTo>
                  <a:lnTo>
                    <a:pt x="5514" y="1160"/>
                  </a:lnTo>
                  <a:cubicBezTo>
                    <a:pt x="6020" y="931"/>
                    <a:pt x="6551" y="813"/>
                    <a:pt x="7046" y="813"/>
                  </a:cubicBezTo>
                  <a:close/>
                  <a:moveTo>
                    <a:pt x="7530" y="3334"/>
                  </a:moveTo>
                  <a:cubicBezTo>
                    <a:pt x="7562" y="3334"/>
                    <a:pt x="7593" y="3365"/>
                    <a:pt x="7656" y="3365"/>
                  </a:cubicBezTo>
                  <a:lnTo>
                    <a:pt x="8601" y="4657"/>
                  </a:lnTo>
                  <a:cubicBezTo>
                    <a:pt x="8444" y="5917"/>
                    <a:pt x="7688" y="7177"/>
                    <a:pt x="6427" y="7177"/>
                  </a:cubicBezTo>
                  <a:cubicBezTo>
                    <a:pt x="5167" y="7177"/>
                    <a:pt x="4411" y="5980"/>
                    <a:pt x="4254" y="4657"/>
                  </a:cubicBezTo>
                  <a:lnTo>
                    <a:pt x="5199" y="3365"/>
                  </a:lnTo>
                  <a:cubicBezTo>
                    <a:pt x="5230" y="3334"/>
                    <a:pt x="5293" y="3334"/>
                    <a:pt x="5325" y="3334"/>
                  </a:cubicBezTo>
                  <a:close/>
                  <a:moveTo>
                    <a:pt x="5199" y="7681"/>
                  </a:moveTo>
                  <a:cubicBezTo>
                    <a:pt x="5608" y="7902"/>
                    <a:pt x="5986" y="8028"/>
                    <a:pt x="6427" y="8028"/>
                  </a:cubicBezTo>
                  <a:cubicBezTo>
                    <a:pt x="6869" y="8028"/>
                    <a:pt x="7310" y="7902"/>
                    <a:pt x="7688" y="7713"/>
                  </a:cubicBezTo>
                  <a:lnTo>
                    <a:pt x="7688" y="7807"/>
                  </a:lnTo>
                  <a:cubicBezTo>
                    <a:pt x="7688" y="8028"/>
                    <a:pt x="7719" y="8185"/>
                    <a:pt x="7814" y="8343"/>
                  </a:cubicBezTo>
                  <a:lnTo>
                    <a:pt x="6427" y="9634"/>
                  </a:lnTo>
                  <a:lnTo>
                    <a:pt x="5073" y="8280"/>
                  </a:lnTo>
                  <a:cubicBezTo>
                    <a:pt x="5167" y="8122"/>
                    <a:pt x="5199" y="7965"/>
                    <a:pt x="5199" y="7776"/>
                  </a:cubicBezTo>
                  <a:lnTo>
                    <a:pt x="5199" y="7681"/>
                  </a:lnTo>
                  <a:close/>
                  <a:moveTo>
                    <a:pt x="4537" y="8878"/>
                  </a:moveTo>
                  <a:lnTo>
                    <a:pt x="5829" y="10170"/>
                  </a:lnTo>
                  <a:lnTo>
                    <a:pt x="5230" y="10769"/>
                  </a:lnTo>
                  <a:lnTo>
                    <a:pt x="4065" y="9036"/>
                  </a:lnTo>
                  <a:cubicBezTo>
                    <a:pt x="4222" y="9036"/>
                    <a:pt x="4380" y="9004"/>
                    <a:pt x="4537" y="8878"/>
                  </a:cubicBezTo>
                  <a:close/>
                  <a:moveTo>
                    <a:pt x="8318" y="8878"/>
                  </a:moveTo>
                  <a:cubicBezTo>
                    <a:pt x="8475" y="8973"/>
                    <a:pt x="8633" y="9036"/>
                    <a:pt x="8790" y="9036"/>
                  </a:cubicBezTo>
                  <a:lnTo>
                    <a:pt x="7593" y="10769"/>
                  </a:lnTo>
                  <a:lnTo>
                    <a:pt x="7026" y="10170"/>
                  </a:lnTo>
                  <a:lnTo>
                    <a:pt x="8318" y="8878"/>
                  </a:lnTo>
                  <a:close/>
                  <a:moveTo>
                    <a:pt x="10460" y="9067"/>
                  </a:moveTo>
                  <a:cubicBezTo>
                    <a:pt x="11279" y="9067"/>
                    <a:pt x="11941" y="9760"/>
                    <a:pt x="11941" y="10580"/>
                  </a:cubicBezTo>
                  <a:lnTo>
                    <a:pt x="11941" y="11840"/>
                  </a:lnTo>
                  <a:lnTo>
                    <a:pt x="7814" y="11840"/>
                  </a:lnTo>
                  <a:cubicBezTo>
                    <a:pt x="7908" y="11808"/>
                    <a:pt x="8003" y="11745"/>
                    <a:pt x="8034" y="11682"/>
                  </a:cubicBezTo>
                  <a:lnTo>
                    <a:pt x="9798" y="9067"/>
                  </a:lnTo>
                  <a:close/>
                  <a:moveTo>
                    <a:pt x="3088" y="9067"/>
                  </a:moveTo>
                  <a:lnTo>
                    <a:pt x="4852" y="11651"/>
                  </a:lnTo>
                  <a:cubicBezTo>
                    <a:pt x="4915" y="11745"/>
                    <a:pt x="5041" y="11808"/>
                    <a:pt x="5167" y="11840"/>
                  </a:cubicBezTo>
                  <a:lnTo>
                    <a:pt x="5199" y="11840"/>
                  </a:lnTo>
                  <a:cubicBezTo>
                    <a:pt x="5325" y="11840"/>
                    <a:pt x="5419" y="11808"/>
                    <a:pt x="5482" y="11714"/>
                  </a:cubicBezTo>
                  <a:lnTo>
                    <a:pt x="6427" y="10769"/>
                  </a:lnTo>
                  <a:lnTo>
                    <a:pt x="7404" y="11745"/>
                  </a:lnTo>
                  <a:cubicBezTo>
                    <a:pt x="7436" y="11777"/>
                    <a:pt x="7530" y="11840"/>
                    <a:pt x="7593" y="11871"/>
                  </a:cubicBezTo>
                  <a:lnTo>
                    <a:pt x="914" y="11871"/>
                  </a:lnTo>
                  <a:lnTo>
                    <a:pt x="914" y="11840"/>
                  </a:lnTo>
                  <a:lnTo>
                    <a:pt x="914" y="10580"/>
                  </a:lnTo>
                  <a:cubicBezTo>
                    <a:pt x="914" y="9760"/>
                    <a:pt x="1576" y="9067"/>
                    <a:pt x="2395" y="9067"/>
                  </a:cubicBezTo>
                  <a:close/>
                  <a:moveTo>
                    <a:pt x="7043" y="1"/>
                  </a:moveTo>
                  <a:cubicBezTo>
                    <a:pt x="6380" y="1"/>
                    <a:pt x="5673" y="166"/>
                    <a:pt x="5010" y="498"/>
                  </a:cubicBezTo>
                  <a:cubicBezTo>
                    <a:pt x="4898" y="477"/>
                    <a:pt x="4788" y="467"/>
                    <a:pt x="4680" y="467"/>
                  </a:cubicBezTo>
                  <a:cubicBezTo>
                    <a:pt x="4300" y="467"/>
                    <a:pt x="3942" y="592"/>
                    <a:pt x="3624" y="813"/>
                  </a:cubicBezTo>
                  <a:cubicBezTo>
                    <a:pt x="3308" y="1034"/>
                    <a:pt x="2962" y="1506"/>
                    <a:pt x="2962" y="2388"/>
                  </a:cubicBezTo>
                  <a:cubicBezTo>
                    <a:pt x="2962" y="3144"/>
                    <a:pt x="3277" y="4405"/>
                    <a:pt x="3340" y="4625"/>
                  </a:cubicBezTo>
                  <a:cubicBezTo>
                    <a:pt x="3466" y="5570"/>
                    <a:pt x="3781" y="6389"/>
                    <a:pt x="4285" y="6988"/>
                  </a:cubicBezTo>
                  <a:lnTo>
                    <a:pt x="4285" y="7744"/>
                  </a:lnTo>
                  <a:cubicBezTo>
                    <a:pt x="4285" y="8028"/>
                    <a:pt x="4065" y="8248"/>
                    <a:pt x="3781" y="8248"/>
                  </a:cubicBezTo>
                  <a:lnTo>
                    <a:pt x="2332" y="8248"/>
                  </a:lnTo>
                  <a:cubicBezTo>
                    <a:pt x="1072" y="8248"/>
                    <a:pt x="0" y="9288"/>
                    <a:pt x="0" y="10580"/>
                  </a:cubicBezTo>
                  <a:lnTo>
                    <a:pt x="0" y="12281"/>
                  </a:lnTo>
                  <a:cubicBezTo>
                    <a:pt x="0" y="12501"/>
                    <a:pt x="189" y="12690"/>
                    <a:pt x="410" y="12690"/>
                  </a:cubicBezTo>
                  <a:lnTo>
                    <a:pt x="12256" y="12690"/>
                  </a:lnTo>
                  <a:cubicBezTo>
                    <a:pt x="12508" y="12690"/>
                    <a:pt x="12697" y="12501"/>
                    <a:pt x="12697" y="12281"/>
                  </a:cubicBezTo>
                  <a:lnTo>
                    <a:pt x="12697" y="10580"/>
                  </a:lnTo>
                  <a:cubicBezTo>
                    <a:pt x="12760" y="9319"/>
                    <a:pt x="11689" y="8248"/>
                    <a:pt x="10429" y="8248"/>
                  </a:cubicBezTo>
                  <a:lnTo>
                    <a:pt x="8979" y="8248"/>
                  </a:lnTo>
                  <a:cubicBezTo>
                    <a:pt x="8696" y="8248"/>
                    <a:pt x="8475" y="8028"/>
                    <a:pt x="8475" y="7744"/>
                  </a:cubicBezTo>
                  <a:lnTo>
                    <a:pt x="8475" y="6957"/>
                  </a:lnTo>
                  <a:cubicBezTo>
                    <a:pt x="8979" y="6358"/>
                    <a:pt x="9294" y="5539"/>
                    <a:pt x="9389" y="4625"/>
                  </a:cubicBezTo>
                  <a:cubicBezTo>
                    <a:pt x="9546" y="4121"/>
                    <a:pt x="9735" y="3050"/>
                    <a:pt x="9767" y="2420"/>
                  </a:cubicBezTo>
                  <a:cubicBezTo>
                    <a:pt x="9767" y="1538"/>
                    <a:pt x="9420" y="845"/>
                    <a:pt x="8664" y="404"/>
                  </a:cubicBezTo>
                  <a:cubicBezTo>
                    <a:pt x="8202" y="135"/>
                    <a:pt x="7640" y="1"/>
                    <a:pt x="7043" y="1"/>
                  </a:cubicBezTo>
                  <a:close/>
                </a:path>
              </a:pathLst>
            </a:custGeom>
            <a:grpFill/>
            <a:ln>
              <a:noFill/>
            </a:ln>
          </p:spPr>
          <p:txBody>
            <a:bodyPr spcFirstLastPara="1" wrap="square" lIns="60950" tIns="60950" rIns="60950" bIns="60950" anchor="ctr" anchorCtr="0">
              <a:noAutofit/>
            </a:bodyPr>
            <a:lstStyle/>
            <a:p>
              <a:endParaRPr sz="1200"/>
            </a:p>
          </p:txBody>
        </p:sp>
        <p:sp>
          <p:nvSpPr>
            <p:cNvPr id="49" name="Google Shape;5230;p64"/>
            <p:cNvSpPr/>
            <p:nvPr/>
          </p:nvSpPr>
          <p:spPr>
            <a:xfrm>
              <a:off x="-64172200" y="2175800"/>
              <a:ext cx="48850" cy="22075"/>
            </a:xfrm>
            <a:custGeom>
              <a:avLst/>
              <a:gdLst/>
              <a:ahLst/>
              <a:cxnLst/>
              <a:rect l="l" t="t" r="r" b="b"/>
              <a:pathLst>
                <a:path w="1954" h="883" extrusionOk="0">
                  <a:moveTo>
                    <a:pt x="410" y="1"/>
                  </a:moveTo>
                  <a:cubicBezTo>
                    <a:pt x="158" y="1"/>
                    <a:pt x="0" y="190"/>
                    <a:pt x="0" y="442"/>
                  </a:cubicBezTo>
                  <a:cubicBezTo>
                    <a:pt x="0" y="662"/>
                    <a:pt x="221" y="883"/>
                    <a:pt x="410" y="883"/>
                  </a:cubicBezTo>
                  <a:lnTo>
                    <a:pt x="1513" y="883"/>
                  </a:lnTo>
                  <a:cubicBezTo>
                    <a:pt x="1765" y="883"/>
                    <a:pt x="1891" y="662"/>
                    <a:pt x="1891" y="442"/>
                  </a:cubicBezTo>
                  <a:cubicBezTo>
                    <a:pt x="1954" y="190"/>
                    <a:pt x="1733" y="1"/>
                    <a:pt x="1513" y="1"/>
                  </a:cubicBezTo>
                  <a:close/>
                </a:path>
              </a:pathLst>
            </a:custGeom>
            <a:grpFill/>
            <a:ln>
              <a:noFill/>
            </a:ln>
          </p:spPr>
          <p:txBody>
            <a:bodyPr spcFirstLastPara="1" wrap="square" lIns="60950" tIns="60950" rIns="60950" bIns="60950" anchor="ctr" anchorCtr="0">
              <a:noAutofit/>
            </a:bodyPr>
            <a:lstStyle/>
            <a:p>
              <a:endParaRPr sz="1200"/>
            </a:p>
          </p:txBody>
        </p:sp>
        <p:sp>
          <p:nvSpPr>
            <p:cNvPr id="50" name="Google Shape;5231;p64"/>
            <p:cNvSpPr/>
            <p:nvPr/>
          </p:nvSpPr>
          <p:spPr>
            <a:xfrm>
              <a:off x="-64212375" y="2210450"/>
              <a:ext cx="5525" cy="25"/>
            </a:xfrm>
            <a:custGeom>
              <a:avLst/>
              <a:gdLst/>
              <a:ahLst/>
              <a:cxnLst/>
              <a:rect l="l" t="t" r="r" b="b"/>
              <a:pathLst>
                <a:path w="221" h="1" extrusionOk="0">
                  <a:moveTo>
                    <a:pt x="1" y="1"/>
                  </a:moveTo>
                  <a:lnTo>
                    <a:pt x="221" y="1"/>
                  </a:lnTo>
                </a:path>
              </a:pathLst>
            </a:custGeom>
            <a:grpFill/>
            <a:ln>
              <a:noFill/>
            </a:ln>
          </p:spPr>
          <p:txBody>
            <a:bodyPr spcFirstLastPara="1" wrap="square" lIns="60950" tIns="60950" rIns="60950" bIns="60950" anchor="ctr" anchorCtr="0">
              <a:noAutofit/>
            </a:bodyPr>
            <a:lstStyle/>
            <a:p>
              <a:endParaRPr sz="1200"/>
            </a:p>
          </p:txBody>
        </p:sp>
      </p:grpSp>
      <p:grpSp>
        <p:nvGrpSpPr>
          <p:cNvPr id="51" name="Google Shape;5211;p64"/>
          <p:cNvGrpSpPr/>
          <p:nvPr/>
        </p:nvGrpSpPr>
        <p:grpSpPr>
          <a:xfrm>
            <a:off x="7361009" y="1659718"/>
            <a:ext cx="254628" cy="250206"/>
            <a:chOff x="-60988625" y="2310475"/>
            <a:chExt cx="316650" cy="311150"/>
          </a:xfrm>
          <a:solidFill>
            <a:schemeClr val="bg2"/>
          </a:solidFill>
        </p:grpSpPr>
        <p:sp>
          <p:nvSpPr>
            <p:cNvPr id="52" name="Google Shape;5212;p64"/>
            <p:cNvSpPr/>
            <p:nvPr/>
          </p:nvSpPr>
          <p:spPr>
            <a:xfrm>
              <a:off x="-60988625" y="2310475"/>
              <a:ext cx="311125" cy="311150"/>
            </a:xfrm>
            <a:custGeom>
              <a:avLst/>
              <a:gdLst/>
              <a:ahLst/>
              <a:cxnLst/>
              <a:rect l="l" t="t" r="r" b="b"/>
              <a:pathLst>
                <a:path w="12445" h="12446" extrusionOk="0">
                  <a:moveTo>
                    <a:pt x="7877" y="883"/>
                  </a:moveTo>
                  <a:cubicBezTo>
                    <a:pt x="8097" y="883"/>
                    <a:pt x="8318" y="1072"/>
                    <a:pt x="8318" y="1324"/>
                  </a:cubicBezTo>
                  <a:lnTo>
                    <a:pt x="8318" y="10398"/>
                  </a:lnTo>
                  <a:cubicBezTo>
                    <a:pt x="8318" y="10870"/>
                    <a:pt x="8444" y="11311"/>
                    <a:pt x="8727" y="11626"/>
                  </a:cubicBezTo>
                  <a:lnTo>
                    <a:pt x="2111" y="11626"/>
                  </a:lnTo>
                  <a:cubicBezTo>
                    <a:pt x="1450" y="11626"/>
                    <a:pt x="851" y="11091"/>
                    <a:pt x="851" y="10398"/>
                  </a:cubicBezTo>
                  <a:lnTo>
                    <a:pt x="851" y="1324"/>
                  </a:lnTo>
                  <a:lnTo>
                    <a:pt x="820" y="1324"/>
                  </a:lnTo>
                  <a:cubicBezTo>
                    <a:pt x="820" y="1072"/>
                    <a:pt x="1009" y="883"/>
                    <a:pt x="1261" y="883"/>
                  </a:cubicBezTo>
                  <a:close/>
                  <a:moveTo>
                    <a:pt x="11500" y="10807"/>
                  </a:moveTo>
                  <a:cubicBezTo>
                    <a:pt x="11342" y="11280"/>
                    <a:pt x="10870" y="11626"/>
                    <a:pt x="10303" y="11626"/>
                  </a:cubicBezTo>
                  <a:cubicBezTo>
                    <a:pt x="9767" y="11626"/>
                    <a:pt x="9326" y="11280"/>
                    <a:pt x="9137" y="10807"/>
                  </a:cubicBezTo>
                  <a:close/>
                  <a:moveTo>
                    <a:pt x="1261" y="1"/>
                  </a:moveTo>
                  <a:cubicBezTo>
                    <a:pt x="568" y="1"/>
                    <a:pt x="32" y="568"/>
                    <a:pt x="32" y="1230"/>
                  </a:cubicBezTo>
                  <a:lnTo>
                    <a:pt x="32" y="10334"/>
                  </a:lnTo>
                  <a:cubicBezTo>
                    <a:pt x="0" y="11563"/>
                    <a:pt x="946" y="12445"/>
                    <a:pt x="2080" y="12445"/>
                  </a:cubicBezTo>
                  <a:lnTo>
                    <a:pt x="10334" y="12445"/>
                  </a:lnTo>
                  <a:cubicBezTo>
                    <a:pt x="11500" y="12445"/>
                    <a:pt x="12445" y="11500"/>
                    <a:pt x="12445" y="10366"/>
                  </a:cubicBezTo>
                  <a:cubicBezTo>
                    <a:pt x="12445" y="10145"/>
                    <a:pt x="12224" y="9925"/>
                    <a:pt x="12004" y="9925"/>
                  </a:cubicBezTo>
                  <a:lnTo>
                    <a:pt x="9074" y="9925"/>
                  </a:lnTo>
                  <a:lnTo>
                    <a:pt x="9074" y="1230"/>
                  </a:lnTo>
                  <a:cubicBezTo>
                    <a:pt x="9074" y="568"/>
                    <a:pt x="8538" y="1"/>
                    <a:pt x="7877" y="1"/>
                  </a:cubicBezTo>
                  <a:close/>
                </a:path>
              </a:pathLst>
            </a:custGeom>
            <a:grpFill/>
            <a:ln>
              <a:noFill/>
            </a:ln>
          </p:spPr>
          <p:txBody>
            <a:bodyPr spcFirstLastPara="1" wrap="square" lIns="60950" tIns="60950" rIns="60950" bIns="60950" anchor="ctr" anchorCtr="0">
              <a:noAutofit/>
            </a:bodyPr>
            <a:lstStyle/>
            <a:p>
              <a:endParaRPr sz="1200"/>
            </a:p>
          </p:txBody>
        </p:sp>
        <p:sp>
          <p:nvSpPr>
            <p:cNvPr id="53" name="Google Shape;5213;p64"/>
            <p:cNvSpPr/>
            <p:nvPr/>
          </p:nvSpPr>
          <p:spPr>
            <a:xfrm>
              <a:off x="-60947675" y="2353025"/>
              <a:ext cx="145725" cy="20500"/>
            </a:xfrm>
            <a:custGeom>
              <a:avLst/>
              <a:gdLst/>
              <a:ahLst/>
              <a:cxnLst/>
              <a:rect l="l" t="t" r="r" b="b"/>
              <a:pathLst>
                <a:path w="5829" h="820" extrusionOk="0">
                  <a:moveTo>
                    <a:pt x="442" y="0"/>
                  </a:moveTo>
                  <a:cubicBezTo>
                    <a:pt x="190" y="0"/>
                    <a:pt x="1" y="189"/>
                    <a:pt x="1" y="441"/>
                  </a:cubicBezTo>
                  <a:cubicBezTo>
                    <a:pt x="1" y="630"/>
                    <a:pt x="190" y="819"/>
                    <a:pt x="442" y="819"/>
                  </a:cubicBezTo>
                  <a:lnTo>
                    <a:pt x="5388" y="819"/>
                  </a:lnTo>
                  <a:cubicBezTo>
                    <a:pt x="5640" y="819"/>
                    <a:pt x="5829" y="630"/>
                    <a:pt x="5829" y="441"/>
                  </a:cubicBezTo>
                  <a:cubicBezTo>
                    <a:pt x="5829" y="189"/>
                    <a:pt x="5640" y="0"/>
                    <a:pt x="5388" y="0"/>
                  </a:cubicBezTo>
                  <a:close/>
                </a:path>
              </a:pathLst>
            </a:custGeom>
            <a:grpFill/>
            <a:ln>
              <a:noFill/>
            </a:ln>
          </p:spPr>
          <p:txBody>
            <a:bodyPr spcFirstLastPara="1" wrap="square" lIns="60950" tIns="60950" rIns="60950" bIns="60950" anchor="ctr" anchorCtr="0">
              <a:noAutofit/>
            </a:bodyPr>
            <a:lstStyle/>
            <a:p>
              <a:endParaRPr sz="1200"/>
            </a:p>
          </p:txBody>
        </p:sp>
        <p:sp>
          <p:nvSpPr>
            <p:cNvPr id="54" name="Google Shape;5214;p64"/>
            <p:cNvSpPr/>
            <p:nvPr/>
          </p:nvSpPr>
          <p:spPr>
            <a:xfrm>
              <a:off x="-60947675" y="2415250"/>
              <a:ext cx="145725" cy="20500"/>
            </a:xfrm>
            <a:custGeom>
              <a:avLst/>
              <a:gdLst/>
              <a:ahLst/>
              <a:cxnLst/>
              <a:rect l="l" t="t" r="r" b="b"/>
              <a:pathLst>
                <a:path w="5829" h="820" extrusionOk="0">
                  <a:moveTo>
                    <a:pt x="442" y="0"/>
                  </a:moveTo>
                  <a:cubicBezTo>
                    <a:pt x="190" y="0"/>
                    <a:pt x="1" y="189"/>
                    <a:pt x="1" y="378"/>
                  </a:cubicBezTo>
                  <a:cubicBezTo>
                    <a:pt x="1" y="630"/>
                    <a:pt x="190" y="819"/>
                    <a:pt x="442" y="819"/>
                  </a:cubicBezTo>
                  <a:lnTo>
                    <a:pt x="5388" y="819"/>
                  </a:lnTo>
                  <a:cubicBezTo>
                    <a:pt x="5640" y="819"/>
                    <a:pt x="5829" y="630"/>
                    <a:pt x="5829" y="378"/>
                  </a:cubicBezTo>
                  <a:cubicBezTo>
                    <a:pt x="5829" y="158"/>
                    <a:pt x="5640" y="0"/>
                    <a:pt x="5388" y="0"/>
                  </a:cubicBezTo>
                  <a:close/>
                </a:path>
              </a:pathLst>
            </a:custGeom>
            <a:grpFill/>
            <a:ln>
              <a:noFill/>
            </a:ln>
          </p:spPr>
          <p:txBody>
            <a:bodyPr spcFirstLastPara="1" wrap="square" lIns="60950" tIns="60950" rIns="60950" bIns="60950" anchor="ctr" anchorCtr="0">
              <a:noAutofit/>
            </a:bodyPr>
            <a:lstStyle/>
            <a:p>
              <a:endParaRPr sz="1200"/>
            </a:p>
          </p:txBody>
        </p:sp>
        <p:sp>
          <p:nvSpPr>
            <p:cNvPr id="55" name="Google Shape;5215;p64"/>
            <p:cNvSpPr/>
            <p:nvPr/>
          </p:nvSpPr>
          <p:spPr>
            <a:xfrm>
              <a:off x="-60947675" y="2475875"/>
              <a:ext cx="145725" cy="22100"/>
            </a:xfrm>
            <a:custGeom>
              <a:avLst/>
              <a:gdLst/>
              <a:ahLst/>
              <a:cxnLst/>
              <a:rect l="l" t="t" r="r" b="b"/>
              <a:pathLst>
                <a:path w="5829" h="884" extrusionOk="0">
                  <a:moveTo>
                    <a:pt x="442" y="1"/>
                  </a:moveTo>
                  <a:cubicBezTo>
                    <a:pt x="190" y="1"/>
                    <a:pt x="1" y="221"/>
                    <a:pt x="1" y="442"/>
                  </a:cubicBezTo>
                  <a:cubicBezTo>
                    <a:pt x="1" y="694"/>
                    <a:pt x="190" y="883"/>
                    <a:pt x="442" y="883"/>
                  </a:cubicBezTo>
                  <a:lnTo>
                    <a:pt x="5388" y="883"/>
                  </a:lnTo>
                  <a:cubicBezTo>
                    <a:pt x="5640" y="883"/>
                    <a:pt x="5829" y="694"/>
                    <a:pt x="5829" y="442"/>
                  </a:cubicBezTo>
                  <a:cubicBezTo>
                    <a:pt x="5829" y="221"/>
                    <a:pt x="5640" y="1"/>
                    <a:pt x="5388" y="1"/>
                  </a:cubicBezTo>
                  <a:close/>
                </a:path>
              </a:pathLst>
            </a:custGeom>
            <a:grpFill/>
            <a:ln>
              <a:noFill/>
            </a:ln>
          </p:spPr>
          <p:txBody>
            <a:bodyPr spcFirstLastPara="1" wrap="square" lIns="60950" tIns="60950" rIns="60950" bIns="60950" anchor="ctr" anchorCtr="0">
              <a:noAutofit/>
            </a:bodyPr>
            <a:lstStyle/>
            <a:p>
              <a:endParaRPr sz="1200"/>
            </a:p>
          </p:txBody>
        </p:sp>
        <p:sp>
          <p:nvSpPr>
            <p:cNvPr id="56" name="Google Shape;5216;p64"/>
            <p:cNvSpPr/>
            <p:nvPr/>
          </p:nvSpPr>
          <p:spPr>
            <a:xfrm>
              <a:off x="-60947675" y="2538100"/>
              <a:ext cx="145725" cy="22075"/>
            </a:xfrm>
            <a:custGeom>
              <a:avLst/>
              <a:gdLst/>
              <a:ahLst/>
              <a:cxnLst/>
              <a:rect l="l" t="t" r="r" b="b"/>
              <a:pathLst>
                <a:path w="5829" h="883" extrusionOk="0">
                  <a:moveTo>
                    <a:pt x="442" y="1"/>
                  </a:moveTo>
                  <a:cubicBezTo>
                    <a:pt x="190" y="1"/>
                    <a:pt x="1" y="190"/>
                    <a:pt x="1" y="442"/>
                  </a:cubicBezTo>
                  <a:cubicBezTo>
                    <a:pt x="1" y="662"/>
                    <a:pt x="190" y="883"/>
                    <a:pt x="442" y="883"/>
                  </a:cubicBezTo>
                  <a:lnTo>
                    <a:pt x="5388" y="883"/>
                  </a:lnTo>
                  <a:cubicBezTo>
                    <a:pt x="5640" y="883"/>
                    <a:pt x="5829" y="662"/>
                    <a:pt x="5829" y="442"/>
                  </a:cubicBezTo>
                  <a:cubicBezTo>
                    <a:pt x="5829" y="190"/>
                    <a:pt x="5640" y="1"/>
                    <a:pt x="5388" y="1"/>
                  </a:cubicBezTo>
                  <a:close/>
                </a:path>
              </a:pathLst>
            </a:custGeom>
            <a:grpFill/>
            <a:ln>
              <a:noFill/>
            </a:ln>
          </p:spPr>
          <p:txBody>
            <a:bodyPr spcFirstLastPara="1" wrap="square" lIns="60950" tIns="60950" rIns="60950" bIns="60950" anchor="ctr" anchorCtr="0">
              <a:noAutofit/>
            </a:bodyPr>
            <a:lstStyle/>
            <a:p>
              <a:endParaRPr sz="1200"/>
            </a:p>
          </p:txBody>
        </p:sp>
        <p:sp>
          <p:nvSpPr>
            <p:cNvPr id="57" name="Google Shape;5217;p64"/>
            <p:cNvSpPr/>
            <p:nvPr/>
          </p:nvSpPr>
          <p:spPr>
            <a:xfrm>
              <a:off x="-60740525" y="2312050"/>
              <a:ext cx="68550" cy="233950"/>
            </a:xfrm>
            <a:custGeom>
              <a:avLst/>
              <a:gdLst/>
              <a:ahLst/>
              <a:cxnLst/>
              <a:rect l="l" t="t" r="r" b="b"/>
              <a:pathLst>
                <a:path w="2742" h="9358" extrusionOk="0">
                  <a:moveTo>
                    <a:pt x="1796" y="789"/>
                  </a:moveTo>
                  <a:cubicBezTo>
                    <a:pt x="1891" y="789"/>
                    <a:pt x="1922" y="852"/>
                    <a:pt x="1922" y="946"/>
                  </a:cubicBezTo>
                  <a:lnTo>
                    <a:pt x="1922" y="1639"/>
                  </a:lnTo>
                  <a:lnTo>
                    <a:pt x="820" y="1639"/>
                  </a:lnTo>
                  <a:lnTo>
                    <a:pt x="820" y="946"/>
                  </a:lnTo>
                  <a:cubicBezTo>
                    <a:pt x="820" y="852"/>
                    <a:pt x="883" y="789"/>
                    <a:pt x="977" y="789"/>
                  </a:cubicBezTo>
                  <a:close/>
                  <a:moveTo>
                    <a:pt x="1922" y="2458"/>
                  </a:moveTo>
                  <a:lnTo>
                    <a:pt x="1922" y="6617"/>
                  </a:lnTo>
                  <a:lnTo>
                    <a:pt x="820" y="6617"/>
                  </a:lnTo>
                  <a:lnTo>
                    <a:pt x="820" y="2458"/>
                  </a:lnTo>
                  <a:close/>
                  <a:moveTo>
                    <a:pt x="1639" y="7436"/>
                  </a:moveTo>
                  <a:lnTo>
                    <a:pt x="1355" y="8035"/>
                  </a:lnTo>
                  <a:lnTo>
                    <a:pt x="1040" y="7436"/>
                  </a:lnTo>
                  <a:close/>
                  <a:moveTo>
                    <a:pt x="977" y="1"/>
                  </a:moveTo>
                  <a:cubicBezTo>
                    <a:pt x="410" y="1"/>
                    <a:pt x="1" y="410"/>
                    <a:pt x="1" y="946"/>
                  </a:cubicBezTo>
                  <a:lnTo>
                    <a:pt x="1" y="6995"/>
                  </a:lnTo>
                  <a:cubicBezTo>
                    <a:pt x="1" y="7090"/>
                    <a:pt x="1" y="7121"/>
                    <a:pt x="32" y="7184"/>
                  </a:cubicBezTo>
                  <a:lnTo>
                    <a:pt x="1009" y="9137"/>
                  </a:lnTo>
                  <a:cubicBezTo>
                    <a:pt x="1103" y="9295"/>
                    <a:pt x="1198" y="9358"/>
                    <a:pt x="1355" y="9358"/>
                  </a:cubicBezTo>
                  <a:cubicBezTo>
                    <a:pt x="1513" y="9358"/>
                    <a:pt x="1670" y="9295"/>
                    <a:pt x="1733" y="9137"/>
                  </a:cubicBezTo>
                  <a:lnTo>
                    <a:pt x="2678" y="7184"/>
                  </a:lnTo>
                  <a:cubicBezTo>
                    <a:pt x="2710" y="7153"/>
                    <a:pt x="2710" y="7090"/>
                    <a:pt x="2710" y="6995"/>
                  </a:cubicBezTo>
                  <a:lnTo>
                    <a:pt x="2710" y="946"/>
                  </a:lnTo>
                  <a:cubicBezTo>
                    <a:pt x="2741" y="410"/>
                    <a:pt x="2300" y="1"/>
                    <a:pt x="1796" y="1"/>
                  </a:cubicBezTo>
                  <a:close/>
                </a:path>
              </a:pathLst>
            </a:custGeom>
            <a:grpFill/>
            <a:ln>
              <a:noFill/>
            </a:ln>
          </p:spPr>
          <p:txBody>
            <a:bodyPr spcFirstLastPara="1" wrap="square" lIns="60950" tIns="60950" rIns="60950" bIns="60950" anchor="ctr" anchorCtr="0">
              <a:noAutofit/>
            </a:bodyPr>
            <a:lstStyle/>
            <a:p>
              <a:endParaRPr sz="1200"/>
            </a:p>
          </p:txBody>
        </p:sp>
      </p:grpSp>
    </p:spTree>
    <p:extLst>
      <p:ext uri="{BB962C8B-B14F-4D97-AF65-F5344CB8AC3E}">
        <p14:creationId xmlns:p14="http://schemas.microsoft.com/office/powerpoint/2010/main" val="3405384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A6E672B0-7C1C-4B2F-A2B3-D2C1A606EF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136" y="924950"/>
            <a:ext cx="10970772" cy="5765781"/>
          </a:xfrm>
          <a:prstGeom prst="rect">
            <a:avLst/>
          </a:prstGeom>
          <a:ln>
            <a:solidFill>
              <a:schemeClr val="tx1"/>
            </a:solidFill>
          </a:ln>
        </p:spPr>
      </p:pic>
      <p:sp>
        <p:nvSpPr>
          <p:cNvPr id="2" name="Title 1"/>
          <p:cNvSpPr>
            <a:spLocks noGrp="1"/>
          </p:cNvSpPr>
          <p:nvPr>
            <p:ph type="title"/>
          </p:nvPr>
        </p:nvSpPr>
        <p:spPr/>
        <p:txBody>
          <a:bodyPr/>
          <a:lstStyle/>
          <a:p>
            <a:r>
              <a:rPr lang="en-IN"/>
              <a:t>SOC Architecture </a:t>
            </a:r>
          </a:p>
        </p:txBody>
      </p:sp>
    </p:spTree>
    <p:extLst>
      <p:ext uri="{BB962C8B-B14F-4D97-AF65-F5344CB8AC3E}">
        <p14:creationId xmlns:p14="http://schemas.microsoft.com/office/powerpoint/2010/main" val="2555028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9208" y="329705"/>
            <a:ext cx="10334626" cy="507319"/>
          </a:xfrm>
        </p:spPr>
        <p:txBody>
          <a:bodyPr/>
          <a:lstStyle/>
          <a:p>
            <a:r>
              <a:rPr lang="en-US">
                <a:cs typeface="Segoe UI"/>
              </a:rPr>
              <a:t>Key Threats and Remediation</a:t>
            </a:r>
            <a:endParaRPr lang="en-IN"/>
          </a:p>
        </p:txBody>
      </p:sp>
      <p:graphicFrame>
        <p:nvGraphicFramePr>
          <p:cNvPr id="3" name="Table 2">
            <a:extLst>
              <a:ext uri="{FF2B5EF4-FFF2-40B4-BE49-F238E27FC236}">
                <a16:creationId xmlns:a16="http://schemas.microsoft.com/office/drawing/2014/main" id="{150077AC-1592-4DC1-9C0B-1093A63457DE}"/>
              </a:ext>
            </a:extLst>
          </p:cNvPr>
          <p:cNvGraphicFramePr>
            <a:graphicFrameLocks noGrp="1"/>
          </p:cNvGraphicFramePr>
          <p:nvPr>
            <p:extLst>
              <p:ext uri="{D42A27DB-BD31-4B8C-83A1-F6EECF244321}">
                <p14:modId xmlns:p14="http://schemas.microsoft.com/office/powerpoint/2010/main" val="3820255905"/>
              </p:ext>
            </p:extLst>
          </p:nvPr>
        </p:nvGraphicFramePr>
        <p:xfrm>
          <a:off x="487647" y="1027278"/>
          <a:ext cx="10997749" cy="5658976"/>
        </p:xfrm>
        <a:graphic>
          <a:graphicData uri="http://schemas.openxmlformats.org/drawingml/2006/table">
            <a:tbl>
              <a:tblPr firstRow="1" bandRow="1">
                <a:tableStyleId>{17292A2E-F333-43FB-9621-5CBBE7FDCDCB}</a:tableStyleId>
              </a:tblPr>
              <a:tblGrid>
                <a:gridCol w="3720506">
                  <a:extLst>
                    <a:ext uri="{9D8B030D-6E8A-4147-A177-3AD203B41FA5}">
                      <a16:colId xmlns:a16="http://schemas.microsoft.com/office/drawing/2014/main" val="1508279387"/>
                    </a:ext>
                  </a:extLst>
                </a:gridCol>
                <a:gridCol w="4443784">
                  <a:extLst>
                    <a:ext uri="{9D8B030D-6E8A-4147-A177-3AD203B41FA5}">
                      <a16:colId xmlns:a16="http://schemas.microsoft.com/office/drawing/2014/main" val="1387228728"/>
                    </a:ext>
                  </a:extLst>
                </a:gridCol>
                <a:gridCol w="2833459">
                  <a:extLst>
                    <a:ext uri="{9D8B030D-6E8A-4147-A177-3AD203B41FA5}">
                      <a16:colId xmlns:a16="http://schemas.microsoft.com/office/drawing/2014/main" val="1780924901"/>
                    </a:ext>
                  </a:extLst>
                </a:gridCol>
              </a:tblGrid>
              <a:tr h="195559">
                <a:tc>
                  <a:txBody>
                    <a:bodyPr/>
                    <a:lstStyle/>
                    <a:p>
                      <a:pPr algn="ctr" fontAlgn="t"/>
                      <a:r>
                        <a:rPr lang="en-US" sz="1100">
                          <a:effectLst/>
                        </a:rPr>
                        <a:t>Threats</a:t>
                      </a:r>
                      <a:endParaRPr lang="en-US" sz="1100" b="1">
                        <a:effectLst/>
                        <a:latin typeface="Calibri" panose="020F0502020204030204" pitchFamily="34" charset="0"/>
                      </a:endParaRPr>
                    </a:p>
                  </a:txBody>
                  <a:tcPr marL="9525" marR="9525" marT="9525">
                    <a:lnB w="12700" cap="flat" cmpd="sng" algn="ctr">
                      <a:solidFill>
                        <a:schemeClr val="tx1"/>
                      </a:solidFill>
                      <a:prstDash val="solid"/>
                      <a:round/>
                      <a:headEnd type="none" w="med" len="med"/>
                      <a:tailEnd type="none" w="med" len="med"/>
                    </a:lnB>
                  </a:tcPr>
                </a:tc>
                <a:tc>
                  <a:txBody>
                    <a:bodyPr/>
                    <a:lstStyle/>
                    <a:p>
                      <a:pPr algn="ctr" fontAlgn="t"/>
                      <a:r>
                        <a:rPr lang="en-US" sz="1100">
                          <a:effectLst/>
                        </a:rPr>
                        <a:t>Remediation's</a:t>
                      </a:r>
                      <a:endParaRPr lang="en-US" sz="1100" b="1">
                        <a:effectLst/>
                        <a:latin typeface="Calibri" panose="020F0502020204030204" pitchFamily="34" charset="0"/>
                      </a:endParaRPr>
                    </a:p>
                  </a:txBody>
                  <a:tcPr marL="9525" marR="9525" marT="9525">
                    <a:lnB w="12700" cap="flat" cmpd="sng" algn="ctr">
                      <a:solidFill>
                        <a:schemeClr val="tx1"/>
                      </a:solidFill>
                      <a:prstDash val="solid"/>
                      <a:round/>
                      <a:headEnd type="none" w="med" len="med"/>
                      <a:tailEnd type="none" w="med" len="med"/>
                    </a:lnB>
                  </a:tcPr>
                </a:tc>
                <a:tc>
                  <a:txBody>
                    <a:bodyPr/>
                    <a:lstStyle/>
                    <a:p>
                      <a:pPr algn="ctr" fontAlgn="t"/>
                      <a:r>
                        <a:rPr lang="en-US" sz="1100">
                          <a:effectLst/>
                        </a:rPr>
                        <a:t>Source logs</a:t>
                      </a:r>
                      <a:endParaRPr lang="en-US" sz="1100" b="1">
                        <a:effectLst/>
                        <a:latin typeface="Calibri"/>
                      </a:endParaRPr>
                    </a:p>
                  </a:txBody>
                  <a:tcPr marL="9525" marR="9525" marT="9525">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0727815"/>
                  </a:ext>
                </a:extLst>
              </a:tr>
              <a:tr h="489733">
                <a:tc>
                  <a:txBody>
                    <a:bodyPr/>
                    <a:lstStyle/>
                    <a:p>
                      <a:pPr lvl="0" algn="ctr">
                        <a:buNone/>
                      </a:pPr>
                      <a:r>
                        <a:rPr lang="en-US" sz="1100" u="none" strike="noStrike" noProof="0">
                          <a:effectLst/>
                          <a:latin typeface="Calibri"/>
                          <a:cs typeface="Calibri"/>
                        </a:rPr>
                        <a:t>Login attempts to  Azure Subscriptions from unauthorized ip address range</a:t>
                      </a:r>
                      <a:endParaRPr lang="en-US" sz="1400">
                        <a:latin typeface="Calibri"/>
                        <a:cs typeface="Calibri"/>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lnSpc>
                          <a:spcPct val="100000"/>
                        </a:lnSpc>
                        <a:spcBef>
                          <a:spcPts val="0"/>
                        </a:spcBef>
                        <a:spcAft>
                          <a:spcPts val="0"/>
                        </a:spcAft>
                        <a:buNone/>
                      </a:pPr>
                      <a:r>
                        <a:rPr lang="en-US" sz="1100" u="none" strike="noStrike" noProof="0">
                          <a:effectLst/>
                          <a:latin typeface="Calibri" panose="020F0502020204030204" pitchFamily="34" charset="0"/>
                          <a:cs typeface="Calibri" panose="020F0502020204030204" pitchFamily="34" charset="0"/>
                        </a:rPr>
                        <a:t>1.Request to remove the sources created in unapproved region</a:t>
                      </a:r>
                      <a:endParaRPr lang="en-US" sz="1400">
                        <a:latin typeface="Calibri" panose="020F0502020204030204" pitchFamily="34" charset="0"/>
                        <a:cs typeface="Calibri" panose="020F0502020204030204" pitchFamily="34" charset="0"/>
                      </a:endParaRPr>
                    </a:p>
                    <a:p>
                      <a:pPr lvl="0" algn="l">
                        <a:lnSpc>
                          <a:spcPct val="100000"/>
                        </a:lnSpc>
                        <a:spcBef>
                          <a:spcPts val="0"/>
                        </a:spcBef>
                        <a:spcAft>
                          <a:spcPts val="0"/>
                        </a:spcAft>
                        <a:buNone/>
                      </a:pPr>
                      <a:r>
                        <a:rPr lang="en-US" sz="1100" u="none" strike="noStrike" noProof="0">
                          <a:effectLst/>
                          <a:latin typeface="Calibri" panose="020F0502020204030204" pitchFamily="34" charset="0"/>
                          <a:cs typeface="Calibri" panose="020F0502020204030204" pitchFamily="34" charset="0"/>
                        </a:rPr>
                        <a:t>2.Isolate malicious or infected resource from accessing other resources</a:t>
                      </a:r>
                      <a:endParaRPr lang="en-US" sz="1400">
                        <a:latin typeface="Calibri" panose="020F0502020204030204" pitchFamily="34" charset="0"/>
                        <a:cs typeface="Calibri" panose="020F0502020204030204" pitchFamily="34" charset="0"/>
                      </a:endParaRPr>
                    </a:p>
                    <a:p>
                      <a:pPr lvl="0" algn="l">
                        <a:buNone/>
                      </a:pPr>
                      <a:r>
                        <a:rPr lang="en-US" sz="1100" u="none" strike="noStrike" noProof="0">
                          <a:effectLst/>
                          <a:latin typeface="Calibri"/>
                          <a:cs typeface="Calibri"/>
                        </a:rPr>
                        <a:t>3.request to rotate the affected keys and reprovision affected resources.</a:t>
                      </a:r>
                      <a:endParaRPr lang="en-US" sz="1100" b="0" i="0" u="none" strike="noStrike" noProof="0">
                        <a:effectLst/>
                        <a:latin typeface="Calibri"/>
                        <a:cs typeface="Calibri"/>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ctr">
                        <a:buNone/>
                      </a:pPr>
                      <a:r>
                        <a:rPr lang="en-US" sz="1100" u="none" strike="noStrike" noProof="0">
                          <a:effectLst/>
                          <a:latin typeface="Calibri" panose="020F0502020204030204" pitchFamily="34" charset="0"/>
                          <a:cs typeface="Calibri" panose="020F0502020204030204" pitchFamily="34" charset="0"/>
                        </a:rPr>
                        <a:t>Azure AD</a:t>
                      </a:r>
                      <a:endParaRPr lang="en-US" sz="1400">
                        <a:latin typeface="Calibri" panose="020F0502020204030204" pitchFamily="34" charset="0"/>
                        <a:cs typeface="Calibri" panose="020F0502020204030204" pitchFamily="34"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88484775"/>
                  </a:ext>
                </a:extLst>
              </a:tr>
              <a:tr h="342646">
                <a:tc>
                  <a:txBody>
                    <a:bodyPr/>
                    <a:lstStyle/>
                    <a:p>
                      <a:pPr lvl="0" algn="ctr">
                        <a:buNone/>
                      </a:pPr>
                      <a:r>
                        <a:rPr lang="en-US" sz="1100" u="none" strike="noStrike" noProof="0">
                          <a:effectLst/>
                          <a:latin typeface="Calibri" panose="020F0502020204030204" pitchFamily="34" charset="0"/>
                          <a:cs typeface="Calibri" panose="020F0502020204030204" pitchFamily="34" charset="0"/>
                        </a:rPr>
                        <a:t>VM key pairs changes detected  - Modification of VM Key pairs in Azure</a:t>
                      </a:r>
                      <a:endParaRPr lang="en-US" sz="1100">
                        <a:effectLst/>
                        <a:latin typeface="Calibri" panose="020F0502020204030204" pitchFamily="34" charset="0"/>
                        <a:cs typeface="Calibri" panose="020F0502020204030204" pitchFamily="34"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a:effectLst/>
                          <a:latin typeface="Calibri" panose="020F0502020204030204" pitchFamily="34" charset="0"/>
                          <a:cs typeface="Calibri" panose="020F0502020204030204" pitchFamily="34" charset="0"/>
                        </a:rPr>
                        <a:t>1.</a:t>
                      </a:r>
                      <a:r>
                        <a:rPr lang="en-US" sz="1100" u="none" strike="noStrike" noProof="0">
                          <a:effectLst/>
                          <a:latin typeface="Calibri" panose="020F0502020204030204" pitchFamily="34" charset="0"/>
                          <a:cs typeface="Calibri" panose="020F0502020204030204" pitchFamily="34" charset="0"/>
                        </a:rPr>
                        <a:t>Suspend user access</a:t>
                      </a:r>
                    </a:p>
                    <a:p>
                      <a:pPr lvl="0" algn="l">
                        <a:buNone/>
                      </a:pPr>
                      <a:r>
                        <a:rPr lang="en-US" sz="1100" u="none" strike="noStrike" noProof="0">
                          <a:effectLst/>
                          <a:latin typeface="Calibri"/>
                          <a:cs typeface="Calibri"/>
                        </a:rPr>
                        <a:t>2.Increase Privilege Restrictions</a:t>
                      </a: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ctr">
                        <a:buNone/>
                      </a:pPr>
                      <a:r>
                        <a:rPr lang="en-US" sz="1100" u="none" strike="noStrike" noProof="0">
                          <a:effectLst/>
                          <a:latin typeface="Calibri"/>
                          <a:cs typeface="Calibri"/>
                        </a:rPr>
                        <a:t>Azure VM Instances.</a:t>
                      </a:r>
                      <a:endParaRPr lang="en-US" sz="1400">
                        <a:latin typeface="Calibri"/>
                        <a:cs typeface="Calibri"/>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9090257"/>
                  </a:ext>
                </a:extLst>
              </a:tr>
              <a:tr h="572882">
                <a:tc>
                  <a:txBody>
                    <a:bodyPr/>
                    <a:lstStyle/>
                    <a:p>
                      <a:pPr lvl="0" algn="ctr">
                        <a:lnSpc>
                          <a:spcPct val="100000"/>
                        </a:lnSpc>
                        <a:spcBef>
                          <a:spcPts val="0"/>
                        </a:spcBef>
                        <a:spcAft>
                          <a:spcPts val="0"/>
                        </a:spcAft>
                        <a:buNone/>
                      </a:pPr>
                      <a:r>
                        <a:rPr lang="en-US" sz="1100" u="none" strike="noStrike" noProof="0">
                          <a:effectLst/>
                          <a:latin typeface="Calibri" panose="020F0502020204030204" pitchFamily="34" charset="0"/>
                          <a:cs typeface="Calibri" panose="020F0502020204030204" pitchFamily="34" charset="0"/>
                        </a:rPr>
                        <a:t>Unapproved region - Azure activity</a:t>
                      </a:r>
                      <a:endParaRPr lang="en-US" sz="1400">
                        <a:latin typeface="Calibri" panose="020F0502020204030204" pitchFamily="34" charset="0"/>
                        <a:cs typeface="Calibri" panose="020F0502020204030204" pitchFamily="34" charset="0"/>
                      </a:endParaRPr>
                    </a:p>
                    <a:p>
                      <a:pPr lvl="0" algn="ctr">
                        <a:buNone/>
                      </a:pPr>
                      <a:r>
                        <a:rPr lang="en-US" sz="1100" u="none" strike="noStrike" noProof="0">
                          <a:effectLst/>
                          <a:latin typeface="Calibri" panose="020F0502020204030204" pitchFamily="34" charset="0"/>
                          <a:cs typeface="Calibri" panose="020F0502020204030204" pitchFamily="34" charset="0"/>
                        </a:rPr>
                        <a:t>Azure Instances created in un-approved azure regions</a:t>
                      </a:r>
                      <a:endParaRPr lang="en-US" sz="1100">
                        <a:effectLst/>
                        <a:latin typeface="Calibri" panose="020F0502020204030204" pitchFamily="34" charset="0"/>
                        <a:cs typeface="Calibri" panose="020F0502020204030204" pitchFamily="34"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lnSpc>
                          <a:spcPct val="100000"/>
                        </a:lnSpc>
                        <a:spcBef>
                          <a:spcPts val="0"/>
                        </a:spcBef>
                        <a:spcAft>
                          <a:spcPts val="0"/>
                        </a:spcAft>
                        <a:buNone/>
                      </a:pPr>
                      <a:r>
                        <a:rPr lang="en-US" sz="1100" u="none" strike="noStrike" noProof="0">
                          <a:effectLst/>
                          <a:latin typeface="Calibri"/>
                          <a:cs typeface="Calibri"/>
                        </a:rPr>
                        <a:t>1.Isolate malicious or infected resource from accessing other resources</a:t>
                      </a:r>
                      <a:endParaRPr lang="en-US" sz="1400">
                        <a:latin typeface="Calibri"/>
                        <a:cs typeface="Calibri"/>
                      </a:endParaRPr>
                    </a:p>
                    <a:p>
                      <a:pPr lvl="0" algn="l">
                        <a:buNone/>
                      </a:pPr>
                      <a:r>
                        <a:rPr lang="en-US" sz="1100" u="none" strike="noStrike" noProof="0">
                          <a:effectLst/>
                          <a:latin typeface="Calibri"/>
                          <a:cs typeface="Calibri"/>
                        </a:rPr>
                        <a:t>3.Request to rotate the affected keys and reprovision affected resources.</a:t>
                      </a:r>
                      <a:br>
                        <a:rPr lang="en-US" sz="1100">
                          <a:effectLst/>
                          <a:latin typeface="Calibri"/>
                          <a:cs typeface="Calibri"/>
                        </a:rPr>
                      </a:br>
                      <a:endParaRPr lang="en-US" sz="1100">
                        <a:effectLst/>
                        <a:latin typeface="Calibri"/>
                        <a:cs typeface="Calibri"/>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ctr">
                        <a:buNone/>
                      </a:pPr>
                      <a:r>
                        <a:rPr lang="en-US" sz="1100" u="none" strike="noStrike" noProof="0">
                          <a:effectLst/>
                          <a:latin typeface="Calibri" panose="020F0502020204030204" pitchFamily="34" charset="0"/>
                          <a:cs typeface="Calibri" panose="020F0502020204030204" pitchFamily="34" charset="0"/>
                        </a:rPr>
                        <a:t>Azure Activity log</a:t>
                      </a:r>
                      <a:endParaRPr lang="en-US" sz="1400">
                        <a:latin typeface="Calibri" panose="020F0502020204030204" pitchFamily="34" charset="0"/>
                        <a:cs typeface="Calibri" panose="020F0502020204030204" pitchFamily="34"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55965822"/>
                  </a:ext>
                </a:extLst>
              </a:tr>
              <a:tr h="342646">
                <a:tc>
                  <a:txBody>
                    <a:bodyPr/>
                    <a:lstStyle/>
                    <a:p>
                      <a:pPr lvl="0" algn="ctr">
                        <a:lnSpc>
                          <a:spcPct val="100000"/>
                        </a:lnSpc>
                        <a:spcBef>
                          <a:spcPts val="0"/>
                        </a:spcBef>
                        <a:spcAft>
                          <a:spcPts val="0"/>
                        </a:spcAft>
                        <a:buNone/>
                      </a:pPr>
                      <a:r>
                        <a:rPr lang="en-US" sz="1100" u="none" strike="noStrike" noProof="0">
                          <a:effectLst/>
                          <a:latin typeface="Calibri"/>
                          <a:cs typeface="Calibri"/>
                        </a:rPr>
                        <a:t>Azure policy deny action Deleted </a:t>
                      </a:r>
                      <a:endParaRPr lang="en-US" sz="1400">
                        <a:latin typeface="Calibri" panose="020F0502020204030204" pitchFamily="34" charset="0"/>
                        <a:cs typeface="Calibri" panose="020F0502020204030204" pitchFamily="34"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a:effectLst/>
                          <a:latin typeface="Calibri" panose="020F0502020204030204" pitchFamily="34" charset="0"/>
                          <a:cs typeface="Calibri" panose="020F0502020204030204" pitchFamily="34" charset="0"/>
                        </a:rPr>
                        <a:t>1.</a:t>
                      </a:r>
                      <a:r>
                        <a:rPr lang="en-US" sz="1100" u="none" strike="noStrike" noProof="0">
                          <a:effectLst/>
                          <a:latin typeface="Calibri" panose="020F0502020204030204" pitchFamily="34" charset="0"/>
                          <a:cs typeface="Calibri" panose="020F0502020204030204" pitchFamily="34" charset="0"/>
                        </a:rPr>
                        <a:t>Suspend user access</a:t>
                      </a:r>
                    </a:p>
                    <a:p>
                      <a:pPr lvl="0" algn="l">
                        <a:buNone/>
                      </a:pPr>
                      <a:r>
                        <a:rPr lang="en-US" sz="1100" u="none" strike="noStrike" noProof="0">
                          <a:effectLst/>
                          <a:latin typeface="Calibri"/>
                          <a:cs typeface="Calibri"/>
                        </a:rPr>
                        <a:t>2.</a:t>
                      </a:r>
                      <a:r>
                        <a:rPr lang="en-US" sz="1100" b="0" i="0" u="none" strike="noStrike" noProof="0">
                          <a:effectLst/>
                        </a:rPr>
                        <a:t>Increase Privilege Restrictions</a:t>
                      </a:r>
                      <a:endParaRPr lang="en-US" sz="1100" u="none" strike="noStrike" noProof="0">
                        <a:effectLst/>
                        <a:latin typeface="Calibri"/>
                        <a:cs typeface="Calibri"/>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ctr">
                        <a:buNone/>
                      </a:pPr>
                      <a:r>
                        <a:rPr lang="en-US" sz="1100" u="none" strike="noStrike" noProof="0">
                          <a:effectLst/>
                          <a:latin typeface="Calibri" panose="020F0502020204030204" pitchFamily="34" charset="0"/>
                          <a:cs typeface="Calibri" panose="020F0502020204030204" pitchFamily="34" charset="0"/>
                        </a:rPr>
                        <a:t>Azure Activity logs</a:t>
                      </a:r>
                      <a:endParaRPr lang="en-US" sz="1400">
                        <a:latin typeface="Calibri" panose="020F0502020204030204" pitchFamily="34" charset="0"/>
                        <a:cs typeface="Calibri" panose="020F0502020204030204" pitchFamily="34"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3361014"/>
                  </a:ext>
                </a:extLst>
              </a:tr>
              <a:tr h="342646">
                <a:tc>
                  <a:txBody>
                    <a:bodyPr/>
                    <a:lstStyle/>
                    <a:p>
                      <a:pPr algn="ctr" fontAlgn="t"/>
                      <a:r>
                        <a:rPr lang="en-US" sz="1100">
                          <a:latin typeface="Calibri" panose="020F0502020204030204" pitchFamily="34" charset="0"/>
                          <a:cs typeface="Calibri" panose="020F0502020204030204" pitchFamily="34" charset="0"/>
                        </a:rPr>
                        <a:t>Potential SQL Brute Force attempt</a:t>
                      </a:r>
                      <a:endParaRPr lang="en-US" sz="1100">
                        <a:effectLst/>
                        <a:latin typeface="Calibri" panose="020F0502020204030204" pitchFamily="34" charset="0"/>
                        <a:cs typeface="Calibri" panose="020F0502020204030204" pitchFamily="34"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180" rtl="0" eaLnBrk="1" fontAlgn="t" latinLnBrk="0" hangingPunct="1">
                        <a:lnSpc>
                          <a:spcPct val="100000"/>
                        </a:lnSpc>
                        <a:spcBef>
                          <a:spcPts val="0"/>
                        </a:spcBef>
                        <a:spcAft>
                          <a:spcPts val="0"/>
                        </a:spcAft>
                        <a:buClrTx/>
                        <a:buSzTx/>
                        <a:buFontTx/>
                        <a:buNone/>
                        <a:tabLst/>
                        <a:defRPr/>
                      </a:pPr>
                      <a:r>
                        <a:rPr lang="en-US" sz="1100">
                          <a:effectLst/>
                          <a:latin typeface="Calibri" panose="020F0502020204030204" pitchFamily="34" charset="0"/>
                          <a:cs typeface="Calibri" panose="020F0502020204030204" pitchFamily="34" charset="0"/>
                        </a:rPr>
                        <a:t>Block the IP address</a:t>
                      </a: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100">
                          <a:latin typeface="Calibri" panose="020F0502020204030204" pitchFamily="34" charset="0"/>
                          <a:cs typeface="Calibri" panose="020F0502020204030204" pitchFamily="34" charset="0"/>
                        </a:rPr>
                        <a:t>Azure Defender </a:t>
                      </a:r>
                      <a:endParaRPr lang="en-US" sz="1100">
                        <a:effectLst/>
                        <a:latin typeface="Calibri" panose="020F0502020204030204" pitchFamily="34" charset="0"/>
                        <a:cs typeface="Calibri" panose="020F0502020204030204" pitchFamily="34"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9483019"/>
                  </a:ext>
                </a:extLst>
              </a:tr>
              <a:tr h="636819">
                <a:tc>
                  <a:txBody>
                    <a:bodyPr/>
                    <a:lstStyle/>
                    <a:p>
                      <a:pPr lvl="0" algn="ctr">
                        <a:lnSpc>
                          <a:spcPct val="100000"/>
                        </a:lnSpc>
                        <a:spcBef>
                          <a:spcPts val="0"/>
                        </a:spcBef>
                        <a:spcAft>
                          <a:spcPts val="0"/>
                        </a:spcAft>
                        <a:buNone/>
                      </a:pPr>
                      <a:r>
                        <a:rPr lang="en-US" sz="1100" u="none" strike="noStrike" noProof="0">
                          <a:effectLst/>
                          <a:latin typeface="Calibri"/>
                          <a:cs typeface="Calibri"/>
                        </a:rPr>
                        <a:t>Azure ATP-Suspected netlogin privilege esclation</a:t>
                      </a:r>
                      <a:endParaRPr lang="en-US" sz="1400" err="1">
                        <a:latin typeface="Calibri"/>
                        <a:cs typeface="Calibri"/>
                      </a:endParaRPr>
                    </a:p>
                  </a:txBody>
                  <a:tcPr marL="9524" marR="9524" marT="952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lnSpc>
                          <a:spcPct val="100000"/>
                        </a:lnSpc>
                        <a:spcBef>
                          <a:spcPts val="0"/>
                        </a:spcBef>
                        <a:spcAft>
                          <a:spcPts val="0"/>
                        </a:spcAft>
                        <a:buNone/>
                      </a:pPr>
                      <a:r>
                        <a:rPr lang="en-US" sz="1100" u="none" strike="noStrike" noProof="0">
                          <a:effectLst/>
                          <a:latin typeface="Calibri" panose="020F0502020204030204" pitchFamily="34" charset="0"/>
                          <a:cs typeface="Calibri" panose="020F0502020204030204" pitchFamily="34" charset="0"/>
                        </a:rPr>
                        <a:t>1.Network Containment</a:t>
                      </a:r>
                      <a:endParaRPr lang="en-US" sz="1400">
                        <a:latin typeface="Calibri" panose="020F0502020204030204" pitchFamily="34" charset="0"/>
                        <a:cs typeface="Calibri" panose="020F0502020204030204" pitchFamily="34" charset="0"/>
                      </a:endParaRPr>
                    </a:p>
                    <a:p>
                      <a:pPr lvl="0" algn="l">
                        <a:lnSpc>
                          <a:spcPct val="100000"/>
                        </a:lnSpc>
                        <a:spcBef>
                          <a:spcPts val="0"/>
                        </a:spcBef>
                        <a:spcAft>
                          <a:spcPts val="0"/>
                        </a:spcAft>
                        <a:buNone/>
                      </a:pPr>
                      <a:r>
                        <a:rPr lang="en-US" sz="1100" u="none" strike="noStrike" noProof="0">
                          <a:effectLst/>
                          <a:latin typeface="Calibri" panose="020F0502020204030204" pitchFamily="34" charset="0"/>
                          <a:cs typeface="Calibri" panose="020F0502020204030204" pitchFamily="34" charset="0"/>
                        </a:rPr>
                        <a:t>2.Internet Access containment</a:t>
                      </a:r>
                      <a:endParaRPr lang="en-US" sz="1400">
                        <a:latin typeface="Calibri" panose="020F0502020204030204" pitchFamily="34" charset="0"/>
                        <a:cs typeface="Calibri" panose="020F0502020204030204" pitchFamily="34" charset="0"/>
                      </a:endParaRPr>
                    </a:p>
                    <a:p>
                      <a:pPr lvl="0" algn="l">
                        <a:lnSpc>
                          <a:spcPct val="100000"/>
                        </a:lnSpc>
                        <a:spcBef>
                          <a:spcPts val="0"/>
                        </a:spcBef>
                        <a:spcAft>
                          <a:spcPts val="0"/>
                        </a:spcAft>
                        <a:buNone/>
                      </a:pPr>
                      <a:r>
                        <a:rPr lang="en-US" sz="1100" u="none" strike="noStrike" noProof="0">
                          <a:effectLst/>
                          <a:latin typeface="Calibri" panose="020F0502020204030204" pitchFamily="34" charset="0"/>
                          <a:cs typeface="Calibri" panose="020F0502020204030204" pitchFamily="34" charset="0"/>
                        </a:rPr>
                        <a:t>3.Proxy block of URL/domain</a:t>
                      </a:r>
                      <a:endParaRPr lang="en-US" sz="1400">
                        <a:latin typeface="Calibri" panose="020F0502020204030204" pitchFamily="34" charset="0"/>
                        <a:cs typeface="Calibri" panose="020F0502020204030204" pitchFamily="34" charset="0"/>
                      </a:endParaRPr>
                    </a:p>
                    <a:p>
                      <a:pPr lvl="0" algn="l">
                        <a:buNone/>
                      </a:pPr>
                      <a:r>
                        <a:rPr lang="en-US" sz="1100" u="none" strike="noStrike" noProof="0">
                          <a:effectLst/>
                          <a:latin typeface="Calibri" panose="020F0502020204030204" pitchFamily="34" charset="0"/>
                          <a:cs typeface="Calibri" panose="020F0502020204030204" pitchFamily="34" charset="0"/>
                        </a:rPr>
                        <a:t>4.Firewall url IP/block</a:t>
                      </a:r>
                      <a:endParaRPr lang="en-US" sz="1400">
                        <a:latin typeface="Calibri" panose="020F0502020204030204" pitchFamily="34" charset="0"/>
                        <a:cs typeface="Calibri" panose="020F0502020204030204" pitchFamily="34" charset="0"/>
                      </a:endParaRPr>
                    </a:p>
                  </a:txBody>
                  <a:tcPr marL="9524" marR="9524" marT="952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ctr">
                        <a:buNone/>
                      </a:pPr>
                      <a:r>
                        <a:rPr lang="en-US" sz="1100" u="none" strike="noStrike" noProof="0">
                          <a:effectLst/>
                          <a:latin typeface="Calibri" panose="020F0502020204030204" pitchFamily="34" charset="0"/>
                          <a:cs typeface="Calibri" panose="020F0502020204030204" pitchFamily="34" charset="0"/>
                        </a:rPr>
                        <a:t>Azure AD</a:t>
                      </a:r>
                      <a:endParaRPr lang="en-US" sz="1400">
                        <a:latin typeface="Calibri" panose="020F0502020204030204" pitchFamily="34" charset="0"/>
                        <a:cs typeface="Calibri" panose="020F0502020204030204" pitchFamily="34" charset="0"/>
                      </a:endParaRPr>
                    </a:p>
                  </a:txBody>
                  <a:tcPr marL="9524" marR="9524" marT="952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9020152"/>
                  </a:ext>
                </a:extLst>
              </a:tr>
              <a:tr h="636819">
                <a:tc>
                  <a:txBody>
                    <a:bodyPr/>
                    <a:lstStyle/>
                    <a:p>
                      <a:pPr lvl="0" algn="ctr">
                        <a:lnSpc>
                          <a:spcPct val="100000"/>
                        </a:lnSpc>
                        <a:spcBef>
                          <a:spcPts val="0"/>
                        </a:spcBef>
                        <a:spcAft>
                          <a:spcPts val="0"/>
                        </a:spcAft>
                        <a:buNone/>
                      </a:pPr>
                      <a:r>
                        <a:rPr lang="en-US" sz="1100" u="none" strike="noStrike" kern="1200" noProof="0">
                          <a:effectLst/>
                          <a:latin typeface="Calibri"/>
                          <a:cs typeface="Calibri"/>
                        </a:rPr>
                        <a:t>Suspected golden ticket usage (encryption downgrade) procedures - Golden ticket is the Kerberos authentication</a:t>
                      </a:r>
                      <a:endParaRPr lang="en-US" sz="1100" u="none" strike="noStrike" kern="1200">
                        <a:effectLst/>
                        <a:latin typeface="Calibri"/>
                        <a:cs typeface="Calibri"/>
                      </a:endParaRPr>
                    </a:p>
                    <a:p>
                      <a:pPr lvl="0" algn="ctr">
                        <a:lnSpc>
                          <a:spcPct val="100000"/>
                        </a:lnSpc>
                        <a:spcBef>
                          <a:spcPts val="0"/>
                        </a:spcBef>
                        <a:spcAft>
                          <a:spcPts val="0"/>
                        </a:spcAft>
                        <a:buNone/>
                      </a:pPr>
                      <a:r>
                        <a:rPr lang="en-US" sz="1100" u="none" strike="noStrike" kern="1200" noProof="0">
                          <a:effectLst/>
                          <a:latin typeface="Calibri"/>
                          <a:cs typeface="Calibri"/>
                        </a:rPr>
                        <a:t>token for the KRBTGT account</a:t>
                      </a:r>
                      <a:r>
                        <a:rPr lang="en-US" sz="1400" u="none" strike="noStrike" noProof="0">
                          <a:latin typeface="Calibri"/>
                          <a:cs typeface="Calibri"/>
                        </a:rPr>
                        <a:t>.</a:t>
                      </a:r>
                      <a:endParaRPr lang="en-US" sz="1400">
                        <a:latin typeface="Calibri"/>
                        <a:cs typeface="Calibri"/>
                      </a:endParaRPr>
                    </a:p>
                  </a:txBody>
                  <a:tcPr marL="9524" marR="9524" marT="952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lnSpc>
                          <a:spcPct val="100000"/>
                        </a:lnSpc>
                        <a:spcBef>
                          <a:spcPts val="0"/>
                        </a:spcBef>
                        <a:spcAft>
                          <a:spcPts val="0"/>
                        </a:spcAft>
                        <a:buNone/>
                      </a:pPr>
                      <a:r>
                        <a:rPr lang="en-US" sz="1100" u="none" strike="noStrike" noProof="0">
                          <a:effectLst/>
                          <a:latin typeface="Calibri" panose="020F0502020204030204" pitchFamily="34" charset="0"/>
                          <a:cs typeface="Calibri" panose="020F0502020204030204" pitchFamily="34" charset="0"/>
                        </a:rPr>
                        <a:t>1.Network Containment</a:t>
                      </a:r>
                    </a:p>
                    <a:p>
                      <a:pPr lvl="0" algn="l">
                        <a:lnSpc>
                          <a:spcPct val="100000"/>
                        </a:lnSpc>
                        <a:spcBef>
                          <a:spcPts val="0"/>
                        </a:spcBef>
                        <a:spcAft>
                          <a:spcPts val="0"/>
                        </a:spcAft>
                        <a:buNone/>
                      </a:pPr>
                      <a:r>
                        <a:rPr lang="en-US" sz="1100" u="none" strike="noStrike" noProof="0">
                          <a:effectLst/>
                          <a:latin typeface="Calibri" panose="020F0502020204030204" pitchFamily="34" charset="0"/>
                          <a:cs typeface="Calibri" panose="020F0502020204030204" pitchFamily="34" charset="0"/>
                        </a:rPr>
                        <a:t>2.Internet Access containment</a:t>
                      </a:r>
                    </a:p>
                    <a:p>
                      <a:pPr lvl="0" algn="l">
                        <a:lnSpc>
                          <a:spcPct val="100000"/>
                        </a:lnSpc>
                        <a:spcBef>
                          <a:spcPts val="0"/>
                        </a:spcBef>
                        <a:spcAft>
                          <a:spcPts val="0"/>
                        </a:spcAft>
                        <a:buNone/>
                      </a:pPr>
                      <a:r>
                        <a:rPr lang="en-US" sz="1100" u="none" strike="noStrike" noProof="0">
                          <a:effectLst/>
                          <a:latin typeface="Calibri" panose="020F0502020204030204" pitchFamily="34" charset="0"/>
                          <a:cs typeface="Calibri" panose="020F0502020204030204" pitchFamily="34" charset="0"/>
                        </a:rPr>
                        <a:t>3.Proxy block of URL/domain</a:t>
                      </a:r>
                    </a:p>
                    <a:p>
                      <a:pPr lvl="0" algn="l">
                        <a:buNone/>
                      </a:pPr>
                      <a:r>
                        <a:rPr lang="en-US" sz="1100" u="none" strike="noStrike" noProof="0">
                          <a:effectLst/>
                          <a:latin typeface="Calibri" panose="020F0502020204030204" pitchFamily="34" charset="0"/>
                          <a:cs typeface="Calibri" panose="020F0502020204030204" pitchFamily="34" charset="0"/>
                        </a:rPr>
                        <a:t>4.Firewall url IP/block</a:t>
                      </a:r>
                      <a:endParaRPr lang="en-US" sz="1400">
                        <a:latin typeface="Calibri" panose="020F0502020204030204" pitchFamily="34" charset="0"/>
                        <a:cs typeface="Calibri" panose="020F0502020204030204" pitchFamily="34" charset="0"/>
                      </a:endParaRPr>
                    </a:p>
                  </a:txBody>
                  <a:tcPr marL="9524" marR="9524" marT="952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ctr">
                        <a:buNone/>
                      </a:pPr>
                      <a:r>
                        <a:rPr lang="en-US" sz="1100" u="none" strike="noStrike" noProof="0">
                          <a:effectLst/>
                          <a:latin typeface="Calibri" panose="020F0502020204030204" pitchFamily="34" charset="0"/>
                          <a:cs typeface="Calibri" panose="020F0502020204030204" pitchFamily="34" charset="0"/>
                        </a:rPr>
                        <a:t>Azure AD</a:t>
                      </a:r>
                      <a:endParaRPr lang="en-US" sz="1400">
                        <a:latin typeface="Calibri" panose="020F0502020204030204" pitchFamily="34" charset="0"/>
                        <a:cs typeface="Calibri" panose="020F0502020204030204" pitchFamily="34" charset="0"/>
                      </a:endParaRPr>
                    </a:p>
                  </a:txBody>
                  <a:tcPr marL="9524" marR="9524" marT="952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144280"/>
                  </a:ext>
                </a:extLst>
              </a:tr>
              <a:tr h="195559">
                <a:tc>
                  <a:txBody>
                    <a:bodyPr/>
                    <a:lstStyle/>
                    <a:p>
                      <a:pPr algn="ctr" fontAlgn="t"/>
                      <a:r>
                        <a:rPr lang="en-US" sz="1100">
                          <a:latin typeface="Calibri"/>
                          <a:cs typeface="Calibri"/>
                        </a:rPr>
                        <a:t>A logon from a malicious IP has been detected</a:t>
                      </a:r>
                      <a:endParaRPr lang="en-US" sz="1100">
                        <a:effectLst/>
                        <a:latin typeface="Calibri"/>
                        <a:cs typeface="Calibri"/>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a:effectLst/>
                          <a:latin typeface="Calibri" panose="020F0502020204030204" pitchFamily="34" charset="0"/>
                          <a:cs typeface="Calibri" panose="020F0502020204030204" pitchFamily="34" charset="0"/>
                        </a:rPr>
                        <a:t>Block the IP address</a:t>
                      </a: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100">
                          <a:effectLst/>
                          <a:latin typeface="Calibri" panose="020F0502020204030204" pitchFamily="34" charset="0"/>
                          <a:cs typeface="Calibri" panose="020F0502020204030204" pitchFamily="34" charset="0"/>
                        </a:rPr>
                        <a:t>Azure Monitor Log Analysis</a:t>
                      </a: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5740284"/>
                  </a:ext>
                </a:extLst>
              </a:tr>
              <a:tr h="195559">
                <a:tc>
                  <a:txBody>
                    <a:bodyPr/>
                    <a:lstStyle/>
                    <a:p>
                      <a:pPr algn="ctr" fontAlgn="t"/>
                      <a:r>
                        <a:rPr lang="en-US" sz="1100">
                          <a:latin typeface="Calibri"/>
                          <a:cs typeface="Calibri"/>
                        </a:rPr>
                        <a:t>Detected ransomware indicators</a:t>
                      </a:r>
                      <a:endParaRPr lang="en-US" sz="1100">
                        <a:effectLst/>
                        <a:latin typeface="Calibri"/>
                        <a:cs typeface="Calibri"/>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a:effectLst/>
                          <a:latin typeface="Calibri" panose="020F0502020204030204" pitchFamily="34" charset="0"/>
                          <a:cs typeface="Calibri" panose="020F0502020204030204" pitchFamily="34" charset="0"/>
                        </a:rPr>
                        <a:t>Terminate the server</a:t>
                      </a: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100">
                          <a:effectLst/>
                          <a:latin typeface="Calibri"/>
                          <a:cs typeface="Calibri"/>
                        </a:rPr>
                        <a:t>Azure Defender</a:t>
                      </a: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5131605"/>
                  </a:ext>
                </a:extLst>
              </a:tr>
              <a:tr h="342646">
                <a:tc>
                  <a:txBody>
                    <a:bodyPr/>
                    <a:lstStyle/>
                    <a:p>
                      <a:pPr algn="ctr" fontAlgn="t"/>
                      <a:r>
                        <a:rPr lang="en-US" sz="1100">
                          <a:latin typeface="Calibri"/>
                          <a:cs typeface="Calibri"/>
                        </a:rPr>
                        <a:t>Container with a sensitive volume mount detected</a:t>
                      </a:r>
                      <a:br>
                        <a:rPr lang="en-US" sz="1100">
                          <a:latin typeface="Calibri"/>
                          <a:cs typeface="Calibri"/>
                        </a:rPr>
                      </a:br>
                      <a:r>
                        <a:rPr lang="en-US" sz="1100">
                          <a:latin typeface="Calibri"/>
                          <a:cs typeface="Calibri"/>
                        </a:rPr>
                        <a:t>(AKS_SensitiveMount)</a:t>
                      </a:r>
                      <a:endParaRPr lang="en-US" sz="1100">
                        <a:effectLst/>
                        <a:latin typeface="Calibri"/>
                        <a:cs typeface="Calibri"/>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a:effectLst/>
                          <a:latin typeface="Calibri" panose="020F0502020204030204" pitchFamily="34" charset="0"/>
                          <a:cs typeface="Calibri" panose="020F0502020204030204" pitchFamily="34" charset="0"/>
                        </a:rPr>
                        <a:t>Unmount the volume and prevent it from mounting again</a:t>
                      </a: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100">
                          <a:effectLst/>
                          <a:latin typeface="Calibri"/>
                          <a:cs typeface="Calibri"/>
                        </a:rPr>
                        <a:t>Azure Monitor Audit Log</a:t>
                      </a: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22200690"/>
                  </a:ext>
                </a:extLst>
              </a:tr>
              <a:tr h="783907">
                <a:tc>
                  <a:txBody>
                    <a:bodyPr/>
                    <a:lstStyle/>
                    <a:p>
                      <a:pPr algn="ctr" fontAlgn="t"/>
                      <a:r>
                        <a:rPr lang="en-US" sz="1100">
                          <a:latin typeface="Calibri"/>
                          <a:cs typeface="Calibri"/>
                        </a:rPr>
                        <a:t>SSH server is running inside a container</a:t>
                      </a:r>
                      <a:br>
                        <a:rPr lang="en-US" sz="1100">
                          <a:latin typeface="Calibri"/>
                          <a:cs typeface="Calibri"/>
                        </a:rPr>
                      </a:br>
                      <a:r>
                        <a:rPr lang="en-US" sz="1100">
                          <a:latin typeface="Calibri"/>
                          <a:cs typeface="Calibri"/>
                        </a:rPr>
                        <a:t>(VM_ContainerSSH)</a:t>
                      </a:r>
                      <a:endParaRPr lang="en-US" sz="1100">
                        <a:effectLst/>
                        <a:latin typeface="Calibri"/>
                        <a:cs typeface="Calibri"/>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a:effectLst/>
                          <a:latin typeface="Calibri" panose="020F0502020204030204" pitchFamily="34" charset="0"/>
                          <a:cs typeface="Calibri" panose="020F0502020204030204" pitchFamily="34" charset="0"/>
                        </a:rPr>
                        <a:t>Stop the container</a:t>
                      </a: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100">
                          <a:latin typeface="Calibri" panose="020F0502020204030204" pitchFamily="34" charset="0"/>
                          <a:cs typeface="Calibri" panose="020F0502020204030204" pitchFamily="34" charset="0"/>
                        </a:rPr>
                        <a:t>Machine logs indicate that an SSH server is running inside a Docker container. While this behavior can be intentional, it frequently indicates that a container is misconfigured or breached.</a:t>
                      </a:r>
                      <a:endParaRPr lang="en-US" sz="1100">
                        <a:effectLst/>
                        <a:latin typeface="Calibri" panose="020F0502020204030204" pitchFamily="34" charset="0"/>
                        <a:cs typeface="Calibri" panose="020F0502020204030204" pitchFamily="34" charset="0"/>
                      </a:endParaRPr>
                    </a:p>
                  </a:txBody>
                  <a:tcPr marL="9525" marR="9525" marT="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92181160"/>
                  </a:ext>
                </a:extLst>
              </a:tr>
            </a:tbl>
          </a:graphicData>
        </a:graphic>
      </p:graphicFrame>
    </p:spTree>
    <p:extLst>
      <p:ext uri="{BB962C8B-B14F-4D97-AF65-F5344CB8AC3E}">
        <p14:creationId xmlns:p14="http://schemas.microsoft.com/office/powerpoint/2010/main" val="2617324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5379" y="318554"/>
            <a:ext cx="10334626" cy="507319"/>
          </a:xfrm>
        </p:spPr>
        <p:txBody>
          <a:bodyPr/>
          <a:lstStyle/>
          <a:p>
            <a:r>
              <a:rPr lang="en-IN"/>
              <a:t>Key Availability and Security Metrics</a:t>
            </a:r>
          </a:p>
        </p:txBody>
      </p:sp>
      <p:graphicFrame>
        <p:nvGraphicFramePr>
          <p:cNvPr id="3" name="Table 2"/>
          <p:cNvGraphicFramePr>
            <a:graphicFrameLocks noGrp="1"/>
          </p:cNvGraphicFramePr>
          <p:nvPr>
            <p:extLst>
              <p:ext uri="{D42A27DB-BD31-4B8C-83A1-F6EECF244321}">
                <p14:modId xmlns:p14="http://schemas.microsoft.com/office/powerpoint/2010/main" val="2269268791"/>
              </p:ext>
            </p:extLst>
          </p:nvPr>
        </p:nvGraphicFramePr>
        <p:xfrm>
          <a:off x="1694985" y="1037065"/>
          <a:ext cx="8335414" cy="5339840"/>
        </p:xfrm>
        <a:graphic>
          <a:graphicData uri="http://schemas.openxmlformats.org/drawingml/2006/table">
            <a:tbl>
              <a:tblPr/>
              <a:tblGrid>
                <a:gridCol w="4167707">
                  <a:extLst>
                    <a:ext uri="{9D8B030D-6E8A-4147-A177-3AD203B41FA5}">
                      <a16:colId xmlns:a16="http://schemas.microsoft.com/office/drawing/2014/main" val="468051516"/>
                    </a:ext>
                  </a:extLst>
                </a:gridCol>
                <a:gridCol w="4167707">
                  <a:extLst>
                    <a:ext uri="{9D8B030D-6E8A-4147-A177-3AD203B41FA5}">
                      <a16:colId xmlns:a16="http://schemas.microsoft.com/office/drawing/2014/main" val="1220880250"/>
                    </a:ext>
                  </a:extLst>
                </a:gridCol>
              </a:tblGrid>
              <a:tr h="317456">
                <a:tc>
                  <a:txBody>
                    <a:bodyPr/>
                    <a:lstStyle/>
                    <a:p>
                      <a:pPr algn="ctr" fontAlgn="ctr"/>
                      <a:r>
                        <a:rPr lang="en-IN" sz="1400" b="1" i="0" u="none" strike="noStrike">
                          <a:solidFill>
                            <a:schemeClr val="bg1"/>
                          </a:solidFill>
                          <a:effectLst/>
                          <a:latin typeface="Calibri" panose="020F0502020204030204" pitchFamily="34" charset="0"/>
                        </a:rPr>
                        <a:t>Service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en-IN" sz="1400" b="1" i="0" u="none" strike="noStrike">
                          <a:solidFill>
                            <a:schemeClr val="bg1"/>
                          </a:solidFill>
                          <a:effectLst/>
                          <a:latin typeface="Calibri" panose="020F0502020204030204" pitchFamily="34" charset="0"/>
                        </a:rPr>
                        <a:t>Metric</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extLst>
                  <a:ext uri="{0D108BD9-81ED-4DB2-BD59-A6C34878D82A}">
                    <a16:rowId xmlns:a16="http://schemas.microsoft.com/office/drawing/2014/main" val="2812609308"/>
                  </a:ext>
                </a:extLst>
              </a:tr>
              <a:tr h="418532">
                <a:tc>
                  <a:txBody>
                    <a:bodyPr/>
                    <a:lstStyle/>
                    <a:p>
                      <a:pPr lvl="1" algn="l" fontAlgn="b"/>
                      <a:r>
                        <a:rPr lang="en-IN" sz="1400" b="0" i="0" u="none" strike="noStrike">
                          <a:solidFill>
                            <a:srgbClr val="000000"/>
                          </a:solidFill>
                          <a:effectLst/>
                          <a:latin typeface="Calibri" panose="020F0502020204030204" pitchFamily="34" charset="0"/>
                        </a:rPr>
                        <a:t>Kubernete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capacity_cpu_cores</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0026731"/>
                  </a:ext>
                </a:extLst>
              </a:tr>
              <a:tr h="418532">
                <a:tc>
                  <a:txBody>
                    <a:bodyPr/>
                    <a:lstStyle/>
                    <a:p>
                      <a:pPr lvl="1" algn="l" fontAlgn="b"/>
                      <a:r>
                        <a:rPr lang="en-IN" sz="1400" b="0" i="0" u="none" strike="noStrike">
                          <a:solidFill>
                            <a:srgbClr val="000000"/>
                          </a:solidFill>
                          <a:effectLst/>
                          <a:latin typeface="Calibri" panose="020F0502020204030204" pitchFamily="34" charset="0"/>
                        </a:rPr>
                        <a:t>Kubernete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node_cpu_usage_percentage</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6339533"/>
                  </a:ext>
                </a:extLst>
              </a:tr>
              <a:tr h="418532">
                <a:tc>
                  <a:txBody>
                    <a:bodyPr/>
                    <a:lstStyle/>
                    <a:p>
                      <a:pPr lvl="1" algn="l" fontAlgn="b"/>
                      <a:r>
                        <a:rPr lang="en-IN" sz="1400" b="0" i="0" u="none" strike="noStrike">
                          <a:solidFill>
                            <a:srgbClr val="000000"/>
                          </a:solidFill>
                          <a:effectLst/>
                          <a:latin typeface="Calibri" panose="020F0502020204030204" pitchFamily="34" charset="0"/>
                        </a:rPr>
                        <a:t>SQL Database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active_queries</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9972394"/>
                  </a:ext>
                </a:extLst>
              </a:tr>
              <a:tr h="418532">
                <a:tc>
                  <a:txBody>
                    <a:bodyPr/>
                    <a:lstStyle/>
                    <a:p>
                      <a:pPr lvl="1" algn="l" fontAlgn="b"/>
                      <a:r>
                        <a:rPr lang="en-IN" sz="1400" b="0" i="0" u="none" strike="noStrike">
                          <a:solidFill>
                            <a:srgbClr val="000000"/>
                          </a:solidFill>
                          <a:effectLst/>
                          <a:latin typeface="Calibri" panose="020F0502020204030204" pitchFamily="34" charset="0"/>
                        </a:rPr>
                        <a:t>SQL Database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app_cpu_percent</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985807"/>
                  </a:ext>
                </a:extLst>
              </a:tr>
              <a:tr h="418532">
                <a:tc>
                  <a:txBody>
                    <a:bodyPr/>
                    <a:lstStyle/>
                    <a:p>
                      <a:pPr lvl="1" algn="l" fontAlgn="b"/>
                      <a:r>
                        <a:rPr lang="en-IN" sz="1400" b="0" i="0" u="none" strike="noStrike">
                          <a:solidFill>
                            <a:srgbClr val="000000"/>
                          </a:solidFill>
                          <a:effectLst/>
                          <a:latin typeface="Calibri" panose="020F0502020204030204" pitchFamily="34" charset="0"/>
                        </a:rPr>
                        <a:t>SQL Database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app_memory_percent</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5140461"/>
                  </a:ext>
                </a:extLst>
              </a:tr>
              <a:tr h="418532">
                <a:tc>
                  <a:txBody>
                    <a:bodyPr/>
                    <a:lstStyle/>
                    <a:p>
                      <a:pPr lvl="1" algn="l" fontAlgn="b"/>
                      <a:r>
                        <a:rPr lang="en-IN" sz="1400" b="0" i="0" u="none" strike="noStrike">
                          <a:solidFill>
                            <a:srgbClr val="000000"/>
                          </a:solidFill>
                          <a:effectLst/>
                          <a:latin typeface="Calibri" panose="020F0502020204030204" pitchFamily="34" charset="0"/>
                        </a:rPr>
                        <a:t>SQL Database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blocked_by_firewall</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0845830"/>
                  </a:ext>
                </a:extLst>
              </a:tr>
              <a:tr h="418532">
                <a:tc>
                  <a:txBody>
                    <a:bodyPr/>
                    <a:lstStyle/>
                    <a:p>
                      <a:pPr lvl="1" algn="l" fontAlgn="b"/>
                      <a:r>
                        <a:rPr lang="en-IN" sz="1400" b="0" i="0" u="none" strike="noStrike">
                          <a:solidFill>
                            <a:srgbClr val="000000"/>
                          </a:solidFill>
                          <a:effectLst/>
                          <a:latin typeface="Calibri" panose="020F0502020204030204" pitchFamily="34" charset="0"/>
                        </a:rPr>
                        <a:t>Application Gateway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HealthyHostCount</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4171902"/>
                  </a:ext>
                </a:extLst>
              </a:tr>
              <a:tr h="418532">
                <a:tc>
                  <a:txBody>
                    <a:bodyPr/>
                    <a:lstStyle/>
                    <a:p>
                      <a:pPr lvl="1" algn="l" fontAlgn="b"/>
                      <a:r>
                        <a:rPr lang="en-IN" sz="1400" b="0" i="0" u="none" strike="noStrike">
                          <a:solidFill>
                            <a:srgbClr val="000000"/>
                          </a:solidFill>
                          <a:effectLst/>
                          <a:latin typeface="Calibri" panose="020F0502020204030204" pitchFamily="34" charset="0"/>
                        </a:rPr>
                        <a:t>Application Gateway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a:solidFill>
                            <a:srgbClr val="000000"/>
                          </a:solidFill>
                          <a:effectLst/>
                          <a:latin typeface="Calibri" panose="020F0502020204030204" pitchFamily="34" charset="0"/>
                        </a:rPr>
                        <a:t>Throughput</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6066632"/>
                  </a:ext>
                </a:extLst>
              </a:tr>
              <a:tr h="418532">
                <a:tc>
                  <a:txBody>
                    <a:bodyPr/>
                    <a:lstStyle/>
                    <a:p>
                      <a:pPr lvl="1" algn="l" fontAlgn="b"/>
                      <a:r>
                        <a:rPr lang="en-IN" sz="1400" b="0" i="0" u="none" strike="noStrike">
                          <a:solidFill>
                            <a:srgbClr val="000000"/>
                          </a:solidFill>
                          <a:effectLst/>
                          <a:latin typeface="Calibri" panose="020F0502020204030204" pitchFamily="34" charset="0"/>
                        </a:rPr>
                        <a:t>Application Gateway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AvgRequestCountPerHealthyHost</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2816096"/>
                  </a:ext>
                </a:extLst>
              </a:tr>
              <a:tr h="418532">
                <a:tc>
                  <a:txBody>
                    <a:bodyPr/>
                    <a:lstStyle/>
                    <a:p>
                      <a:pPr lvl="1" algn="l" fontAlgn="b"/>
                      <a:r>
                        <a:rPr lang="en-IN" sz="1400" b="0" i="0" u="none" strike="noStrike">
                          <a:solidFill>
                            <a:srgbClr val="000000"/>
                          </a:solidFill>
                          <a:effectLst/>
                          <a:latin typeface="Calibri" panose="020F0502020204030204" pitchFamily="34" charset="0"/>
                        </a:rPr>
                        <a:t>Application Gateway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BackendResponseStatus</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8550179"/>
                  </a:ext>
                </a:extLst>
              </a:tr>
              <a:tr h="418532">
                <a:tc>
                  <a:txBody>
                    <a:bodyPr/>
                    <a:lstStyle/>
                    <a:p>
                      <a:pPr lvl="1" algn="l" fontAlgn="b"/>
                      <a:r>
                        <a:rPr lang="en-IN" sz="1400" b="0" i="0" u="none" strike="noStrike">
                          <a:solidFill>
                            <a:srgbClr val="000000"/>
                          </a:solidFill>
                          <a:effectLst/>
                          <a:latin typeface="Calibri" panose="020F0502020204030204" pitchFamily="34" charset="0"/>
                        </a:rPr>
                        <a:t>Application Gateway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BlockedCount</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868055"/>
                  </a:ext>
                </a:extLst>
              </a:tr>
              <a:tr h="418532">
                <a:tc>
                  <a:txBody>
                    <a:bodyPr/>
                    <a:lstStyle/>
                    <a:p>
                      <a:pPr lvl="1" algn="l" fontAlgn="b"/>
                      <a:r>
                        <a:rPr lang="en-IN" sz="1400" b="0" i="0" u="none" strike="noStrike">
                          <a:solidFill>
                            <a:srgbClr val="000000"/>
                          </a:solidFill>
                          <a:effectLst/>
                          <a:latin typeface="Calibri" panose="020F0502020204030204" pitchFamily="34" charset="0"/>
                        </a:rPr>
                        <a:t>Application Gateways</a:t>
                      </a: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1" algn="l" fontAlgn="ctr"/>
                      <a:r>
                        <a:rPr lang="en-IN" sz="1400" b="0" i="0" u="none" strike="noStrike" err="1">
                          <a:solidFill>
                            <a:srgbClr val="000000"/>
                          </a:solidFill>
                          <a:effectLst/>
                          <a:latin typeface="Calibri" panose="020F0502020204030204" pitchFamily="34" charset="0"/>
                        </a:rPr>
                        <a:t>BlockedReqCount</a:t>
                      </a:r>
                      <a:endParaRPr lang="en-IN" sz="1400" b="0" i="0" u="none" strike="noStrike">
                        <a:solidFill>
                          <a:srgbClr val="000000"/>
                        </a:solidFill>
                        <a:effectLst/>
                        <a:latin typeface="Calibri" panose="020F0502020204030204" pitchFamily="34" charset="0"/>
                      </a:endParaRPr>
                    </a:p>
                  </a:txBody>
                  <a:tcPr marL="627" marR="627" marT="6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6725268"/>
                  </a:ext>
                </a:extLst>
              </a:tr>
            </a:tbl>
          </a:graphicData>
        </a:graphic>
      </p:graphicFrame>
    </p:spTree>
    <p:extLst>
      <p:ext uri="{BB962C8B-B14F-4D97-AF65-F5344CB8AC3E}">
        <p14:creationId xmlns:p14="http://schemas.microsoft.com/office/powerpoint/2010/main" val="1325710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SOC Workflow</a:t>
            </a:r>
          </a:p>
        </p:txBody>
      </p:sp>
      <p:sp>
        <p:nvSpPr>
          <p:cNvPr id="3" name="TextBox 2">
            <a:extLst>
              <a:ext uri="{FF2B5EF4-FFF2-40B4-BE49-F238E27FC236}">
                <a16:creationId xmlns:a16="http://schemas.microsoft.com/office/drawing/2014/main" id="{1E14D722-7296-4C93-804E-E5EE7D1E8CEA}"/>
              </a:ext>
            </a:extLst>
          </p:cNvPr>
          <p:cNvSpPr txBox="1"/>
          <p:nvPr/>
        </p:nvSpPr>
        <p:spPr>
          <a:xfrm>
            <a:off x="238664" y="828136"/>
            <a:ext cx="10305690" cy="5447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a:cs typeface="Segoe UI"/>
              </a:rPr>
              <a:t>                                                                  SOC Workflow</a:t>
            </a:r>
            <a:endParaRPr lang="en-US"/>
          </a:p>
        </p:txBody>
      </p:sp>
      <p:pic>
        <p:nvPicPr>
          <p:cNvPr id="4" name="Picture 3">
            <a:extLst>
              <a:ext uri="{FF2B5EF4-FFF2-40B4-BE49-F238E27FC236}">
                <a16:creationId xmlns:a16="http://schemas.microsoft.com/office/drawing/2014/main" id="{4CB58DE7-1DE1-45DE-AFF2-F5DCA4225453}"/>
              </a:ext>
            </a:extLst>
          </p:cNvPr>
          <p:cNvPicPr>
            <a:picLocks noChangeAspect="1"/>
          </p:cNvPicPr>
          <p:nvPr/>
        </p:nvPicPr>
        <p:blipFill>
          <a:blip r:embed="rId2"/>
          <a:stretch>
            <a:fillRect/>
          </a:stretch>
        </p:blipFill>
        <p:spPr>
          <a:xfrm>
            <a:off x="0" y="746629"/>
            <a:ext cx="11704320" cy="6111371"/>
          </a:xfrm>
          <a:prstGeom prst="rect">
            <a:avLst/>
          </a:prstGeom>
        </p:spPr>
      </p:pic>
    </p:spTree>
    <p:extLst>
      <p:ext uri="{BB962C8B-B14F-4D97-AF65-F5344CB8AC3E}">
        <p14:creationId xmlns:p14="http://schemas.microsoft.com/office/powerpoint/2010/main" val="2524788819"/>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SOC Dashboards</a:t>
            </a: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87"/>
          <a:stretch/>
        </p:blipFill>
        <p:spPr>
          <a:xfrm>
            <a:off x="1140334" y="1049631"/>
            <a:ext cx="9750423" cy="5505891"/>
          </a:xfrm>
          <a:prstGeom prst="rect">
            <a:avLst/>
          </a:prstGeom>
          <a:ln>
            <a:solidFill>
              <a:schemeClr val="bg2">
                <a:lumMod val="90000"/>
              </a:schemeClr>
            </a:solidFill>
          </a:ln>
        </p:spPr>
      </p:pic>
    </p:spTree>
    <p:extLst>
      <p:ext uri="{BB962C8B-B14F-4D97-AF65-F5344CB8AC3E}">
        <p14:creationId xmlns:p14="http://schemas.microsoft.com/office/powerpoint/2010/main" val="899432628"/>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xml><?xml version="1.0" encoding="utf-8"?>
<a:theme xmlns:a="http://schemas.openxmlformats.org/drawingml/2006/main" name="Office Theme">
  <a:themeElements>
    <a:clrScheme name="Aspire 2020">
      <a:dk1>
        <a:srgbClr val="0A091B"/>
      </a:dk1>
      <a:lt1>
        <a:srgbClr val="F2F2F5"/>
      </a:lt1>
      <a:dk2>
        <a:srgbClr val="858591"/>
      </a:dk2>
      <a:lt2>
        <a:srgbClr val="FFFFFF"/>
      </a:lt2>
      <a:accent1>
        <a:srgbClr val="8C42AD"/>
      </a:accent1>
      <a:accent2>
        <a:srgbClr val="35B6B4"/>
      </a:accent2>
      <a:accent3>
        <a:srgbClr val="2E4496"/>
      </a:accent3>
      <a:accent4>
        <a:srgbClr val="FFD75F"/>
      </a:accent4>
      <a:accent5>
        <a:srgbClr val="E83C61"/>
      </a:accent5>
      <a:accent6>
        <a:srgbClr val="FF8D6D"/>
      </a:accent6>
      <a:hlink>
        <a:srgbClr val="8C42AD"/>
      </a:hlink>
      <a:folHlink>
        <a:srgbClr val="FF61FF"/>
      </a:folHlink>
    </a:clrScheme>
    <a:fontScheme name="Aspire 2020 Calibri">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3.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4.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6.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8.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C88EB8B1-A237-2148-94A5-983D7EF12F48}" vid="{254C9FB9-C42A-7A49-A362-653B3B793FE4}"/>
    </a:ext>
  </a:extLst>
</a:theme>
</file>

<file path=ppt/theme/theme9.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890935E697BC740AD90788315DCF0C3" ma:contentTypeVersion="6" ma:contentTypeDescription="Create a new document." ma:contentTypeScope="" ma:versionID="8725f2ac67e649403d3e9a1c75c40817">
  <xsd:schema xmlns:xsd="http://www.w3.org/2001/XMLSchema" xmlns:xs="http://www.w3.org/2001/XMLSchema" xmlns:p="http://schemas.microsoft.com/office/2006/metadata/properties" xmlns:ns2="511b0990-1b73-45be-90ce-ac49cddcb4cc" targetNamespace="http://schemas.microsoft.com/office/2006/metadata/properties" ma:root="true" ma:fieldsID="a6ea0e5f2008674dea9aa7fa3e4d2653" ns2:_="">
    <xsd:import namespace="511b0990-1b73-45be-90ce-ac49cddcb4c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1b0990-1b73-45be-90ce-ac49cddcb4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889EA4-33B6-4DCF-9017-D2B087E3C8B9}">
  <ds:schemaRefs>
    <ds:schemaRef ds:uri="http://schemas.microsoft.com/sharepoint/v3/contenttype/forms"/>
  </ds:schemaRefs>
</ds:datastoreItem>
</file>

<file path=customXml/itemProps2.xml><?xml version="1.0" encoding="utf-8"?>
<ds:datastoreItem xmlns:ds="http://schemas.openxmlformats.org/officeDocument/2006/customXml" ds:itemID="{A31A34EF-3142-42A3-8644-7377AFCCA745}">
  <ds:schemaRefs>
    <ds:schemaRef ds:uri="511b0990-1b73-45be-90ce-ac49cddcb4c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F96D36C-2C59-4746-AFD8-EDE21434BCA7}">
  <ds:schemaRefs>
    <ds:schemaRef ds:uri="511b0990-1b73-45be-90ce-ac49cddcb4c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1</Slides>
  <Notes>7</Notes>
  <HiddenSlides>2</HiddenSlides>
  <ScaleCrop>false</ScaleCrop>
  <HeadingPairs>
    <vt:vector size="4" baseType="variant">
      <vt:variant>
        <vt:lpstr>Theme</vt:lpstr>
      </vt:variant>
      <vt:variant>
        <vt:i4>10</vt:i4>
      </vt:variant>
      <vt:variant>
        <vt:lpstr>Slide Titles</vt:lpstr>
      </vt:variant>
      <vt:variant>
        <vt:i4>31</vt:i4>
      </vt:variant>
    </vt:vector>
  </HeadingPairs>
  <TitlesOfParts>
    <vt:vector size="41" baseType="lpstr">
      <vt:lpstr>1_WHITE TEMPLATE</vt:lpstr>
      <vt:lpstr>3_Windows 10 Template</vt:lpstr>
      <vt:lpstr>WHITE TEMPLATE</vt:lpstr>
      <vt:lpstr>2_LIGHT COLOR TEMPLATE</vt:lpstr>
      <vt:lpstr>MCS Social_story_v1_18Feb15_DV</vt:lpstr>
      <vt:lpstr>LIGHT COLOR TEMPLATE</vt:lpstr>
      <vt:lpstr>2_WHITE TEMPLATE</vt:lpstr>
      <vt:lpstr>Theme1</vt:lpstr>
      <vt:lpstr>4_WHITE TEMPLATE</vt:lpstr>
      <vt:lpstr>Office Theme</vt:lpstr>
      <vt:lpstr>JHA- Security Presentation</vt:lpstr>
      <vt:lpstr>Agenda</vt:lpstr>
      <vt:lpstr>Security Operations</vt:lpstr>
      <vt:lpstr>SOC Support Offerings for an USA-based Insurance Provider</vt:lpstr>
      <vt:lpstr>SOC Architecture </vt:lpstr>
      <vt:lpstr>Key Threats and Remediation</vt:lpstr>
      <vt:lpstr>Key Availability and Security Metrics</vt:lpstr>
      <vt:lpstr>SOC Workflow</vt:lpstr>
      <vt:lpstr>SOC Dashboards</vt:lpstr>
      <vt:lpstr>SOC Dashboards</vt:lpstr>
      <vt:lpstr>SOC Dashboards</vt:lpstr>
      <vt:lpstr>SOC Dashboards</vt:lpstr>
      <vt:lpstr>Security Support for a banking Customer</vt:lpstr>
      <vt:lpstr>Tools and Technologies</vt:lpstr>
      <vt:lpstr>Technical Highlights and Benefits</vt:lpstr>
      <vt:lpstr>SOC Support Offering for a USA Based Billing Solution Provider</vt:lpstr>
      <vt:lpstr>Tools and Technology</vt:lpstr>
      <vt:lpstr>Benefits</vt:lpstr>
      <vt:lpstr>Performance Monitoring</vt:lpstr>
      <vt:lpstr>Tools Expertise</vt:lpstr>
      <vt:lpstr>Performance Metrics: Back-End </vt:lpstr>
      <vt:lpstr>Performance Metrics: Real Browsers</vt:lpstr>
      <vt:lpstr>DevSecOps</vt:lpstr>
      <vt:lpstr>DevSecOps Security Controls</vt:lpstr>
      <vt:lpstr>Tools</vt:lpstr>
      <vt:lpstr>Measures</vt:lpstr>
      <vt:lpstr>DevSecOps Security Controls</vt:lpstr>
      <vt:lpstr>Tools</vt:lpstr>
      <vt:lpstr>Measures</vt:lpstr>
      <vt:lpstr>PowerPoint Presentation</vt:lpstr>
      <vt:lpstr>NBK Case study – Solution diagr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ybersecurity Introduction and Overview</dc:title>
  <dc:creator>Mark Simos</dc:creator>
  <cp:revision>1</cp:revision>
  <dcterms:modified xsi:type="dcterms:W3CDTF">2021-05-18T14:0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8-04-10T20:31:30.13663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D890935E697BC740AD90788315DCF0C3</vt:lpwstr>
  </property>
</Properties>
</file>